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tags/tag4.xml" ContentType="application/vnd.openxmlformats-officedocument.presentationml.tags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tags/tag5.xml" ContentType="application/vnd.openxmlformats-officedocument.presentationml.tags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ink/ink123.xml" ContentType="application/inkml+xml"/>
  <Override PartName="/ppt/ink/ink124.xml" ContentType="application/inkml+xml"/>
  <Override PartName="/ppt/ink/ink125.xml" ContentType="application/inkml+xml"/>
  <Override PartName="/ppt/ink/ink126.xml" ContentType="application/inkml+xml"/>
  <Override PartName="/ppt/ink/ink127.xml" ContentType="application/inkml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ink/ink136.xml" ContentType="application/inkml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ink/ink160.xml" ContentType="application/inkml+xml"/>
  <Override PartName="/ppt/ink/ink161.xml" ContentType="application/inkml+xml"/>
  <Override PartName="/ppt/ink/ink162.xml" ContentType="application/inkml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ink/ink171.xml" ContentType="application/inkml+xml"/>
  <Override PartName="/ppt/ink/ink172.xml" ContentType="application/inkml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ink/ink194.xml" ContentType="application/inkml+xml"/>
  <Override PartName="/ppt/ink/ink195.xml" ContentType="application/inkml+xml"/>
  <Override PartName="/ppt/ink/ink196.xml" ContentType="application/inkml+xml"/>
  <Override PartName="/ppt/ink/ink197.xml" ContentType="application/inkml+xml"/>
  <Override PartName="/ppt/ink/ink198.xml" ContentType="application/inkml+xml"/>
  <Override PartName="/ppt/ink/ink199.xml" ContentType="application/inkml+xml"/>
  <Override PartName="/ppt/ink/ink200.xml" ContentType="application/inkml+xml"/>
  <Override PartName="/ppt/ink/ink201.xml" ContentType="application/inkml+xml"/>
  <Override PartName="/ppt/ink/ink202.xml" ContentType="application/inkml+xml"/>
  <Override PartName="/ppt/ink/ink203.xml" ContentType="application/inkml+xml"/>
  <Override PartName="/ppt/ink/ink204.xml" ContentType="application/inkml+xml"/>
  <Override PartName="/ppt/ink/ink205.xml" ContentType="application/inkml+xml"/>
  <Override PartName="/ppt/ink/ink206.xml" ContentType="application/inkml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ink/ink207.xml" ContentType="application/inkml+xml"/>
  <Override PartName="/ppt/ink/ink208.xml" ContentType="application/inkml+xml"/>
  <Override PartName="/ppt/ink/ink209.xml" ContentType="application/inkml+xml"/>
  <Override PartName="/ppt/ink/ink210.xml" ContentType="application/inkml+xml"/>
  <Override PartName="/ppt/ink/ink211.xml" ContentType="application/inkml+xml"/>
  <Override PartName="/ppt/ink/ink212.xml" ContentType="application/inkml+xml"/>
  <Override PartName="/ppt/ink/ink213.xml" ContentType="application/inkml+xml"/>
  <Override PartName="/ppt/ink/ink214.xml" ContentType="application/inkml+xml"/>
  <Override PartName="/ppt/ink/ink215.xml" ContentType="application/inkml+xml"/>
  <Override PartName="/ppt/ink/ink216.xml" ContentType="application/inkml+xml"/>
  <Override PartName="/ppt/ink/ink217.xml" ContentType="application/inkml+xml"/>
  <Override PartName="/ppt/ink/ink218.xml" ContentType="application/inkml+xml"/>
  <Override PartName="/ppt/ink/ink219.xml" ContentType="application/inkml+xml"/>
  <Override PartName="/ppt/ink/ink220.xml" ContentType="application/inkml+xml"/>
  <Override PartName="/ppt/ink/ink221.xml" ContentType="application/inkml+xml"/>
  <Override PartName="/ppt/ink/ink222.xml" ContentType="application/inkml+xml"/>
  <Override PartName="/ppt/ink/ink223.xml" ContentType="application/inkml+xml"/>
  <Override PartName="/ppt/ink/ink224.xml" ContentType="application/inkml+xml"/>
  <Override PartName="/ppt/ink/ink225.xml" ContentType="application/inkml+xml"/>
  <Override PartName="/ppt/ink/ink226.xml" ContentType="application/inkml+xml"/>
  <Override PartName="/ppt/ink/ink227.xml" ContentType="application/inkml+xml"/>
  <Override PartName="/ppt/ink/ink228.xml" ContentType="application/inkml+xml"/>
  <Override PartName="/ppt/ink/ink229.xml" ContentType="application/inkml+xml"/>
  <Override PartName="/ppt/ink/ink230.xml" ContentType="application/inkml+xml"/>
  <Override PartName="/ppt/ink/ink231.xml" ContentType="application/inkml+xml"/>
  <Override PartName="/ppt/ink/ink232.xml" ContentType="application/inkml+xml"/>
  <Override PartName="/ppt/ink/ink233.xml" ContentType="application/inkml+xml"/>
  <Override PartName="/ppt/ink/ink234.xml" ContentType="application/inkml+xml"/>
  <Override PartName="/ppt/ink/ink235.xml" ContentType="application/inkml+xml"/>
  <Override PartName="/ppt/ink/ink236.xml" ContentType="application/inkml+xml"/>
  <Override PartName="/ppt/ink/ink237.xml" ContentType="application/inkml+xml"/>
  <Override PartName="/ppt/ink/ink238.xml" ContentType="application/inkml+xml"/>
  <Override PartName="/ppt/ink/ink239.xml" ContentType="application/inkml+xml"/>
  <Override PartName="/ppt/ink/ink240.xml" ContentType="application/inkml+xml"/>
  <Override PartName="/ppt/ink/ink241.xml" ContentType="application/inkml+xml"/>
  <Override PartName="/ppt/ink/ink242.xml" ContentType="application/inkml+xml"/>
  <Override PartName="/ppt/ink/ink243.xml" ContentType="application/inkml+xml"/>
  <Override PartName="/ppt/ink/ink244.xml" ContentType="application/inkml+xml"/>
  <Override PartName="/ppt/ink/ink245.xml" ContentType="application/inkml+xml"/>
  <Override PartName="/ppt/ink/ink246.xml" ContentType="application/inkml+xml"/>
  <Override PartName="/ppt/ink/ink247.xml" ContentType="application/inkml+xml"/>
  <Override PartName="/ppt/ink/ink248.xml" ContentType="application/inkml+xml"/>
  <Override PartName="/ppt/ink/ink249.xml" ContentType="application/inkml+xml"/>
  <Override PartName="/ppt/ink/ink250.xml" ContentType="application/inkml+xml"/>
  <Override PartName="/ppt/ink/ink251.xml" ContentType="application/inkml+xml"/>
  <Override PartName="/ppt/ink/ink252.xml" ContentType="application/inkml+xml"/>
  <Override PartName="/ppt/ink/ink253.xml" ContentType="application/inkml+xml"/>
  <Override PartName="/ppt/ink/ink254.xml" ContentType="application/inkml+xml"/>
  <Override PartName="/ppt/ink/ink255.xml" ContentType="application/inkml+xml"/>
  <Override PartName="/ppt/ink/ink256.xml" ContentType="application/inkml+xml"/>
  <Override PartName="/ppt/ink/ink257.xml" ContentType="application/inkml+xml"/>
  <Override PartName="/ppt/ink/ink258.xml" ContentType="application/inkml+xml"/>
  <Override PartName="/ppt/ink/ink259.xml" ContentType="application/inkml+xml"/>
  <Override PartName="/ppt/ink/ink260.xml" ContentType="application/inkml+xml"/>
  <Override PartName="/ppt/ink/ink261.xml" ContentType="application/inkml+xml"/>
  <Override PartName="/ppt/ink/ink262.xml" ContentType="application/inkml+xml"/>
  <Override PartName="/ppt/ink/ink263.xml" ContentType="application/inkml+xml"/>
  <Override PartName="/ppt/ink/ink264.xml" ContentType="application/inkml+xml"/>
  <Override PartName="/ppt/ink/ink265.xml" ContentType="application/inkml+xml"/>
  <Override PartName="/ppt/ink/ink266.xml" ContentType="application/inkml+xml"/>
  <Override PartName="/ppt/ink/ink267.xml" ContentType="application/inkml+xml"/>
  <Override PartName="/ppt/ink/ink268.xml" ContentType="application/inkml+xml"/>
  <Override PartName="/ppt/ink/ink269.xml" ContentType="application/inkml+xml"/>
  <Override PartName="/ppt/ink/ink270.xml" ContentType="application/inkml+xml"/>
  <Override PartName="/ppt/ink/ink271.xml" ContentType="application/inkml+xml"/>
  <Override PartName="/ppt/ink/ink272.xml" ContentType="application/inkml+xml"/>
  <Override PartName="/ppt/ink/ink273.xml" ContentType="application/inkml+xml"/>
  <Override PartName="/ppt/ink/ink274.xml" ContentType="application/inkml+xml"/>
  <Override PartName="/ppt/ink/ink275.xml" ContentType="application/inkml+xml"/>
  <Override PartName="/ppt/ink/ink276.xml" ContentType="application/inkml+xml"/>
  <Override PartName="/ppt/ink/ink277.xml" ContentType="application/inkml+xml"/>
  <Override PartName="/ppt/ink/ink278.xml" ContentType="application/inkml+xml"/>
  <Override PartName="/ppt/ink/ink279.xml" ContentType="application/inkml+xml"/>
  <Override PartName="/ppt/ink/ink280.xml" ContentType="application/inkml+xml"/>
  <Override PartName="/ppt/ink/ink281.xml" ContentType="application/inkml+xml"/>
  <Override PartName="/ppt/ink/ink282.xml" ContentType="application/inkml+xml"/>
  <Override PartName="/ppt/ink/ink283.xml" ContentType="application/inkml+xml"/>
  <Override PartName="/ppt/ink/ink284.xml" ContentType="application/inkml+xml"/>
  <Override PartName="/ppt/ink/ink285.xml" ContentType="application/inkml+xml"/>
  <Override PartName="/ppt/ink/ink286.xml" ContentType="application/inkml+xml"/>
  <Override PartName="/ppt/ink/ink287.xml" ContentType="application/inkml+xml"/>
  <Override PartName="/ppt/ink/ink288.xml" ContentType="application/inkml+xml"/>
  <Override PartName="/ppt/ink/ink289.xml" ContentType="application/inkml+xml"/>
  <Override PartName="/ppt/ink/ink290.xml" ContentType="application/inkml+xml"/>
  <Override PartName="/ppt/ink/ink291.xml" ContentType="application/inkml+xml"/>
  <Override PartName="/ppt/ink/ink292.xml" ContentType="application/inkml+xml"/>
  <Override PartName="/ppt/ink/ink293.xml" ContentType="application/inkml+xml"/>
  <Override PartName="/ppt/ink/ink294.xml" ContentType="application/inkml+xml"/>
  <Override PartName="/ppt/ink/ink295.xml" ContentType="application/inkml+xml"/>
  <Override PartName="/ppt/ink/ink296.xml" ContentType="application/inkml+xml"/>
  <Override PartName="/ppt/ink/ink297.xml" ContentType="application/inkml+xml"/>
  <Override PartName="/ppt/ink/ink298.xml" ContentType="application/inkml+xml"/>
  <Override PartName="/ppt/ink/ink299.xml" ContentType="application/inkml+xml"/>
  <Override PartName="/ppt/ink/ink300.xml" ContentType="application/inkml+xml"/>
  <Override PartName="/ppt/ink/ink301.xml" ContentType="application/inkml+xml"/>
  <Override PartName="/ppt/ink/ink302.xml" ContentType="application/inkml+xml"/>
  <Override PartName="/ppt/ink/ink303.xml" ContentType="application/inkml+xml"/>
  <Override PartName="/ppt/ink/ink304.xml" ContentType="application/inkml+xml"/>
  <Override PartName="/ppt/ink/ink305.xml" ContentType="application/inkml+xml"/>
  <Override PartName="/ppt/ink/ink306.xml" ContentType="application/inkml+xml"/>
  <Override PartName="/ppt/ink/ink307.xml" ContentType="application/inkml+xml"/>
  <Override PartName="/ppt/ink/ink308.xml" ContentType="application/inkml+xml"/>
  <Override PartName="/ppt/ink/ink309.xml" ContentType="application/inkml+xml"/>
  <Override PartName="/ppt/ink/ink310.xml" ContentType="application/inkml+xml"/>
  <Override PartName="/ppt/ink/ink311.xml" ContentType="application/inkml+xml"/>
  <Override PartName="/ppt/ink/ink312.xml" ContentType="application/inkml+xml"/>
  <Override PartName="/ppt/ink/ink313.xml" ContentType="application/inkml+xml"/>
  <Override PartName="/ppt/ink/ink314.xml" ContentType="application/inkml+xml"/>
  <Override PartName="/ppt/ink/ink315.xml" ContentType="application/inkml+xml"/>
  <Override PartName="/ppt/ink/ink316.xml" ContentType="application/inkml+xml"/>
  <Override PartName="/ppt/ink/ink317.xml" ContentType="application/inkml+xml"/>
  <Override PartName="/ppt/ink/ink318.xml" ContentType="application/inkml+xml"/>
  <Override PartName="/ppt/ink/ink319.xml" ContentType="application/inkml+xml"/>
  <Override PartName="/ppt/ink/ink320.xml" ContentType="application/inkml+xml"/>
  <Override PartName="/ppt/ink/ink321.xml" ContentType="application/inkml+xml"/>
  <Override PartName="/ppt/ink/ink322.xml" ContentType="application/inkml+xml"/>
  <Override PartName="/ppt/ink/ink323.xml" ContentType="application/inkml+xml"/>
  <Override PartName="/ppt/ink/ink324.xml" ContentType="application/inkml+xml"/>
  <Override PartName="/ppt/ink/ink325.xml" ContentType="application/inkml+xml"/>
  <Override PartName="/ppt/tags/tag7.xml" ContentType="application/vnd.openxmlformats-officedocument.presentationml.tags+xml"/>
  <Override PartName="/ppt/ink/ink326.xml" ContentType="application/inkml+xml"/>
  <Override PartName="/ppt/ink/ink327.xml" ContentType="application/inkml+xml"/>
  <Override PartName="/ppt/ink/ink328.xml" ContentType="application/inkml+xml"/>
  <Override PartName="/ppt/ink/ink329.xml" ContentType="application/inkml+xml"/>
  <Override PartName="/ppt/ink/ink330.xml" ContentType="application/inkml+xml"/>
  <Override PartName="/ppt/ink/ink331.xml" ContentType="application/inkml+xml"/>
  <Override PartName="/ppt/ink/ink332.xml" ContentType="application/inkml+xml"/>
  <Override PartName="/ppt/ink/ink333.xml" ContentType="application/inkml+xml"/>
  <Override PartName="/ppt/ink/ink334.xml" ContentType="application/inkml+xml"/>
  <Override PartName="/ppt/ink/ink335.xml" ContentType="application/inkml+xml"/>
  <Override PartName="/ppt/ink/ink336.xml" ContentType="application/inkml+xml"/>
  <Override PartName="/ppt/ink/ink337.xml" ContentType="application/inkml+xml"/>
  <Override PartName="/ppt/ink/ink338.xml" ContentType="application/inkml+xml"/>
  <Override PartName="/ppt/ink/ink339.xml" ContentType="application/inkml+xml"/>
  <Override PartName="/ppt/ink/ink340.xml" ContentType="application/inkml+xml"/>
  <Override PartName="/ppt/ink/ink341.xml" ContentType="application/inkml+xml"/>
  <Override PartName="/ppt/ink/ink342.xml" ContentType="application/inkml+xml"/>
  <Override PartName="/ppt/ink/ink343.xml" ContentType="application/inkml+xml"/>
  <Override PartName="/ppt/ink/ink344.xml" ContentType="application/inkml+xml"/>
  <Override PartName="/ppt/ink/ink345.xml" ContentType="application/inkml+xml"/>
  <Override PartName="/ppt/ink/ink346.xml" ContentType="application/inkml+xml"/>
  <Override PartName="/ppt/ink/ink347.xml" ContentType="application/inkml+xml"/>
  <Override PartName="/ppt/ink/ink348.xml" ContentType="application/inkml+xml"/>
  <Override PartName="/ppt/ink/ink349.xml" ContentType="application/inkml+xml"/>
  <Override PartName="/ppt/ink/ink350.xml" ContentType="application/inkml+xml"/>
  <Override PartName="/ppt/ink/ink351.xml" ContentType="application/inkml+xml"/>
  <Override PartName="/ppt/ink/ink352.xml" ContentType="application/inkml+xml"/>
  <Override PartName="/ppt/ink/ink353.xml" ContentType="application/inkml+xml"/>
  <Override PartName="/ppt/ink/ink354.xml" ContentType="application/inkml+xml"/>
  <Override PartName="/ppt/ink/ink355.xml" ContentType="application/inkml+xml"/>
  <Override PartName="/ppt/ink/ink356.xml" ContentType="application/inkml+xml"/>
  <Override PartName="/ppt/ink/ink357.xml" ContentType="application/inkml+xml"/>
  <Override PartName="/ppt/ink/ink358.xml" ContentType="application/inkml+xml"/>
  <Override PartName="/ppt/ink/ink359.xml" ContentType="application/inkml+xml"/>
  <Override PartName="/ppt/ink/ink360.xml" ContentType="application/inkml+xml"/>
  <Override PartName="/ppt/ink/ink361.xml" ContentType="application/inkml+xml"/>
  <Override PartName="/ppt/ink/ink362.xml" ContentType="application/inkml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ink/ink363.xml" ContentType="application/inkml+xml"/>
  <Override PartName="/ppt/ink/ink364.xml" ContentType="application/inkml+xml"/>
  <Override PartName="/ppt/ink/ink365.xml" ContentType="application/inkml+xml"/>
  <Override PartName="/ppt/ink/ink366.xml" ContentType="application/inkml+xml"/>
  <Override PartName="/ppt/ink/ink367.xml" ContentType="application/inkml+xml"/>
  <Override PartName="/ppt/ink/ink368.xml" ContentType="application/inkml+xml"/>
  <Override PartName="/ppt/ink/ink369.xml" ContentType="application/inkml+xml"/>
  <Override PartName="/ppt/ink/ink370.xml" ContentType="application/inkml+xml"/>
  <Override PartName="/ppt/ink/ink371.xml" ContentType="application/inkml+xml"/>
  <Override PartName="/ppt/ink/ink372.xml" ContentType="application/inkml+xml"/>
  <Override PartName="/ppt/ink/ink373.xml" ContentType="application/inkml+xml"/>
  <Override PartName="/ppt/ink/ink374.xml" ContentType="application/inkml+xml"/>
  <Override PartName="/ppt/ink/ink375.xml" ContentType="application/inkml+xml"/>
  <Override PartName="/ppt/ink/ink376.xml" ContentType="application/inkml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ink/ink377.xml" ContentType="application/inkml+xml"/>
  <Override PartName="/ppt/ink/ink378.xml" ContentType="application/inkml+xml"/>
  <Override PartName="/ppt/ink/ink379.xml" ContentType="application/inkml+xml"/>
  <Override PartName="/ppt/ink/ink380.xml" ContentType="application/inkml+xml"/>
  <Override PartName="/ppt/ink/ink381.xml" ContentType="application/inkml+xml"/>
  <Override PartName="/ppt/ink/ink382.xml" ContentType="application/inkml+xml"/>
  <Override PartName="/ppt/ink/ink383.xml" ContentType="application/inkml+xml"/>
  <Override PartName="/ppt/ink/ink384.xml" ContentType="application/inkml+xml"/>
  <Override PartName="/ppt/ink/ink385.xml" ContentType="application/inkml+xml"/>
  <Override PartName="/ppt/ink/ink386.xml" ContentType="application/inkml+xml"/>
  <Override PartName="/ppt/ink/ink387.xml" ContentType="application/inkml+xml"/>
  <Override PartName="/ppt/ink/ink388.xml" ContentType="application/inkml+xml"/>
  <Override PartName="/ppt/ink/ink389.xml" ContentType="application/inkml+xml"/>
  <Override PartName="/ppt/ink/ink390.xml" ContentType="application/inkml+xml"/>
  <Override PartName="/ppt/ink/ink391.xml" ContentType="application/inkml+xml"/>
  <Override PartName="/ppt/ink/ink392.xml" ContentType="application/inkml+xml"/>
  <Override PartName="/ppt/ink/ink393.xml" ContentType="application/inkml+xml"/>
  <Override PartName="/ppt/ink/ink394.xml" ContentType="application/inkml+xml"/>
  <Override PartName="/ppt/ink/ink395.xml" ContentType="application/inkml+xml"/>
  <Override PartName="/ppt/ink/ink396.xml" ContentType="application/inkml+xml"/>
  <Override PartName="/ppt/ink/ink397.xml" ContentType="application/inkml+xml"/>
  <Override PartName="/ppt/ink/ink398.xml" ContentType="application/inkml+xml"/>
  <Override PartName="/ppt/ink/ink399.xml" ContentType="application/inkml+xml"/>
  <Override PartName="/ppt/ink/ink400.xml" ContentType="application/inkml+xml"/>
  <Override PartName="/ppt/ink/ink401.xml" ContentType="application/inkml+xml"/>
  <Override PartName="/ppt/ink/ink402.xml" ContentType="application/inkml+xml"/>
  <Override PartName="/ppt/ink/ink403.xml" ContentType="application/inkml+xml"/>
  <Override PartName="/ppt/ink/ink404.xml" ContentType="application/inkml+xml"/>
  <Override PartName="/ppt/ink/ink405.xml" ContentType="application/inkml+xml"/>
  <Override PartName="/ppt/ink/ink406.xml" ContentType="application/inkml+xml"/>
  <Override PartName="/ppt/ink/ink407.xml" ContentType="application/inkml+xml"/>
  <Override PartName="/ppt/ink/ink408.xml" ContentType="application/inkml+xml"/>
  <Override PartName="/ppt/ink/ink409.xml" ContentType="application/inkml+xml"/>
  <Override PartName="/ppt/ink/ink410.xml" ContentType="application/inkml+xml"/>
  <Override PartName="/ppt/ink/ink411.xml" ContentType="application/inkml+xml"/>
  <Override PartName="/ppt/ink/ink412.xml" ContentType="application/inkml+xml"/>
  <Override PartName="/ppt/ink/ink413.xml" ContentType="application/inkml+xml"/>
  <Override PartName="/ppt/ink/ink414.xml" ContentType="application/inkml+xml"/>
  <Override PartName="/ppt/ink/ink415.xml" ContentType="application/inkml+xml"/>
  <Override PartName="/ppt/ink/ink416.xml" ContentType="application/inkml+xml"/>
  <Override PartName="/ppt/ink/ink417.xml" ContentType="application/inkml+xml"/>
  <Override PartName="/ppt/ink/ink418.xml" ContentType="application/inkml+xml"/>
  <Override PartName="/ppt/ink/ink419.xml" ContentType="application/inkml+xml"/>
  <Override PartName="/ppt/tags/tag14.xml" ContentType="application/vnd.openxmlformats-officedocument.presentationml.tags+xml"/>
  <Override PartName="/ppt/ink/ink420.xml" ContentType="application/inkml+xml"/>
  <Override PartName="/ppt/ink/ink421.xml" ContentType="application/inkml+xml"/>
  <Override PartName="/ppt/ink/ink422.xml" ContentType="application/inkml+xml"/>
  <Override PartName="/ppt/ink/ink423.xml" ContentType="application/inkml+xml"/>
  <Override PartName="/ppt/ink/ink424.xml" ContentType="application/inkml+xml"/>
  <Override PartName="/ppt/ink/ink425.xml" ContentType="application/inkml+xml"/>
  <Override PartName="/ppt/ink/ink426.xml" ContentType="application/inkml+xml"/>
  <Override PartName="/ppt/ink/ink427.xml" ContentType="application/inkml+xml"/>
  <Override PartName="/ppt/ink/ink428.xml" ContentType="application/inkml+xml"/>
  <Override PartName="/ppt/ink/ink429.xml" ContentType="application/inkml+xml"/>
  <Override PartName="/ppt/ink/ink430.xml" ContentType="application/inkml+xml"/>
  <Override PartName="/ppt/ink/ink431.xml" ContentType="application/inkml+xml"/>
  <Override PartName="/ppt/ink/ink432.xml" ContentType="application/inkml+xml"/>
  <Override PartName="/ppt/ink/ink433.xml" ContentType="application/inkml+xml"/>
  <Override PartName="/ppt/ink/ink434.xml" ContentType="application/inkml+xml"/>
  <Override PartName="/ppt/ink/ink435.xml" ContentType="application/inkml+xml"/>
  <Override PartName="/ppt/ink/ink436.xml" ContentType="application/inkml+xml"/>
  <Override PartName="/ppt/ink/ink437.xml" ContentType="application/inkml+xml"/>
  <Override PartName="/ppt/ink/ink438.xml" ContentType="application/inkml+xml"/>
  <Override PartName="/ppt/ink/ink439.xml" ContentType="application/inkml+xml"/>
  <Override PartName="/ppt/ink/ink440.xml" ContentType="application/inkml+xml"/>
  <Override PartName="/ppt/ink/ink441.xml" ContentType="application/inkml+xml"/>
  <Override PartName="/ppt/ink/ink442.xml" ContentType="application/inkml+xml"/>
  <Override PartName="/ppt/ink/ink443.xml" ContentType="application/inkml+xml"/>
  <Override PartName="/ppt/ink/ink444.xml" ContentType="application/inkml+xml"/>
  <Override PartName="/ppt/ink/ink445.xml" ContentType="application/inkml+xml"/>
  <Override PartName="/ppt/ink/ink446.xml" ContentType="application/inkml+xml"/>
  <Override PartName="/ppt/ink/ink447.xml" ContentType="application/inkml+xml"/>
  <Override PartName="/ppt/ink/ink448.xml" ContentType="application/inkml+xml"/>
  <Override PartName="/ppt/ink/ink449.xml" ContentType="application/inkml+xml"/>
  <Override PartName="/ppt/ink/ink450.xml" ContentType="application/inkml+xml"/>
  <Override PartName="/ppt/ink/ink451.xml" ContentType="application/inkml+xml"/>
  <Override PartName="/ppt/ink/ink452.xml" ContentType="application/inkml+xml"/>
  <Override PartName="/ppt/ink/ink453.xml" ContentType="application/inkml+xml"/>
  <Override PartName="/ppt/ink/ink454.xml" ContentType="application/inkml+xml"/>
  <Override PartName="/ppt/ink/ink455.xml" ContentType="application/inkml+xml"/>
  <Override PartName="/ppt/ink/ink456.xml" ContentType="application/inkml+xml"/>
  <Override PartName="/ppt/ink/ink457.xml" ContentType="application/inkml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ink/ink458.xml" ContentType="application/inkml+xml"/>
  <Override PartName="/ppt/ink/ink459.xml" ContentType="application/inkml+xml"/>
  <Override PartName="/ppt/ink/ink460.xml" ContentType="application/inkml+xml"/>
  <Override PartName="/ppt/ink/ink461.xml" ContentType="application/inkml+xml"/>
  <Override PartName="/ppt/ink/ink462.xml" ContentType="application/inkml+xml"/>
  <Override PartName="/ppt/ink/ink463.xml" ContentType="application/inkml+xml"/>
  <Override PartName="/ppt/ink/ink464.xml" ContentType="application/inkml+xml"/>
  <Override PartName="/ppt/ink/ink465.xml" ContentType="application/inkml+xml"/>
  <Override PartName="/ppt/ink/ink466.xml" ContentType="application/inkml+xml"/>
  <Override PartName="/ppt/ink/ink467.xml" ContentType="application/inkml+xml"/>
  <Override PartName="/ppt/ink/ink468.xml" ContentType="application/inkml+xml"/>
  <Override PartName="/ppt/ink/ink469.xml" ContentType="application/inkml+xml"/>
  <Override PartName="/ppt/ink/ink470.xml" ContentType="application/inkml+xml"/>
  <Override PartName="/ppt/ink/ink471.xml" ContentType="application/inkml+xml"/>
  <Override PartName="/ppt/ink/ink472.xml" ContentType="application/inkml+xml"/>
  <Override PartName="/ppt/ink/ink473.xml" ContentType="application/inkml+xml"/>
  <Override PartName="/ppt/ink/ink474.xml" ContentType="application/inkml+xml"/>
  <Override PartName="/ppt/ink/ink475.xml" ContentType="application/inkml+xml"/>
  <Override PartName="/ppt/ink/ink476.xml" ContentType="application/inkml+xml"/>
  <Override PartName="/ppt/ink/ink477.xml" ContentType="application/inkml+xml"/>
  <Override PartName="/ppt/ink/ink478.xml" ContentType="application/inkml+xml"/>
  <Override PartName="/ppt/ink/ink479.xml" ContentType="application/inkml+xml"/>
  <Override PartName="/ppt/ink/ink480.xml" ContentType="application/inkml+xml"/>
  <Override PartName="/ppt/ink/ink481.xml" ContentType="application/inkml+xml"/>
  <Override PartName="/ppt/ink/ink482.xml" ContentType="application/inkml+xml"/>
  <Override PartName="/ppt/ink/ink483.xml" ContentType="application/inkml+xml"/>
  <Override PartName="/ppt/ink/ink484.xml" ContentType="application/inkml+xml"/>
  <Override PartName="/ppt/ink/ink485.xml" ContentType="application/inkml+xml"/>
  <Override PartName="/ppt/ink/ink486.xml" ContentType="application/inkml+xml"/>
  <Override PartName="/ppt/ink/ink487.xml" ContentType="application/inkml+xml"/>
  <Override PartName="/ppt/ink/ink488.xml" ContentType="application/inkml+xml"/>
  <Override PartName="/ppt/ink/ink489.xml" ContentType="application/inkml+xml"/>
  <Override PartName="/ppt/ink/ink490.xml" ContentType="application/inkml+xml"/>
  <Override PartName="/ppt/ink/ink491.xml" ContentType="application/inkml+xml"/>
  <Override PartName="/ppt/ink/ink492.xml" ContentType="application/inkml+xml"/>
  <Override PartName="/ppt/ink/ink493.xml" ContentType="application/inkml+xml"/>
  <Override PartName="/ppt/ink/ink494.xml" ContentType="application/inkml+xml"/>
  <Override PartName="/ppt/ink/ink495.xml" ContentType="application/inkml+xml"/>
  <Override PartName="/ppt/ink/ink496.xml" ContentType="application/inkml+xml"/>
  <Override PartName="/ppt/ink/ink497.xml" ContentType="application/inkml+xml"/>
  <Override PartName="/ppt/ink/ink498.xml" ContentType="application/inkml+xml"/>
  <Override PartName="/ppt/ink/ink499.xml" ContentType="application/inkml+xml"/>
  <Override PartName="/ppt/ink/ink500.xml" ContentType="application/inkml+xml"/>
  <Override PartName="/ppt/ink/ink501.xml" ContentType="application/inkml+xml"/>
  <Override PartName="/ppt/ink/ink502.xml" ContentType="application/inkml+xml"/>
  <Override PartName="/ppt/ink/ink503.xml" ContentType="application/inkml+xml"/>
  <Override PartName="/ppt/ink/ink504.xml" ContentType="application/inkml+xml"/>
  <Override PartName="/ppt/ink/ink505.xml" ContentType="application/inkml+xml"/>
  <Override PartName="/ppt/ink/ink506.xml" ContentType="application/inkml+xml"/>
  <Override PartName="/ppt/ink/ink507.xml" ContentType="application/inkml+xml"/>
  <Override PartName="/ppt/ink/ink508.xml" ContentType="application/inkml+xml"/>
  <Override PartName="/ppt/ink/ink509.xml" ContentType="application/inkml+xml"/>
  <Override PartName="/ppt/ink/ink510.xml" ContentType="application/inkml+xml"/>
  <Override PartName="/ppt/ink/ink511.xml" ContentType="application/inkml+xml"/>
  <Override PartName="/ppt/ink/ink512.xml" ContentType="application/inkml+xml"/>
  <Override PartName="/ppt/ink/ink513.xml" ContentType="application/inkml+xml"/>
  <Override PartName="/ppt/ink/ink514.xml" ContentType="application/inkml+xml"/>
  <Override PartName="/ppt/ink/ink515.xml" ContentType="application/inkml+xml"/>
  <Override PartName="/ppt/ink/ink516.xml" ContentType="application/inkml+xml"/>
  <Override PartName="/ppt/ink/ink517.xml" ContentType="application/inkml+xml"/>
  <Override PartName="/ppt/ink/ink518.xml" ContentType="application/inkml+xml"/>
  <Override PartName="/ppt/ink/ink519.xml" ContentType="application/inkml+xml"/>
  <Override PartName="/ppt/ink/ink520.xml" ContentType="application/inkml+xml"/>
  <Override PartName="/ppt/ink/ink521.xml" ContentType="application/inkml+xml"/>
  <Override PartName="/ppt/ink/ink522.xml" ContentType="application/inkml+xml"/>
  <Override PartName="/ppt/ink/ink523.xml" ContentType="application/inkml+xml"/>
  <Override PartName="/ppt/ink/ink524.xml" ContentType="application/inkml+xml"/>
  <Override PartName="/ppt/ink/ink525.xml" ContentType="application/inkml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ink/ink526.xml" ContentType="application/inkml+xml"/>
  <Override PartName="/ppt/ink/ink527.xml" ContentType="application/inkml+xml"/>
  <Override PartName="/ppt/ink/ink528.xml" ContentType="application/inkml+xml"/>
  <Override PartName="/ppt/ink/ink529.xml" ContentType="application/inkml+xml"/>
  <Override PartName="/ppt/ink/ink530.xml" ContentType="application/inkml+xml"/>
  <Override PartName="/ppt/ink/ink531.xml" ContentType="application/inkml+xml"/>
  <Override PartName="/ppt/ink/ink532.xml" ContentType="application/inkml+xml"/>
  <Override PartName="/ppt/ink/ink533.xml" ContentType="application/inkml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ink/ink534.xml" ContentType="application/inkml+xml"/>
  <Override PartName="/ppt/ink/ink535.xml" ContentType="application/inkml+xml"/>
  <Override PartName="/ppt/ink/ink536.xml" ContentType="application/inkml+xml"/>
  <Override PartName="/ppt/ink/ink537.xml" ContentType="application/inkml+xml"/>
  <Override PartName="/ppt/ink/ink538.xml" ContentType="application/inkml+xml"/>
  <Override PartName="/ppt/ink/ink539.xml" ContentType="application/inkml+xml"/>
  <Override PartName="/ppt/ink/ink540.xml" ContentType="application/inkml+xml"/>
  <Override PartName="/ppt/ink/ink541.xml" ContentType="application/inkml+xml"/>
  <Override PartName="/ppt/ink/ink542.xml" ContentType="application/inkml+xml"/>
  <Override PartName="/ppt/ink/ink543.xml" ContentType="application/inkml+xml"/>
  <Override PartName="/ppt/ink/ink544.xml" ContentType="application/inkml+xml"/>
  <Override PartName="/ppt/ink/ink545.xml" ContentType="application/inkml+xml"/>
  <Override PartName="/ppt/ink/ink546.xml" ContentType="application/inkml+xml"/>
  <Override PartName="/ppt/ink/ink547.xml" ContentType="application/inkml+xml"/>
  <Override PartName="/ppt/ink/ink548.xml" ContentType="application/inkml+xml"/>
  <Override PartName="/ppt/ink/ink549.xml" ContentType="application/inkml+xml"/>
  <Override PartName="/ppt/ink/ink550.xml" ContentType="application/inkml+xml"/>
  <Override PartName="/ppt/ink/ink551.xml" ContentType="application/inkml+xml"/>
  <Override PartName="/ppt/ink/ink552.xml" ContentType="application/inkml+xml"/>
  <Override PartName="/ppt/ink/ink553.xml" ContentType="application/inkml+xml"/>
  <Override PartName="/ppt/ink/ink554.xml" ContentType="application/inkml+xml"/>
  <Override PartName="/ppt/ink/ink555.xml" ContentType="application/inkml+xml"/>
  <Override PartName="/ppt/ink/ink556.xml" ContentType="application/inkml+xml"/>
  <Override PartName="/ppt/ink/ink557.xml" ContentType="application/inkml+xml"/>
  <Override PartName="/ppt/ink/ink558.xml" ContentType="application/inkml+xml"/>
  <Override PartName="/ppt/ink/ink559.xml" ContentType="application/inkml+xml"/>
  <Override PartName="/ppt/ink/ink560.xml" ContentType="application/inkml+xml"/>
  <Override PartName="/ppt/ink/ink561.xml" ContentType="application/inkml+xml"/>
  <Override PartName="/ppt/ink/ink562.xml" ContentType="application/inkml+xml"/>
  <Override PartName="/ppt/ink/ink563.xml" ContentType="application/inkml+xml"/>
  <Override PartName="/ppt/ink/ink564.xml" ContentType="application/inkml+xml"/>
  <Override PartName="/ppt/ink/ink565.xml" ContentType="application/inkml+xml"/>
  <Override PartName="/ppt/ink/ink566.xml" ContentType="application/inkml+xml"/>
  <Override PartName="/ppt/ink/ink567.xml" ContentType="application/inkml+xml"/>
  <Override PartName="/ppt/ink/ink568.xml" ContentType="application/inkml+xml"/>
  <Override PartName="/ppt/ink/ink569.xml" ContentType="application/inkml+xml"/>
  <Override PartName="/ppt/ink/ink570.xml" ContentType="application/inkml+xml"/>
  <Override PartName="/ppt/ink/ink571.xml" ContentType="application/inkml+xml"/>
  <Override PartName="/ppt/ink/ink572.xml" ContentType="application/inkml+xml"/>
  <Override PartName="/ppt/ink/ink573.xml" ContentType="application/inkml+xml"/>
  <Override PartName="/ppt/ink/ink574.xml" ContentType="application/inkml+xml"/>
  <Override PartName="/ppt/ink/ink575.xml" ContentType="application/inkml+xml"/>
  <Override PartName="/ppt/ink/ink576.xml" ContentType="application/inkml+xml"/>
  <Override PartName="/ppt/ink/ink577.xml" ContentType="application/inkml+xml"/>
  <Override PartName="/ppt/ink/ink578.xml" ContentType="application/inkml+xml"/>
  <Override PartName="/ppt/ink/ink579.xml" ContentType="application/inkml+xml"/>
  <Override PartName="/ppt/ink/ink580.xml" ContentType="application/inkml+xml"/>
  <Override PartName="/ppt/ink/ink581.xml" ContentType="application/inkml+xml"/>
  <Override PartName="/ppt/ink/ink582.xml" ContentType="application/inkml+xml"/>
  <Override PartName="/ppt/ink/ink583.xml" ContentType="application/inkml+xml"/>
  <Override PartName="/ppt/ink/ink584.xml" ContentType="application/inkml+xml"/>
  <Override PartName="/ppt/ink/ink585.xml" ContentType="application/inkml+xml"/>
  <Override PartName="/ppt/ink/ink586.xml" ContentType="application/inkml+xml"/>
  <Override PartName="/ppt/ink/ink587.xml" ContentType="application/inkml+xml"/>
  <Override PartName="/ppt/ink/ink588.xml" ContentType="application/inkml+xml"/>
  <Override PartName="/ppt/tags/tag26.xml" ContentType="application/vnd.openxmlformats-officedocument.presentationml.tags+xml"/>
  <Override PartName="/ppt/ink/ink589.xml" ContentType="application/inkml+xml"/>
  <Override PartName="/ppt/ink/ink590.xml" ContentType="application/inkml+xml"/>
  <Override PartName="/ppt/ink/ink591.xml" ContentType="application/inkml+xml"/>
  <Override PartName="/ppt/ink/ink592.xml" ContentType="application/inkml+xml"/>
  <Override PartName="/ppt/ink/ink593.xml" ContentType="application/inkml+xml"/>
  <Override PartName="/ppt/ink/ink594.xml" ContentType="application/inkml+xml"/>
  <Override PartName="/ppt/ink/ink595.xml" ContentType="application/inkml+xml"/>
  <Override PartName="/ppt/ink/ink596.xml" ContentType="application/inkml+xml"/>
  <Override PartName="/ppt/ink/ink597.xml" ContentType="application/inkml+xml"/>
  <Override PartName="/ppt/ink/ink598.xml" ContentType="application/inkml+xml"/>
  <Override PartName="/ppt/ink/ink599.xml" ContentType="application/inkml+xml"/>
  <Override PartName="/ppt/ink/ink600.xml" ContentType="application/inkml+xml"/>
  <Override PartName="/ppt/ink/ink601.xml" ContentType="application/inkml+xml"/>
  <Override PartName="/ppt/ink/ink602.xml" ContentType="application/inkml+xml"/>
  <Override PartName="/ppt/ink/ink603.xml" ContentType="application/inkml+xml"/>
  <Override PartName="/ppt/ink/ink604.xml" ContentType="application/inkml+xml"/>
  <Override PartName="/ppt/ink/ink605.xml" ContentType="application/inkml+xml"/>
  <Override PartName="/ppt/ink/ink606.xml" ContentType="application/inkml+xml"/>
  <Override PartName="/ppt/ink/ink607.xml" ContentType="application/inkml+xml"/>
  <Override PartName="/ppt/ink/ink608.xml" ContentType="application/inkml+xml"/>
  <Override PartName="/ppt/ink/ink609.xml" ContentType="application/inkml+xml"/>
  <Override PartName="/ppt/ink/ink610.xml" ContentType="application/inkml+xml"/>
  <Override PartName="/ppt/ink/ink611.xml" ContentType="application/inkml+xml"/>
  <Override PartName="/ppt/ink/ink612.xml" ContentType="application/inkml+xml"/>
  <Override PartName="/ppt/ink/ink613.xml" ContentType="application/inkml+xml"/>
  <Override PartName="/ppt/ink/ink614.xml" ContentType="application/inkml+xml"/>
  <Override PartName="/ppt/ink/ink615.xml" ContentType="application/inkml+xml"/>
  <Override PartName="/ppt/ink/ink616.xml" ContentType="application/inkml+xml"/>
  <Override PartName="/ppt/ink/ink617.xml" ContentType="application/inkml+xml"/>
  <Override PartName="/ppt/ink/ink618.xml" ContentType="application/inkml+xml"/>
  <Override PartName="/ppt/ink/ink619.xml" ContentType="application/inkml+xml"/>
  <Override PartName="/ppt/ink/ink620.xml" ContentType="application/inkml+xml"/>
  <Override PartName="/ppt/ink/ink621.xml" ContentType="application/inkml+xml"/>
  <Override PartName="/ppt/ink/ink622.xml" ContentType="application/inkml+xml"/>
  <Override PartName="/ppt/ink/ink623.xml" ContentType="application/inkml+xml"/>
  <Override PartName="/ppt/ink/ink624.xml" ContentType="application/inkml+xml"/>
  <Override PartName="/ppt/ink/ink625.xml" ContentType="application/inkml+xml"/>
  <Override PartName="/ppt/ink/ink626.xml" ContentType="application/inkml+xml"/>
  <Override PartName="/ppt/ink/ink627.xml" ContentType="application/inkml+xml"/>
  <Override PartName="/ppt/ink/ink628.xml" ContentType="application/inkml+xml"/>
  <Override PartName="/ppt/ink/ink629.xml" ContentType="application/inkml+xml"/>
  <Override PartName="/ppt/ink/ink630.xml" ContentType="application/inkml+xml"/>
  <Override PartName="/ppt/ink/ink631.xml" ContentType="application/inkml+xml"/>
  <Override PartName="/ppt/ink/ink632.xml" ContentType="application/inkml+xml"/>
  <Override PartName="/ppt/ink/ink633.xml" ContentType="application/inkml+xml"/>
  <Override PartName="/ppt/ink/ink634.xml" ContentType="application/inkml+xml"/>
  <Override PartName="/ppt/ink/ink635.xml" ContentType="application/inkml+xml"/>
  <Override PartName="/ppt/ink/ink636.xml" ContentType="application/inkml+xml"/>
  <Override PartName="/ppt/ink/ink637.xml" ContentType="application/inkml+xml"/>
  <Override PartName="/ppt/ink/ink638.xml" ContentType="application/inkml+xml"/>
  <Override PartName="/ppt/ink/ink639.xml" ContentType="application/inkml+xml"/>
  <Override PartName="/ppt/ink/ink640.xml" ContentType="application/inkml+xml"/>
  <Override PartName="/ppt/ink/ink641.xml" ContentType="application/inkml+xml"/>
  <Override PartName="/ppt/ink/ink642.xml" ContentType="application/inkml+xml"/>
  <Override PartName="/ppt/ink/ink643.xml" ContentType="application/inkml+xml"/>
  <Override PartName="/ppt/ink/ink644.xml" ContentType="application/inkml+xml"/>
  <Override PartName="/ppt/ink/ink645.xml" ContentType="application/inkml+xml"/>
  <Override PartName="/ppt/ink/ink646.xml" ContentType="application/inkml+xml"/>
  <Override PartName="/ppt/ink/ink647.xml" ContentType="application/inkml+xml"/>
  <Override PartName="/ppt/ink/ink648.xml" ContentType="application/inkml+xml"/>
  <Override PartName="/ppt/ink/ink649.xml" ContentType="application/inkml+xml"/>
  <Override PartName="/ppt/ink/ink650.xml" ContentType="application/inkml+xml"/>
  <Override PartName="/ppt/ink/ink651.xml" ContentType="application/inkml+xml"/>
  <Override PartName="/ppt/ink/ink652.xml" ContentType="application/inkml+xml"/>
  <Override PartName="/ppt/tags/tag27.xml" ContentType="application/vnd.openxmlformats-officedocument.presentationml.tags+xml"/>
  <Override PartName="/ppt/ink/ink653.xml" ContentType="application/inkml+xml"/>
  <Override PartName="/ppt/ink/ink654.xml" ContentType="application/inkml+xml"/>
  <Override PartName="/ppt/ink/ink655.xml" ContentType="application/inkml+xml"/>
  <Override PartName="/ppt/ink/ink656.xml" ContentType="application/inkml+xml"/>
  <Override PartName="/ppt/ink/ink657.xml" ContentType="application/inkml+xml"/>
  <Override PartName="/ppt/ink/ink658.xml" ContentType="application/inkml+xml"/>
  <Override PartName="/ppt/ink/ink659.xml" ContentType="application/inkml+xml"/>
  <Override PartName="/ppt/ink/ink660.xml" ContentType="application/inkml+xml"/>
  <Override PartName="/ppt/ink/ink661.xml" ContentType="application/inkml+xml"/>
  <Override PartName="/ppt/ink/ink662.xml" ContentType="application/inkml+xml"/>
  <Override PartName="/ppt/ink/ink663.xml" ContentType="application/inkml+xml"/>
  <Override PartName="/ppt/ink/ink664.xml" ContentType="application/inkml+xml"/>
  <Override PartName="/ppt/ink/ink665.xml" ContentType="application/inkml+xml"/>
  <Override PartName="/ppt/ink/ink666.xml" ContentType="application/inkml+xml"/>
  <Override PartName="/ppt/ink/ink667.xml" ContentType="application/inkml+xml"/>
  <Override PartName="/ppt/ink/ink668.xml" ContentType="application/inkml+xml"/>
  <Override PartName="/ppt/ink/ink669.xml" ContentType="application/inkml+xml"/>
  <Override PartName="/ppt/ink/ink670.xml" ContentType="application/inkml+xml"/>
  <Override PartName="/ppt/ink/ink671.xml" ContentType="application/inkml+xml"/>
  <Override PartName="/ppt/ink/ink672.xml" ContentType="application/inkml+xml"/>
  <Override PartName="/ppt/ink/ink673.xml" ContentType="application/inkml+xml"/>
  <Override PartName="/ppt/ink/ink674.xml" ContentType="application/inkml+xml"/>
  <Override PartName="/ppt/ink/ink675.xml" ContentType="application/inkml+xml"/>
  <Override PartName="/ppt/ink/ink676.xml" ContentType="application/inkml+xml"/>
  <Override PartName="/ppt/ink/ink677.xml" ContentType="application/inkml+xml"/>
  <Override PartName="/ppt/ink/ink678.xml" ContentType="application/inkml+xml"/>
  <Override PartName="/ppt/ink/ink679.xml" ContentType="application/inkml+xml"/>
  <Override PartName="/ppt/ink/ink680.xml" ContentType="application/inkml+xml"/>
  <Override PartName="/ppt/ink/ink681.xml" ContentType="application/inkml+xml"/>
  <Override PartName="/ppt/ink/ink682.xml" ContentType="application/inkml+xml"/>
  <Override PartName="/ppt/ink/ink683.xml" ContentType="application/inkml+xml"/>
  <Override PartName="/ppt/ink/ink684.xml" ContentType="application/inkml+xml"/>
  <Override PartName="/ppt/ink/ink685.xml" ContentType="application/inkml+xml"/>
  <Override PartName="/ppt/ink/ink686.xml" ContentType="application/inkml+xml"/>
  <Override PartName="/ppt/ink/ink687.xml" ContentType="application/inkml+xml"/>
  <Override PartName="/ppt/ink/ink688.xml" ContentType="application/inkml+xml"/>
  <Override PartName="/ppt/ink/ink689.xml" ContentType="application/inkml+xml"/>
  <Override PartName="/ppt/ink/ink690.xml" ContentType="application/inkml+xml"/>
  <Override PartName="/ppt/ink/ink691.xml" ContentType="application/inkml+xml"/>
  <Override PartName="/ppt/ink/ink692.xml" ContentType="application/inkml+xml"/>
  <Override PartName="/ppt/ink/ink693.xml" ContentType="application/inkml+xml"/>
  <Override PartName="/ppt/ink/ink694.xml" ContentType="application/inkml+xml"/>
  <Override PartName="/ppt/ink/ink695.xml" ContentType="application/inkml+xml"/>
  <Override PartName="/ppt/ink/ink696.xml" ContentType="application/inkml+xml"/>
  <Override PartName="/ppt/ink/ink697.xml" ContentType="application/inkml+xml"/>
  <Override PartName="/ppt/ink/ink698.xml" ContentType="application/inkml+xml"/>
  <Override PartName="/ppt/ink/ink699.xml" ContentType="application/inkml+xml"/>
  <Override PartName="/ppt/ink/ink700.xml" ContentType="application/inkml+xml"/>
  <Override PartName="/ppt/ink/ink701.xml" ContentType="application/inkml+xml"/>
  <Override PartName="/ppt/ink/ink702.xml" ContentType="application/inkml+xml"/>
  <Override PartName="/ppt/ink/ink703.xml" ContentType="application/inkml+xml"/>
  <Override PartName="/ppt/ink/ink704.xml" ContentType="application/inkml+xml"/>
  <Override PartName="/ppt/ink/ink705.xml" ContentType="application/inkml+xml"/>
  <Override PartName="/ppt/tags/tag28.xml" ContentType="application/vnd.openxmlformats-officedocument.presentationml.tags+xml"/>
  <Override PartName="/ppt/ink/ink706.xml" ContentType="application/inkml+xml"/>
  <Override PartName="/ppt/ink/ink707.xml" ContentType="application/inkml+xml"/>
  <Override PartName="/ppt/ink/ink708.xml" ContentType="application/inkml+xml"/>
  <Override PartName="/ppt/ink/ink709.xml" ContentType="application/inkml+xml"/>
  <Override PartName="/ppt/ink/ink710.xml" ContentType="application/inkml+xml"/>
  <Override PartName="/ppt/ink/ink711.xml" ContentType="application/inkml+xml"/>
  <Override PartName="/ppt/ink/ink712.xml" ContentType="application/inkml+xml"/>
  <Override PartName="/ppt/ink/ink713.xml" ContentType="application/inkml+xml"/>
  <Override PartName="/ppt/ink/ink714.xml" ContentType="application/inkml+xml"/>
  <Override PartName="/ppt/ink/ink715.xml" ContentType="application/inkml+xml"/>
  <Override PartName="/ppt/ink/ink716.xml" ContentType="application/inkml+xml"/>
  <Override PartName="/ppt/ink/ink717.xml" ContentType="application/inkml+xml"/>
  <Override PartName="/ppt/ink/ink718.xml" ContentType="application/inkml+xml"/>
  <Override PartName="/ppt/ink/ink719.xml" ContentType="application/inkml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ink/ink720.xml" ContentType="application/inkml+xml"/>
  <Override PartName="/ppt/ink/ink721.xml" ContentType="application/inkml+xml"/>
  <Override PartName="/ppt/ink/ink722.xml" ContentType="application/inkml+xml"/>
  <Override PartName="/ppt/ink/ink723.xml" ContentType="application/inkml+xml"/>
  <Override PartName="/ppt/ink/ink724.xml" ContentType="application/inkml+xml"/>
  <Override PartName="/ppt/ink/ink725.xml" ContentType="application/inkml+xml"/>
  <Override PartName="/ppt/ink/ink726.xml" ContentType="application/inkml+xml"/>
  <Override PartName="/ppt/ink/ink727.xml" ContentType="application/inkml+xml"/>
  <Override PartName="/ppt/ink/ink728.xml" ContentType="application/inkml+xml"/>
  <Override PartName="/ppt/ink/ink729.xml" ContentType="application/inkml+xml"/>
  <Override PartName="/ppt/ink/ink730.xml" ContentType="application/inkml+xml"/>
  <Override PartName="/ppt/ink/ink731.xml" ContentType="application/inkml+xml"/>
  <Override PartName="/ppt/ink/ink732.xml" ContentType="application/inkml+xml"/>
  <Override PartName="/ppt/tags/tag32.xml" ContentType="application/vnd.openxmlformats-officedocument.presentationml.tags+xml"/>
  <Override PartName="/ppt/ink/ink733.xml" ContentType="application/inkml+xml"/>
  <Override PartName="/ppt/ink/ink734.xml" ContentType="application/inkml+xml"/>
  <Override PartName="/ppt/ink/ink735.xml" ContentType="application/inkml+xml"/>
  <Override PartName="/ppt/ink/ink736.xml" ContentType="application/inkml+xml"/>
  <Override PartName="/ppt/ink/ink737.xml" ContentType="application/inkml+xml"/>
  <Override PartName="/ppt/ink/ink738.xml" ContentType="application/inkml+xml"/>
  <Override PartName="/ppt/ink/ink739.xml" ContentType="application/inkml+xml"/>
  <Override PartName="/ppt/ink/ink740.xml" ContentType="application/inkml+xml"/>
  <Override PartName="/ppt/ink/ink741.xml" ContentType="application/inkml+xml"/>
  <Override PartName="/ppt/ink/ink742.xml" ContentType="application/inkml+xml"/>
  <Override PartName="/ppt/ink/ink743.xml" ContentType="application/inkml+xml"/>
  <Override PartName="/ppt/ink/ink744.xml" ContentType="application/inkml+xml"/>
  <Override PartName="/ppt/ink/ink745.xml" ContentType="application/inkml+xml"/>
  <Override PartName="/ppt/ink/ink746.xml" ContentType="application/inkml+xml"/>
  <Override PartName="/ppt/ink/ink747.xml" ContentType="application/inkml+xml"/>
  <Override PartName="/ppt/ink/ink748.xml" ContentType="application/inkml+xml"/>
  <Override PartName="/ppt/ink/ink749.xml" ContentType="application/inkml+xml"/>
  <Override PartName="/ppt/ink/ink750.xml" ContentType="application/inkml+xml"/>
  <Override PartName="/ppt/ink/ink751.xml" ContentType="application/inkml+xml"/>
  <Override PartName="/ppt/ink/ink752.xml" ContentType="application/inkml+xml"/>
  <Override PartName="/ppt/ink/ink753.xml" ContentType="application/inkml+xml"/>
  <Override PartName="/ppt/ink/ink754.xml" ContentType="application/inkml+xml"/>
  <Override PartName="/ppt/ink/ink755.xml" ContentType="application/inkml+xml"/>
  <Override PartName="/ppt/ink/ink756.xml" ContentType="application/inkml+xml"/>
  <Override PartName="/ppt/ink/ink757.xml" ContentType="application/inkml+xml"/>
  <Override PartName="/ppt/ink/ink758.xml" ContentType="application/inkml+xml"/>
  <Override PartName="/ppt/ink/ink759.xml" ContentType="application/inkml+xml"/>
  <Override PartName="/ppt/ink/ink760.xml" ContentType="application/inkml+xml"/>
  <Override PartName="/ppt/ink/ink761.xml" ContentType="application/inkml+xml"/>
  <Override PartName="/ppt/ink/ink762.xml" ContentType="application/inkml+xml"/>
  <Override PartName="/ppt/ink/ink763.xml" ContentType="application/inkml+xml"/>
  <Override PartName="/ppt/ink/ink764.xml" ContentType="application/inkml+xml"/>
  <Override PartName="/ppt/ink/ink765.xml" ContentType="application/inkml+xml"/>
  <Override PartName="/ppt/ink/ink766.xml" ContentType="application/inkml+xml"/>
  <Override PartName="/ppt/ink/ink767.xml" ContentType="application/inkml+xml"/>
  <Override PartName="/ppt/ink/ink768.xml" ContentType="application/inkml+xml"/>
  <Override PartName="/ppt/ink/ink769.xml" ContentType="application/inkml+xml"/>
  <Override PartName="/ppt/ink/ink770.xml" ContentType="application/inkml+xml"/>
  <Override PartName="/ppt/ink/ink771.xml" ContentType="application/inkml+xml"/>
  <Override PartName="/ppt/ink/ink772.xml" ContentType="application/inkml+xml"/>
  <Override PartName="/ppt/ink/ink773.xml" ContentType="application/inkml+xml"/>
  <Override PartName="/ppt/ink/ink774.xml" ContentType="application/inkml+xml"/>
  <Override PartName="/ppt/ink/ink775.xml" ContentType="application/inkml+xml"/>
  <Override PartName="/ppt/ink/ink776.xml" ContentType="application/inkml+xml"/>
  <Override PartName="/ppt/ink/ink777.xml" ContentType="application/inkml+xml"/>
  <Override PartName="/ppt/ink/ink778.xml" ContentType="application/inkml+xml"/>
  <Override PartName="/ppt/tags/tag33.xml" ContentType="application/vnd.openxmlformats-officedocument.presentationml.tags+xml"/>
  <Override PartName="/ppt/ink/ink779.xml" ContentType="application/inkml+xml"/>
  <Override PartName="/ppt/ink/ink780.xml" ContentType="application/inkml+xml"/>
  <Override PartName="/ppt/ink/ink781.xml" ContentType="application/inkml+xml"/>
  <Override PartName="/ppt/ink/ink782.xml" ContentType="application/inkml+xml"/>
  <Override PartName="/ppt/ink/ink783.xml" ContentType="application/inkml+xml"/>
  <Override PartName="/ppt/ink/ink784.xml" ContentType="application/inkml+xml"/>
  <Override PartName="/ppt/ink/ink785.xml" ContentType="application/inkml+xml"/>
  <Override PartName="/ppt/ink/ink786.xml" ContentType="application/inkml+xml"/>
  <Override PartName="/ppt/ink/ink787.xml" ContentType="application/inkml+xml"/>
  <Override PartName="/ppt/ink/ink788.xml" ContentType="application/inkml+xml"/>
  <Override PartName="/ppt/ink/ink789.xml" ContentType="application/inkml+xml"/>
  <Override PartName="/ppt/ink/ink790.xml" ContentType="application/inkml+xml"/>
  <Override PartName="/ppt/ink/ink791.xml" ContentType="application/inkml+xml"/>
  <Override PartName="/ppt/ink/ink792.xml" ContentType="application/inkml+xml"/>
  <Override PartName="/ppt/ink/ink793.xml" ContentType="application/inkml+xml"/>
  <Override PartName="/ppt/ink/ink794.xml" ContentType="application/inkml+xml"/>
  <Override PartName="/ppt/ink/ink795.xml" ContentType="application/inkml+xml"/>
  <Override PartName="/ppt/tags/tag34.xml" ContentType="application/vnd.openxmlformats-officedocument.presentationml.tags+xml"/>
  <Override PartName="/ppt/ink/ink796.xml" ContentType="application/inkml+xml"/>
  <Override PartName="/ppt/ink/ink797.xml" ContentType="application/inkml+xml"/>
  <Override PartName="/ppt/ink/ink798.xml" ContentType="application/inkml+xml"/>
  <Override PartName="/ppt/ink/ink799.xml" ContentType="application/inkml+xml"/>
  <Override PartName="/ppt/ink/ink800.xml" ContentType="application/inkml+xml"/>
  <Override PartName="/ppt/ink/ink801.xml" ContentType="application/inkml+xml"/>
  <Override PartName="/ppt/ink/ink802.xml" ContentType="application/inkml+xml"/>
  <Override PartName="/ppt/ink/ink803.xml" ContentType="application/inkml+xml"/>
  <Override PartName="/ppt/ink/ink804.xml" ContentType="application/inkml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ink/ink805.xml" ContentType="application/inkml+xml"/>
  <Override PartName="/ppt/ink/ink806.xml" ContentType="application/inkml+xml"/>
  <Override PartName="/ppt/ink/ink807.xml" ContentType="application/inkml+xml"/>
  <Override PartName="/ppt/ink/ink808.xml" ContentType="application/inkml+xml"/>
  <Override PartName="/ppt/ink/ink809.xml" ContentType="application/inkml+xml"/>
  <Override PartName="/ppt/ink/ink810.xml" ContentType="application/inkml+xml"/>
  <Override PartName="/ppt/ink/ink811.xml" ContentType="application/inkml+xml"/>
  <Override PartName="/ppt/ink/ink812.xml" ContentType="application/inkml+xml"/>
  <Override PartName="/ppt/ink/ink813.xml" ContentType="application/inkml+xml"/>
  <Override PartName="/ppt/ink/ink814.xml" ContentType="application/inkml+xml"/>
  <Override PartName="/ppt/ink/ink815.xml" ContentType="application/inkml+xml"/>
  <Override PartName="/ppt/ink/ink816.xml" ContentType="application/inkml+xml"/>
  <Override PartName="/ppt/ink/ink817.xml" ContentType="application/inkml+xml"/>
  <Override PartName="/ppt/ink/ink818.xml" ContentType="application/inkml+xml"/>
  <Override PartName="/ppt/ink/ink819.xml" ContentType="application/inkml+xml"/>
  <Override PartName="/ppt/ink/ink820.xml" ContentType="application/inkml+xml"/>
  <Override PartName="/ppt/ink/ink821.xml" ContentType="application/inkml+xml"/>
  <Override PartName="/ppt/ink/ink822.xml" ContentType="application/inkml+xml"/>
  <Override PartName="/ppt/ink/ink823.xml" ContentType="application/inkml+xml"/>
  <Override PartName="/ppt/ink/ink824.xml" ContentType="application/inkml+xml"/>
  <Override PartName="/ppt/ink/ink825.xml" ContentType="application/inkml+xml"/>
  <Override PartName="/ppt/ink/ink826.xml" ContentType="application/inkml+xml"/>
  <Override PartName="/ppt/ink/ink827.xml" ContentType="application/inkml+xml"/>
  <Override PartName="/ppt/ink/ink828.xml" ContentType="application/inkml+xml"/>
  <Override PartName="/ppt/ink/ink829.xml" ContentType="application/inkml+xml"/>
  <Override PartName="/ppt/ink/ink830.xml" ContentType="application/inkml+xml"/>
  <Override PartName="/ppt/ink/ink831.xml" ContentType="application/inkml+xml"/>
  <Override PartName="/ppt/ink/ink832.xml" ContentType="application/inkml+xml"/>
  <Override PartName="/ppt/ink/ink833.xml" ContentType="application/inkml+xml"/>
  <Override PartName="/ppt/ink/ink834.xml" ContentType="application/inkml+xml"/>
  <Override PartName="/ppt/ink/ink835.xml" ContentType="application/inkml+xml"/>
  <Override PartName="/ppt/ink/ink836.xml" ContentType="application/inkml+xml"/>
  <Override PartName="/ppt/ink/ink837.xml" ContentType="application/inkml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ink/ink838.xml" ContentType="application/inkml+xml"/>
  <Override PartName="/ppt/ink/ink839.xml" ContentType="application/inkml+xml"/>
  <Override PartName="/ppt/ink/ink840.xml" ContentType="application/inkml+xml"/>
  <Override PartName="/ppt/ink/ink841.xml" ContentType="application/inkml+xml"/>
  <Override PartName="/ppt/ink/ink842.xml" ContentType="application/inkml+xml"/>
  <Override PartName="/ppt/ink/ink843.xml" ContentType="application/inkml+xml"/>
  <Override PartName="/ppt/ink/ink844.xml" ContentType="application/inkml+xml"/>
  <Override PartName="/ppt/ink/ink845.xml" ContentType="application/inkml+xml"/>
  <Override PartName="/ppt/ink/ink846.xml" ContentType="application/inkml+xml"/>
  <Override PartName="/ppt/ink/ink847.xml" ContentType="application/inkml+xml"/>
  <Override PartName="/ppt/ink/ink848.xml" ContentType="application/inkml+xml"/>
  <Override PartName="/ppt/ink/ink849.xml" ContentType="application/inkml+xml"/>
  <Override PartName="/ppt/ink/ink850.xml" ContentType="application/inkml+xml"/>
  <Override PartName="/ppt/ink/ink851.xml" ContentType="application/inkml+xml"/>
  <Override PartName="/ppt/ink/ink852.xml" ContentType="application/inkml+xml"/>
  <Override PartName="/ppt/ink/ink853.xml" ContentType="application/inkml+xml"/>
  <Override PartName="/ppt/ink/ink854.xml" ContentType="application/inkml+xml"/>
  <Override PartName="/ppt/ink/ink855.xml" ContentType="application/inkml+xml"/>
  <Override PartName="/ppt/ink/ink856.xml" ContentType="application/inkml+xml"/>
  <Override PartName="/ppt/ink/ink857.xml" ContentType="application/inkml+xml"/>
  <Override PartName="/ppt/ink/ink858.xml" ContentType="application/inkml+xml"/>
  <Override PartName="/ppt/ink/ink859.xml" ContentType="application/inkml+xml"/>
  <Override PartName="/ppt/ink/ink860.xml" ContentType="application/inkml+xml"/>
  <Override PartName="/ppt/ink/ink861.xml" ContentType="application/inkml+xml"/>
  <Override PartName="/ppt/ink/ink862.xml" ContentType="application/inkml+xml"/>
  <Override PartName="/ppt/ink/ink863.xml" ContentType="application/inkml+xml"/>
  <Override PartName="/ppt/ink/ink864.xml" ContentType="application/inkml+xml"/>
  <Override PartName="/ppt/ink/ink865.xml" ContentType="application/inkml+xml"/>
  <Override PartName="/ppt/ink/ink866.xml" ContentType="application/inkml+xml"/>
  <Override PartName="/ppt/ink/ink867.xml" ContentType="application/inkml+xml"/>
  <Override PartName="/ppt/ink/ink868.xml" ContentType="application/inkml+xml"/>
  <Override PartName="/ppt/ink/ink869.xml" ContentType="application/inkml+xml"/>
  <Override PartName="/ppt/ink/ink870.xml" ContentType="application/inkml+xml"/>
  <Override PartName="/ppt/ink/ink871.xml" ContentType="application/inkml+xml"/>
  <Override PartName="/ppt/ink/ink872.xml" ContentType="application/inkml+xml"/>
  <Override PartName="/ppt/ink/ink873.xml" ContentType="application/inkml+xml"/>
  <Override PartName="/ppt/ink/ink874.xml" ContentType="application/inkml+xml"/>
  <Override PartName="/ppt/ink/ink875.xml" ContentType="application/inkml+xml"/>
  <Override PartName="/ppt/ink/ink876.xml" ContentType="application/inkml+xml"/>
  <Override PartName="/ppt/ink/ink877.xml" ContentType="application/inkml+xml"/>
  <Override PartName="/ppt/ink/ink878.xml" ContentType="application/inkml+xml"/>
  <Override PartName="/ppt/ink/ink879.xml" ContentType="application/inkml+xml"/>
  <Override PartName="/ppt/ink/ink880.xml" ContentType="application/inkml+xml"/>
  <Override PartName="/ppt/ink/ink881.xml" ContentType="application/inkml+xml"/>
  <Override PartName="/ppt/ink/ink882.xml" ContentType="application/inkml+xml"/>
  <Override PartName="/ppt/ink/ink883.xml" ContentType="application/inkml+xml"/>
  <Override PartName="/ppt/ink/ink884.xml" ContentType="application/inkml+xml"/>
  <Override PartName="/ppt/ink/ink885.xml" ContentType="application/inkml+xml"/>
  <Override PartName="/ppt/ink/ink886.xml" ContentType="application/inkml+xml"/>
  <Override PartName="/ppt/ink/ink887.xml" ContentType="application/inkml+xml"/>
  <Override PartName="/ppt/ink/ink888.xml" ContentType="application/inkml+xml"/>
  <Override PartName="/ppt/ink/ink889.xml" ContentType="application/inkml+xml"/>
  <Override PartName="/ppt/ink/ink890.xml" ContentType="application/inkml+xml"/>
  <Override PartName="/ppt/ink/ink891.xml" ContentType="application/inkml+xml"/>
  <Override PartName="/ppt/ink/ink892.xml" ContentType="application/inkml+xml"/>
  <Override PartName="/ppt/ink/ink893.xml" ContentType="application/inkml+xml"/>
  <Override PartName="/ppt/ink/ink894.xml" ContentType="application/inkml+xml"/>
  <Override PartName="/ppt/ink/ink895.xml" ContentType="application/inkml+xml"/>
  <Override PartName="/ppt/ink/ink896.xml" ContentType="application/inkml+xml"/>
  <Override PartName="/ppt/ink/ink897.xml" ContentType="application/inkml+xml"/>
  <Override PartName="/ppt/ink/ink898.xml" ContentType="application/inkml+xml"/>
  <Override PartName="/ppt/ink/ink899.xml" ContentType="application/inkml+xml"/>
  <Override PartName="/ppt/ink/ink900.xml" ContentType="application/inkml+xml"/>
  <Override PartName="/ppt/ink/ink901.xml" ContentType="application/inkml+xml"/>
  <Override PartName="/ppt/ink/ink902.xml" ContentType="application/inkml+xml"/>
  <Override PartName="/ppt/ink/ink903.xml" ContentType="application/inkml+xml"/>
  <Override PartName="/ppt/ink/ink904.xml" ContentType="application/inkml+xml"/>
  <Override PartName="/ppt/ink/ink905.xml" ContentType="application/inkml+xml"/>
  <Override PartName="/ppt/ink/ink906.xml" ContentType="application/inkml+xml"/>
  <Override PartName="/ppt/ink/ink907.xml" ContentType="application/inkml+xml"/>
  <Override PartName="/ppt/ink/ink908.xml" ContentType="application/inkml+xml"/>
  <Override PartName="/ppt/ink/ink909.xml" ContentType="application/inkml+xml"/>
  <Override PartName="/ppt/ink/ink910.xml" ContentType="application/inkml+xml"/>
  <Override PartName="/ppt/ink/ink911.xml" ContentType="application/inkml+xml"/>
  <Override PartName="/ppt/ink/ink912.xml" ContentType="application/inkml+xml"/>
  <Override PartName="/ppt/ink/ink913.xml" ContentType="application/inkml+xml"/>
  <Override PartName="/ppt/ink/ink914.xml" ContentType="application/inkml+xml"/>
  <Override PartName="/ppt/ink/ink915.xml" ContentType="application/inkml+xml"/>
  <Override PartName="/ppt/ink/ink916.xml" ContentType="application/inkml+xml"/>
  <Override PartName="/ppt/ink/ink917.xml" ContentType="application/inkml+xml"/>
  <Override PartName="/ppt/ink/ink918.xml" ContentType="application/inkml+xml"/>
  <Override PartName="/ppt/ink/ink919.xml" ContentType="application/inkml+xml"/>
  <Override PartName="/ppt/ink/ink920.xml" ContentType="application/inkml+xml"/>
  <Override PartName="/ppt/ink/ink921.xml" ContentType="application/inkml+xml"/>
  <Override PartName="/ppt/ink/ink922.xml" ContentType="application/inkml+xml"/>
  <Override PartName="/ppt/ink/ink923.xml" ContentType="application/inkml+xml"/>
  <Override PartName="/ppt/ink/ink924.xml" ContentType="application/inkml+xml"/>
  <Override PartName="/ppt/ink/ink925.xml" ContentType="application/inkml+xml"/>
  <Override PartName="/ppt/ink/ink926.xml" ContentType="application/inkml+xml"/>
  <Override PartName="/ppt/ink/ink927.xml" ContentType="application/inkml+xml"/>
  <Override PartName="/ppt/ink/ink928.xml" ContentType="application/inkml+xml"/>
  <Override PartName="/ppt/ink/ink929.xml" ContentType="application/inkml+xml"/>
  <Override PartName="/ppt/ink/ink930.xml" ContentType="application/inkml+xml"/>
  <Override PartName="/ppt/ink/ink931.xml" ContentType="application/inkml+xml"/>
  <Override PartName="/ppt/ink/ink932.xml" ContentType="application/inkml+xml"/>
  <Override PartName="/ppt/ink/ink933.xml" ContentType="application/inkml+xml"/>
  <Override PartName="/ppt/ink/ink934.xml" ContentType="application/inkml+xml"/>
  <Override PartName="/ppt/ink/ink935.xml" ContentType="application/inkml+xml"/>
  <Override PartName="/ppt/ink/ink936.xml" ContentType="application/inkml+xml"/>
  <Override PartName="/ppt/ink/ink937.xml" ContentType="application/inkml+xml"/>
  <Override PartName="/ppt/ink/ink938.xml" ContentType="application/inkml+xml"/>
  <Override PartName="/ppt/ink/ink939.xml" ContentType="application/inkml+xml"/>
  <Override PartName="/ppt/ink/ink940.xml" ContentType="application/inkml+xml"/>
  <Override PartName="/ppt/ink/ink941.xml" ContentType="application/inkml+xml"/>
  <Override PartName="/ppt/ink/ink942.xml" ContentType="application/inkml+xml"/>
  <Override PartName="/ppt/ink/ink943.xml" ContentType="application/inkml+xml"/>
  <Override PartName="/ppt/ink/ink944.xml" ContentType="application/inkml+xml"/>
  <Override PartName="/ppt/ink/ink945.xml" ContentType="application/inkml+xml"/>
  <Override PartName="/ppt/ink/ink946.xml" ContentType="application/inkml+xml"/>
  <Override PartName="/ppt/ink/ink947.xml" ContentType="application/inkml+xml"/>
  <Override PartName="/ppt/ink/ink948.xml" ContentType="application/inkml+xml"/>
  <Override PartName="/ppt/ink/ink949.xml" ContentType="application/inkml+xml"/>
  <Override PartName="/ppt/ink/ink950.xml" ContentType="application/inkml+xml"/>
  <Override PartName="/ppt/ink/ink951.xml" ContentType="application/inkml+xml"/>
  <Override PartName="/ppt/ink/ink952.xml" ContentType="application/inkml+xml"/>
  <Override PartName="/ppt/ink/ink953.xml" ContentType="application/inkml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ink/ink954.xml" ContentType="application/inkml+xml"/>
  <Override PartName="/ppt/ink/ink955.xml" ContentType="application/inkml+xml"/>
  <Override PartName="/ppt/ink/ink956.xml" ContentType="application/inkml+xml"/>
  <Override PartName="/ppt/ink/ink957.xml" ContentType="application/inkml+xml"/>
  <Override PartName="/ppt/ink/ink958.xml" ContentType="application/inkml+xml"/>
  <Override PartName="/ppt/ink/ink959.xml" ContentType="application/inkml+xml"/>
  <Override PartName="/ppt/ink/ink960.xml" ContentType="application/inkml+xml"/>
  <Override PartName="/ppt/ink/ink961.xml" ContentType="application/inkml+xml"/>
  <Override PartName="/ppt/ink/ink962.xml" ContentType="application/inkml+xml"/>
  <Override PartName="/ppt/ink/ink963.xml" ContentType="application/inkml+xml"/>
  <Override PartName="/ppt/ink/ink964.xml" ContentType="application/inkml+xml"/>
  <Override PartName="/ppt/ink/ink965.xml" ContentType="application/inkml+xml"/>
  <Override PartName="/ppt/ink/ink966.xml" ContentType="application/inkml+xml"/>
  <Override PartName="/ppt/ink/ink967.xml" ContentType="application/inkml+xml"/>
  <Override PartName="/ppt/ink/ink968.xml" ContentType="application/inkml+xml"/>
  <Override PartName="/ppt/ink/ink969.xml" ContentType="application/inkml+xml"/>
  <Override PartName="/ppt/ink/ink970.xml" ContentType="application/inkml+xml"/>
  <Override PartName="/ppt/ink/ink971.xml" ContentType="application/inkml+xml"/>
  <Override PartName="/ppt/ink/ink972.xml" ContentType="application/inkml+xml"/>
  <Override PartName="/ppt/ink/ink973.xml" ContentType="application/inkml+xml"/>
  <Override PartName="/ppt/ink/ink974.xml" ContentType="application/inkml+xml"/>
  <Override PartName="/ppt/ink/ink975.xml" ContentType="application/inkml+xml"/>
  <Override PartName="/ppt/ink/ink976.xml" ContentType="application/inkml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ink/ink977.xml" ContentType="application/inkml+xml"/>
  <Override PartName="/ppt/ink/ink978.xml" ContentType="application/inkml+xml"/>
  <Override PartName="/ppt/ink/ink979.xml" ContentType="application/inkml+xml"/>
  <Override PartName="/ppt/ink/ink980.xml" ContentType="application/inkml+xml"/>
  <Override PartName="/ppt/ink/ink981.xml" ContentType="application/inkml+xml"/>
  <Override PartName="/ppt/ink/ink982.xml" ContentType="application/inkml+xml"/>
  <Override PartName="/ppt/ink/ink983.xml" ContentType="application/inkml+xml"/>
  <Override PartName="/ppt/ink/ink984.xml" ContentType="application/inkml+xml"/>
  <Override PartName="/ppt/ink/ink985.xml" ContentType="application/inkml+xml"/>
  <Override PartName="/ppt/ink/ink986.xml" ContentType="application/inkml+xml"/>
  <Override PartName="/ppt/ink/ink987.xml" ContentType="application/inkml+xml"/>
  <Override PartName="/ppt/ink/ink988.xml" ContentType="application/inkml+xml"/>
  <Override PartName="/ppt/ink/ink989.xml" ContentType="application/inkml+xml"/>
  <Override PartName="/ppt/ink/ink990.xml" ContentType="application/inkml+xml"/>
  <Override PartName="/ppt/ink/ink991.xml" ContentType="application/inkml+xml"/>
  <Override PartName="/ppt/ink/ink992.xml" ContentType="application/inkml+xml"/>
  <Override PartName="/ppt/ink/ink993.xml" ContentType="application/inkml+xml"/>
  <Override PartName="/ppt/tags/tag48.xml" ContentType="application/vnd.openxmlformats-officedocument.presentationml.tags+xml"/>
  <Override PartName="/ppt/ink/ink994.xml" ContentType="application/inkml+xml"/>
  <Override PartName="/ppt/ink/ink995.xml" ContentType="application/inkml+xml"/>
  <Override PartName="/ppt/ink/ink996.xml" ContentType="application/inkml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6"/>
  </p:notesMasterIdLst>
  <p:sldIdLst>
    <p:sldId id="314" r:id="rId2"/>
    <p:sldId id="313" r:id="rId3"/>
    <p:sldId id="256" r:id="rId4"/>
    <p:sldId id="257" r:id="rId5"/>
    <p:sldId id="258" r:id="rId6"/>
    <p:sldId id="259" r:id="rId7"/>
    <p:sldId id="260" r:id="rId8"/>
    <p:sldId id="315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73" r:id="rId22"/>
    <p:sldId id="274" r:id="rId23"/>
    <p:sldId id="316" r:id="rId24"/>
    <p:sldId id="317" r:id="rId25"/>
    <p:sldId id="275" r:id="rId26"/>
    <p:sldId id="276" r:id="rId27"/>
    <p:sldId id="277" r:id="rId28"/>
    <p:sldId id="278" r:id="rId29"/>
    <p:sldId id="280" r:id="rId30"/>
    <p:sldId id="279" r:id="rId31"/>
    <p:sldId id="281" r:id="rId32"/>
    <p:sldId id="282" r:id="rId33"/>
    <p:sldId id="283" r:id="rId34"/>
    <p:sldId id="284" r:id="rId35"/>
    <p:sldId id="285" r:id="rId36"/>
    <p:sldId id="286" r:id="rId37"/>
    <p:sldId id="287" r:id="rId38"/>
    <p:sldId id="288" r:id="rId39"/>
    <p:sldId id="289" r:id="rId40"/>
    <p:sldId id="290" r:id="rId41"/>
    <p:sldId id="291" r:id="rId42"/>
    <p:sldId id="292" r:id="rId43"/>
    <p:sldId id="293" r:id="rId44"/>
    <p:sldId id="294" r:id="rId45"/>
    <p:sldId id="295" r:id="rId46"/>
    <p:sldId id="296" r:id="rId47"/>
    <p:sldId id="297" r:id="rId48"/>
    <p:sldId id="298" r:id="rId49"/>
    <p:sldId id="299" r:id="rId50"/>
    <p:sldId id="300" r:id="rId51"/>
    <p:sldId id="301" r:id="rId52"/>
    <p:sldId id="302" r:id="rId53"/>
    <p:sldId id="303" r:id="rId54"/>
    <p:sldId id="304" r:id="rId55"/>
  </p:sldIdLst>
  <p:sldSz cx="12192000" cy="6858000"/>
  <p:notesSz cx="6858000" cy="9144000"/>
  <p:custDataLst>
    <p:tags r:id="rId5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71" autoAdjust="0"/>
    <p:restoredTop sz="93784" autoAdjust="0"/>
  </p:normalViewPr>
  <p:slideViewPr>
    <p:cSldViewPr snapToGrid="0">
      <p:cViewPr varScale="1">
        <p:scale>
          <a:sx n="150" d="100"/>
          <a:sy n="150" d="100"/>
        </p:scale>
        <p:origin x="17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gs" Target="tags/tag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iket Chhabra" userId="598e0514-bef3-4e71-b6aa-f2edd6441cff" providerId="ADAL" clId="{554FB76C-C649-DE49-AC89-3175B7863382}"/>
    <pc:docChg chg="modSld">
      <pc:chgData name="Aniket Chhabra" userId="598e0514-bef3-4e71-b6aa-f2edd6441cff" providerId="ADAL" clId="{554FB76C-C649-DE49-AC89-3175B7863382}" dt="2022-07-31T05:48:19.415" v="2" actId="1036"/>
      <pc:docMkLst>
        <pc:docMk/>
      </pc:docMkLst>
      <pc:sldChg chg="modSp mod">
        <pc:chgData name="Aniket Chhabra" userId="598e0514-bef3-4e71-b6aa-f2edd6441cff" providerId="ADAL" clId="{554FB76C-C649-DE49-AC89-3175B7863382}" dt="2022-07-31T05:48:19.415" v="2" actId="1036"/>
        <pc:sldMkLst>
          <pc:docMk/>
          <pc:sldMk cId="2855530365" sldId="272"/>
        </pc:sldMkLst>
        <pc:picChg chg="mod">
          <ac:chgData name="Aniket Chhabra" userId="598e0514-bef3-4e71-b6aa-f2edd6441cff" providerId="ADAL" clId="{554FB76C-C649-DE49-AC89-3175B7863382}" dt="2022-07-31T05:48:19.415" v="2" actId="1036"/>
          <ac:picMkLst>
            <pc:docMk/>
            <pc:sldMk cId="2855530365" sldId="272"/>
            <ac:picMk id="3" creationId="{E75B0A71-54C0-4D4F-B3E8-CE0A5D2AF2C1}"/>
          </ac:picMkLst>
        </pc:picChg>
      </pc:sldChg>
      <pc:sldChg chg="modSp mod">
        <pc:chgData name="Aniket Chhabra" userId="598e0514-bef3-4e71-b6aa-f2edd6441cff" providerId="ADAL" clId="{554FB76C-C649-DE49-AC89-3175B7863382}" dt="2022-07-31T01:44:58.858" v="0" actId="1038"/>
        <pc:sldMkLst>
          <pc:docMk/>
          <pc:sldMk cId="2883320444" sldId="315"/>
        </pc:sldMkLst>
        <pc:picChg chg="mod">
          <ac:chgData name="Aniket Chhabra" userId="598e0514-bef3-4e71-b6aa-f2edd6441cff" providerId="ADAL" clId="{554FB76C-C649-DE49-AC89-3175B7863382}" dt="2022-07-31T01:44:58.858" v="0" actId="1038"/>
          <ac:picMkLst>
            <pc:docMk/>
            <pc:sldMk cId="2883320444" sldId="315"/>
            <ac:picMk id="5" creationId="{90200655-0C02-4873-A2D3-A42A1DE62738}"/>
          </ac:picMkLst>
        </pc:picChg>
      </pc:sldChg>
    </pc:docChg>
  </pc:docChgLst>
  <pc:docChgLst>
    <pc:chgData name="Aniket Chhabra" userId="598e0514-bef3-4e71-b6aa-f2edd6441cff" providerId="ADAL" clId="{D80CB0E3-8ED4-4E1B-83B0-CBE117AF958E}"/>
    <pc:docChg chg="undo custSel addSld delSld modSld sldOrd replTag">
      <pc:chgData name="Aniket Chhabra" userId="598e0514-bef3-4e71-b6aa-f2edd6441cff" providerId="ADAL" clId="{D80CB0E3-8ED4-4E1B-83B0-CBE117AF958E}" dt="2022-03-13T17:01:15.531" v="1800" actId="2696"/>
      <pc:docMkLst>
        <pc:docMk/>
      </pc:docMkLst>
      <pc:sldChg chg="addSp modSp mod">
        <pc:chgData name="Aniket Chhabra" userId="598e0514-bef3-4e71-b6aa-f2edd6441cff" providerId="ADAL" clId="{D80CB0E3-8ED4-4E1B-83B0-CBE117AF958E}" dt="2022-03-12T09:44:35.407" v="1159"/>
        <pc:sldMkLst>
          <pc:docMk/>
          <pc:sldMk cId="2566224947" sldId="256"/>
        </pc:sldMkLst>
        <pc:grpChg chg="mod">
          <ac:chgData name="Aniket Chhabra" userId="598e0514-bef3-4e71-b6aa-f2edd6441cff" providerId="ADAL" clId="{D80CB0E3-8ED4-4E1B-83B0-CBE117AF958E}" dt="2022-03-12T09:44:26.136" v="1139"/>
          <ac:grpSpMkLst>
            <pc:docMk/>
            <pc:sldMk cId="2566224947" sldId="256"/>
            <ac:grpSpMk id="10" creationId="{862D8E8D-CFD0-438F-AB0D-DF8EF6E3B065}"/>
          </ac:grpSpMkLst>
        </pc:grpChg>
        <pc:grpChg chg="mod">
          <ac:chgData name="Aniket Chhabra" userId="598e0514-bef3-4e71-b6aa-f2edd6441cff" providerId="ADAL" clId="{D80CB0E3-8ED4-4E1B-83B0-CBE117AF958E}" dt="2022-03-12T09:44:32.122" v="1154"/>
          <ac:grpSpMkLst>
            <pc:docMk/>
            <pc:sldMk cId="2566224947" sldId="256"/>
            <ac:grpSpMk id="25" creationId="{899D837D-83A6-40EF-808B-6C075363E154}"/>
          </ac:grpSpMkLst>
        </pc:grpChg>
        <pc:grpChg chg="mod">
          <ac:chgData name="Aniket Chhabra" userId="598e0514-bef3-4e71-b6aa-f2edd6441cff" providerId="ADAL" clId="{D80CB0E3-8ED4-4E1B-83B0-CBE117AF958E}" dt="2022-03-12T09:44:32.122" v="1154"/>
          <ac:grpSpMkLst>
            <pc:docMk/>
            <pc:sldMk cId="2566224947" sldId="256"/>
            <ac:grpSpMk id="26" creationId="{468B9ED4-FFC7-41C1-B9C3-0800C3F5E48B}"/>
          </ac:grpSpMkLst>
        </pc:grpChg>
        <pc:grpChg chg="mod">
          <ac:chgData name="Aniket Chhabra" userId="598e0514-bef3-4e71-b6aa-f2edd6441cff" providerId="ADAL" clId="{D80CB0E3-8ED4-4E1B-83B0-CBE117AF958E}" dt="2022-03-12T09:44:32.122" v="1154"/>
          <ac:grpSpMkLst>
            <pc:docMk/>
            <pc:sldMk cId="2566224947" sldId="256"/>
            <ac:grpSpMk id="27" creationId="{5BA5AB3C-D6F6-4E0A-9A4C-DC2427B7008D}"/>
          </ac:grpSpMkLst>
        </pc:grpChg>
        <pc:grpChg chg="mod">
          <ac:chgData name="Aniket Chhabra" userId="598e0514-bef3-4e71-b6aa-f2edd6441cff" providerId="ADAL" clId="{D80CB0E3-8ED4-4E1B-83B0-CBE117AF958E}" dt="2022-03-12T09:44:35.407" v="1159"/>
          <ac:grpSpMkLst>
            <pc:docMk/>
            <pc:sldMk cId="2566224947" sldId="256"/>
            <ac:grpSpMk id="32" creationId="{C9C07713-827E-43AF-B3A5-BD238A7CFD3A}"/>
          </ac:grpSpMkLst>
        </pc:grpChg>
        <pc:inkChg chg="add mod">
          <ac:chgData name="Aniket Chhabra" userId="598e0514-bef3-4e71-b6aa-f2edd6441cff" providerId="ADAL" clId="{D80CB0E3-8ED4-4E1B-83B0-CBE117AF958E}" dt="2022-03-12T09:44:26.136" v="1139"/>
          <ac:inkMkLst>
            <pc:docMk/>
            <pc:sldMk cId="2566224947" sldId="256"/>
            <ac:inkMk id="6" creationId="{B99CDCD3-B352-42DF-A923-9EEA511AD63C}"/>
          </ac:inkMkLst>
        </pc:inkChg>
        <pc:inkChg chg="add mod">
          <ac:chgData name="Aniket Chhabra" userId="598e0514-bef3-4e71-b6aa-f2edd6441cff" providerId="ADAL" clId="{D80CB0E3-8ED4-4E1B-83B0-CBE117AF958E}" dt="2022-03-12T09:44:26.136" v="1139"/>
          <ac:inkMkLst>
            <pc:docMk/>
            <pc:sldMk cId="2566224947" sldId="256"/>
            <ac:inkMk id="7" creationId="{7180F8DD-35C7-4F94-8059-21123B0A70A8}"/>
          </ac:inkMkLst>
        </pc:inkChg>
        <pc:inkChg chg="add mod">
          <ac:chgData name="Aniket Chhabra" userId="598e0514-bef3-4e71-b6aa-f2edd6441cff" providerId="ADAL" clId="{D80CB0E3-8ED4-4E1B-83B0-CBE117AF958E}" dt="2022-03-12T09:44:26.136" v="1139"/>
          <ac:inkMkLst>
            <pc:docMk/>
            <pc:sldMk cId="2566224947" sldId="256"/>
            <ac:inkMk id="8" creationId="{F2477970-5B4A-40DE-B881-437954D1219A}"/>
          </ac:inkMkLst>
        </pc:inkChg>
        <pc:inkChg chg="add mod">
          <ac:chgData name="Aniket Chhabra" userId="598e0514-bef3-4e71-b6aa-f2edd6441cff" providerId="ADAL" clId="{D80CB0E3-8ED4-4E1B-83B0-CBE117AF958E}" dt="2022-03-12T09:44:26.136" v="1139"/>
          <ac:inkMkLst>
            <pc:docMk/>
            <pc:sldMk cId="2566224947" sldId="256"/>
            <ac:inkMk id="9" creationId="{3C491A04-A523-45C1-9F18-C2B19A3E36EC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11" creationId="{86A57AD7-4E05-4C8D-B5AA-25F456C4816F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12" creationId="{FC24BC72-E7CB-4916-A2BA-8A2C30863754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13" creationId="{D6B4D1A2-9D74-4A57-B3AC-C15798F5EA45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14" creationId="{405E5D6E-8235-41DF-98CF-5100FAD36871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15" creationId="{49CC71E7-9644-485E-96D1-7D31853E1ACA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16" creationId="{668C64A5-E077-4E1C-BD02-ABF32A7B02D8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17" creationId="{9761595F-DD0F-48BD-8BCE-57A3A39EF40E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18" creationId="{F788DDE1-CF18-4FA3-BFFF-A9480AF903F2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19" creationId="{48368997-343C-4A22-8FF4-7966E0339209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20" creationId="{8333240B-A9B5-46D0-BB32-116EFC930536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21" creationId="{27DAAED0-3EC8-4B90-A785-97743961D32C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22" creationId="{6CB12F8B-3B06-4B8F-9266-4E49D8E59E94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23" creationId="{8F816454-7BBE-496F-9A7B-02D9CF7066BB}"/>
          </ac:inkMkLst>
        </pc:inkChg>
        <pc:inkChg chg="add mod">
          <ac:chgData name="Aniket Chhabra" userId="598e0514-bef3-4e71-b6aa-f2edd6441cff" providerId="ADAL" clId="{D80CB0E3-8ED4-4E1B-83B0-CBE117AF958E}" dt="2022-03-12T09:44:32.122" v="1154"/>
          <ac:inkMkLst>
            <pc:docMk/>
            <pc:sldMk cId="2566224947" sldId="256"/>
            <ac:inkMk id="24" creationId="{6ABC0DF0-5982-4012-BAB3-3604FA9732A0}"/>
          </ac:inkMkLst>
        </pc:inkChg>
        <pc:inkChg chg="add mod">
          <ac:chgData name="Aniket Chhabra" userId="598e0514-bef3-4e71-b6aa-f2edd6441cff" providerId="ADAL" clId="{D80CB0E3-8ED4-4E1B-83B0-CBE117AF958E}" dt="2022-03-12T09:44:35.407" v="1159"/>
          <ac:inkMkLst>
            <pc:docMk/>
            <pc:sldMk cId="2566224947" sldId="256"/>
            <ac:inkMk id="28" creationId="{433850C9-0219-4287-8C49-1FA0A0DDD1E1}"/>
          </ac:inkMkLst>
        </pc:inkChg>
        <pc:inkChg chg="add mod">
          <ac:chgData name="Aniket Chhabra" userId="598e0514-bef3-4e71-b6aa-f2edd6441cff" providerId="ADAL" clId="{D80CB0E3-8ED4-4E1B-83B0-CBE117AF958E}" dt="2022-03-12T09:44:35.407" v="1159"/>
          <ac:inkMkLst>
            <pc:docMk/>
            <pc:sldMk cId="2566224947" sldId="256"/>
            <ac:inkMk id="29" creationId="{5C2D011E-3224-47A0-8B10-44AF36315B41}"/>
          </ac:inkMkLst>
        </pc:inkChg>
        <pc:inkChg chg="add mod">
          <ac:chgData name="Aniket Chhabra" userId="598e0514-bef3-4e71-b6aa-f2edd6441cff" providerId="ADAL" clId="{D80CB0E3-8ED4-4E1B-83B0-CBE117AF958E}" dt="2022-03-12T09:44:35.407" v="1159"/>
          <ac:inkMkLst>
            <pc:docMk/>
            <pc:sldMk cId="2566224947" sldId="256"/>
            <ac:inkMk id="30" creationId="{6B5C54C2-9E74-46E7-B9EA-C27A4CB5F8D2}"/>
          </ac:inkMkLst>
        </pc:inkChg>
        <pc:inkChg chg="add mod">
          <ac:chgData name="Aniket Chhabra" userId="598e0514-bef3-4e71-b6aa-f2edd6441cff" providerId="ADAL" clId="{D80CB0E3-8ED4-4E1B-83B0-CBE117AF958E}" dt="2022-03-12T09:44:35.407" v="1159"/>
          <ac:inkMkLst>
            <pc:docMk/>
            <pc:sldMk cId="2566224947" sldId="256"/>
            <ac:inkMk id="31" creationId="{50BC0316-4FC7-4E1E-BD66-A30D82EC8CA7}"/>
          </ac:inkMkLst>
        </pc:inkChg>
      </pc:sldChg>
      <pc:sldChg chg="addSp delSp modSp mod">
        <pc:chgData name="Aniket Chhabra" userId="598e0514-bef3-4e71-b6aa-f2edd6441cff" providerId="ADAL" clId="{D80CB0E3-8ED4-4E1B-83B0-CBE117AF958E}" dt="2022-03-12T10:43:11.701" v="1316"/>
        <pc:sldMkLst>
          <pc:docMk/>
          <pc:sldMk cId="2467055081" sldId="257"/>
        </pc:sldMkLst>
        <pc:spChg chg="del mod">
          <ac:chgData name="Aniket Chhabra" userId="598e0514-bef3-4e71-b6aa-f2edd6441cff" providerId="ADAL" clId="{D80CB0E3-8ED4-4E1B-83B0-CBE117AF958E}" dt="2022-03-12T10:40:40.714" v="1181" actId="478"/>
          <ac:spMkLst>
            <pc:docMk/>
            <pc:sldMk cId="2467055081" sldId="257"/>
            <ac:spMk id="2" creationId="{A63FFB9D-DC6C-4C39-9B25-16B30D6080DD}"/>
          </ac:spMkLst>
        </pc:spChg>
        <pc:grpChg chg="del mod">
          <ac:chgData name="Aniket Chhabra" userId="598e0514-bef3-4e71-b6aa-f2edd6441cff" providerId="ADAL" clId="{D80CB0E3-8ED4-4E1B-83B0-CBE117AF958E}" dt="2022-03-12T10:40:42.202" v="1186"/>
          <ac:grpSpMkLst>
            <pc:docMk/>
            <pc:sldMk cId="2467055081" sldId="257"/>
            <ac:grpSpMk id="9" creationId="{FAAA479E-6326-42BA-83A8-598A570E5282}"/>
          </ac:grpSpMkLst>
        </pc:grpChg>
        <pc:grpChg chg="mod">
          <ac:chgData name="Aniket Chhabra" userId="598e0514-bef3-4e71-b6aa-f2edd6441cff" providerId="ADAL" clId="{D80CB0E3-8ED4-4E1B-83B0-CBE117AF958E}" dt="2022-03-12T10:40:58.251" v="1214"/>
          <ac:grpSpMkLst>
            <pc:docMk/>
            <pc:sldMk cId="2467055081" sldId="257"/>
            <ac:grpSpMk id="37" creationId="{D4982FF3-536C-4439-BD62-8D99F6C7B756}"/>
          </ac:grpSpMkLst>
        </pc:grpChg>
        <pc:grpChg chg="mod">
          <ac:chgData name="Aniket Chhabra" userId="598e0514-bef3-4e71-b6aa-f2edd6441cff" providerId="ADAL" clId="{D80CB0E3-8ED4-4E1B-83B0-CBE117AF958E}" dt="2022-03-12T10:40:58.251" v="1214"/>
          <ac:grpSpMkLst>
            <pc:docMk/>
            <pc:sldMk cId="2467055081" sldId="257"/>
            <ac:grpSpMk id="38" creationId="{505EBF7E-0997-4394-BD4A-706DA1C5EF7D}"/>
          </ac:grpSpMkLst>
        </pc:grpChg>
        <pc:grpChg chg="mod">
          <ac:chgData name="Aniket Chhabra" userId="598e0514-bef3-4e71-b6aa-f2edd6441cff" providerId="ADAL" clId="{D80CB0E3-8ED4-4E1B-83B0-CBE117AF958E}" dt="2022-03-12T10:40:58.251" v="1214"/>
          <ac:grpSpMkLst>
            <pc:docMk/>
            <pc:sldMk cId="2467055081" sldId="257"/>
            <ac:grpSpMk id="39" creationId="{E1AEFFCB-C34B-453C-9A2E-2D6740A5465A}"/>
          </ac:grpSpMkLst>
        </pc:grpChg>
        <pc:grpChg chg="mod">
          <ac:chgData name="Aniket Chhabra" userId="598e0514-bef3-4e71-b6aa-f2edd6441cff" providerId="ADAL" clId="{D80CB0E3-8ED4-4E1B-83B0-CBE117AF958E}" dt="2022-03-12T10:40:58.251" v="1214"/>
          <ac:grpSpMkLst>
            <pc:docMk/>
            <pc:sldMk cId="2467055081" sldId="257"/>
            <ac:grpSpMk id="40" creationId="{D26B42D3-9DBA-4A1E-9A7B-3C2C012633D2}"/>
          </ac:grpSpMkLst>
        </pc:grpChg>
        <pc:grpChg chg="mod">
          <ac:chgData name="Aniket Chhabra" userId="598e0514-bef3-4e71-b6aa-f2edd6441cff" providerId="ADAL" clId="{D80CB0E3-8ED4-4E1B-83B0-CBE117AF958E}" dt="2022-03-12T10:40:58.251" v="1214"/>
          <ac:grpSpMkLst>
            <pc:docMk/>
            <pc:sldMk cId="2467055081" sldId="257"/>
            <ac:grpSpMk id="41" creationId="{164B281B-6D9E-486E-8C73-F65CFE52BA50}"/>
          </ac:grpSpMkLst>
        </pc:grpChg>
        <pc:grpChg chg="mod">
          <ac:chgData name="Aniket Chhabra" userId="598e0514-bef3-4e71-b6aa-f2edd6441cff" providerId="ADAL" clId="{D80CB0E3-8ED4-4E1B-83B0-CBE117AF958E}" dt="2022-03-12T10:40:58.251" v="1214"/>
          <ac:grpSpMkLst>
            <pc:docMk/>
            <pc:sldMk cId="2467055081" sldId="257"/>
            <ac:grpSpMk id="42" creationId="{E4ED3259-0D20-4A4B-928B-1D4A5099606D}"/>
          </ac:grpSpMkLst>
        </pc:grpChg>
        <pc:grpChg chg="del mod">
          <ac:chgData name="Aniket Chhabra" userId="598e0514-bef3-4e71-b6aa-f2edd6441cff" providerId="ADAL" clId="{D80CB0E3-8ED4-4E1B-83B0-CBE117AF958E}" dt="2022-03-12T10:42:11.750" v="1239"/>
          <ac:grpSpMkLst>
            <pc:docMk/>
            <pc:sldMk cId="2467055081" sldId="257"/>
            <ac:grpSpMk id="50" creationId="{EF9D17C5-787E-4405-8B90-A0D1D1628479}"/>
          </ac:grpSpMkLst>
        </pc:grpChg>
        <pc:grpChg chg="mod">
          <ac:chgData name="Aniket Chhabra" userId="598e0514-bef3-4e71-b6aa-f2edd6441cff" providerId="ADAL" clId="{D80CB0E3-8ED4-4E1B-83B0-CBE117AF958E}" dt="2022-03-12T10:42:11.750" v="1239"/>
          <ac:grpSpMkLst>
            <pc:docMk/>
            <pc:sldMk cId="2467055081" sldId="257"/>
            <ac:grpSpMk id="64" creationId="{BF82F238-37CF-4BF7-ADD6-2BF8AFA2B573}"/>
          </ac:grpSpMkLst>
        </pc:grpChg>
        <pc:grpChg chg="mod">
          <ac:chgData name="Aniket Chhabra" userId="598e0514-bef3-4e71-b6aa-f2edd6441cff" providerId="ADAL" clId="{D80CB0E3-8ED4-4E1B-83B0-CBE117AF958E}" dt="2022-03-12T10:42:11.750" v="1239"/>
          <ac:grpSpMkLst>
            <pc:docMk/>
            <pc:sldMk cId="2467055081" sldId="257"/>
            <ac:grpSpMk id="65" creationId="{950A5FAA-266A-448D-8E0E-5A011C05BB86}"/>
          </ac:grpSpMkLst>
        </pc:grpChg>
        <pc:grpChg chg="mod">
          <ac:chgData name="Aniket Chhabra" userId="598e0514-bef3-4e71-b6aa-f2edd6441cff" providerId="ADAL" clId="{D80CB0E3-8ED4-4E1B-83B0-CBE117AF958E}" dt="2022-03-12T10:42:19.297" v="1252"/>
          <ac:grpSpMkLst>
            <pc:docMk/>
            <pc:sldMk cId="2467055081" sldId="257"/>
            <ac:grpSpMk id="75" creationId="{B305D826-3757-48D6-8BA7-7E5976749C92}"/>
          </ac:grpSpMkLst>
        </pc:grpChg>
        <pc:grpChg chg="mod">
          <ac:chgData name="Aniket Chhabra" userId="598e0514-bef3-4e71-b6aa-f2edd6441cff" providerId="ADAL" clId="{D80CB0E3-8ED4-4E1B-83B0-CBE117AF958E}" dt="2022-03-12T10:42:26.208" v="1260"/>
          <ac:grpSpMkLst>
            <pc:docMk/>
            <pc:sldMk cId="2467055081" sldId="257"/>
            <ac:grpSpMk id="82" creationId="{4A9FF143-B9D4-4A07-9F73-65313FBC8FDC}"/>
          </ac:grpSpMkLst>
        </pc:grpChg>
        <pc:grpChg chg="mod">
          <ac:chgData name="Aniket Chhabra" userId="598e0514-bef3-4e71-b6aa-f2edd6441cff" providerId="ADAL" clId="{D80CB0E3-8ED4-4E1B-83B0-CBE117AF958E}" dt="2022-03-12T10:42:39.624" v="1263"/>
          <ac:grpSpMkLst>
            <pc:docMk/>
            <pc:sldMk cId="2467055081" sldId="257"/>
            <ac:grpSpMk id="85" creationId="{816F1710-E317-4664-8A1D-AFD95D81C278}"/>
          </ac:grpSpMkLst>
        </pc:grpChg>
        <pc:grpChg chg="mod">
          <ac:chgData name="Aniket Chhabra" userId="598e0514-bef3-4e71-b6aa-f2edd6441cff" providerId="ADAL" clId="{D80CB0E3-8ED4-4E1B-83B0-CBE117AF958E}" dt="2022-03-12T10:42:57.194" v="1292"/>
          <ac:grpSpMkLst>
            <pc:docMk/>
            <pc:sldMk cId="2467055081" sldId="257"/>
            <ac:grpSpMk id="114" creationId="{642834A7-64E0-4560-AD2A-28825087097E}"/>
          </ac:grpSpMkLst>
        </pc:grpChg>
        <pc:grpChg chg="mod">
          <ac:chgData name="Aniket Chhabra" userId="598e0514-bef3-4e71-b6aa-f2edd6441cff" providerId="ADAL" clId="{D80CB0E3-8ED4-4E1B-83B0-CBE117AF958E}" dt="2022-03-12T10:42:57.194" v="1292"/>
          <ac:grpSpMkLst>
            <pc:docMk/>
            <pc:sldMk cId="2467055081" sldId="257"/>
            <ac:grpSpMk id="115" creationId="{C464D7E7-C551-4621-9079-D26418C854B0}"/>
          </ac:grpSpMkLst>
        </pc:grpChg>
        <pc:grpChg chg="mod">
          <ac:chgData name="Aniket Chhabra" userId="598e0514-bef3-4e71-b6aa-f2edd6441cff" providerId="ADAL" clId="{D80CB0E3-8ED4-4E1B-83B0-CBE117AF958E}" dt="2022-03-12T10:42:59.241" v="1296"/>
          <ac:grpSpMkLst>
            <pc:docMk/>
            <pc:sldMk cId="2467055081" sldId="257"/>
            <ac:grpSpMk id="119" creationId="{5C24DCA1-6699-4F81-8BDE-4A57645CEB19}"/>
          </ac:grpSpMkLst>
        </pc:grpChg>
        <pc:grpChg chg="mod">
          <ac:chgData name="Aniket Chhabra" userId="598e0514-bef3-4e71-b6aa-f2edd6441cff" providerId="ADAL" clId="{D80CB0E3-8ED4-4E1B-83B0-CBE117AF958E}" dt="2022-03-12T10:43:11.701" v="1316"/>
          <ac:grpSpMkLst>
            <pc:docMk/>
            <pc:sldMk cId="2467055081" sldId="257"/>
            <ac:grpSpMk id="139" creationId="{E0717170-54F7-4D93-9B3B-E278AB31907B}"/>
          </ac:grpSpMkLst>
        </pc:grpChg>
        <pc:grpChg chg="mod">
          <ac:chgData name="Aniket Chhabra" userId="598e0514-bef3-4e71-b6aa-f2edd6441cff" providerId="ADAL" clId="{D80CB0E3-8ED4-4E1B-83B0-CBE117AF958E}" dt="2022-03-12T10:43:11.701" v="1316"/>
          <ac:grpSpMkLst>
            <pc:docMk/>
            <pc:sldMk cId="2467055081" sldId="257"/>
            <ac:grpSpMk id="140" creationId="{40F29C5E-1421-4A88-9FC6-20C6F89100A0}"/>
          </ac:grpSpMkLst>
        </pc:grpChg>
        <pc:grpChg chg="mod">
          <ac:chgData name="Aniket Chhabra" userId="598e0514-bef3-4e71-b6aa-f2edd6441cff" providerId="ADAL" clId="{D80CB0E3-8ED4-4E1B-83B0-CBE117AF958E}" dt="2022-03-12T10:43:11.701" v="1316"/>
          <ac:grpSpMkLst>
            <pc:docMk/>
            <pc:sldMk cId="2467055081" sldId="257"/>
            <ac:grpSpMk id="141" creationId="{EAA8AC2B-B1BA-4488-B5C9-DD3F5485FFAF}"/>
          </ac:grpSpMkLst>
        </pc:grpChg>
        <pc:grpChg chg="mod">
          <ac:chgData name="Aniket Chhabra" userId="598e0514-bef3-4e71-b6aa-f2edd6441cff" providerId="ADAL" clId="{D80CB0E3-8ED4-4E1B-83B0-CBE117AF958E}" dt="2022-03-12T10:43:11.701" v="1316"/>
          <ac:grpSpMkLst>
            <pc:docMk/>
            <pc:sldMk cId="2467055081" sldId="257"/>
            <ac:grpSpMk id="142" creationId="{420561CE-483F-490D-B1A6-A223F82747E4}"/>
          </ac:grpSpMkLst>
        </pc:grpChg>
        <pc:graphicFrameChg chg="add mod ord modVis replST">
          <ac:chgData name="Aniket Chhabra" userId="598e0514-bef3-4e71-b6aa-f2edd6441cff" providerId="ADAL" clId="{D80CB0E3-8ED4-4E1B-83B0-CBE117AF958E}" dt="2022-03-12T10:40:41.220" v="1184"/>
          <ac:graphicFrameMkLst>
            <pc:docMk/>
            <pc:sldMk cId="2467055081" sldId="257"/>
            <ac:graphicFrameMk id="10" creationId="{28A24DA5-4990-4E91-BD81-CC386732ADEC}"/>
          </ac:graphicFrameMkLst>
        </pc:graphicFrameChg>
        <pc:inkChg chg="add del mod">
          <ac:chgData name="Aniket Chhabra" userId="598e0514-bef3-4e71-b6aa-f2edd6441cff" providerId="ADAL" clId="{D80CB0E3-8ED4-4E1B-83B0-CBE117AF958E}" dt="2022-03-12T10:40:42.636" v="1187"/>
          <ac:inkMkLst>
            <pc:docMk/>
            <pc:sldMk cId="2467055081" sldId="257"/>
            <ac:inkMk id="6" creationId="{1D22294F-1D64-4087-933C-9310973F01DC}"/>
          </ac:inkMkLst>
        </pc:inkChg>
        <pc:inkChg chg="add del mod">
          <ac:chgData name="Aniket Chhabra" userId="598e0514-bef3-4e71-b6aa-f2edd6441cff" providerId="ADAL" clId="{D80CB0E3-8ED4-4E1B-83B0-CBE117AF958E}" dt="2022-03-12T10:40:42.202" v="1186"/>
          <ac:inkMkLst>
            <pc:docMk/>
            <pc:sldMk cId="2467055081" sldId="257"/>
            <ac:inkMk id="7" creationId="{162E36D8-7B75-4AA3-9A3C-88123586542D}"/>
          </ac:inkMkLst>
        </pc:inkChg>
        <pc:inkChg chg="add del mod">
          <ac:chgData name="Aniket Chhabra" userId="598e0514-bef3-4e71-b6aa-f2edd6441cff" providerId="ADAL" clId="{D80CB0E3-8ED4-4E1B-83B0-CBE117AF958E}" dt="2022-03-12T10:40:42.201" v="1185"/>
          <ac:inkMkLst>
            <pc:docMk/>
            <pc:sldMk cId="2467055081" sldId="257"/>
            <ac:inkMk id="8" creationId="{33097BA8-D336-43A9-BAA2-5AB89DE677CE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11" creationId="{142196AE-F375-4DB5-8D26-D5C84353F4F8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12" creationId="{DB021345-2F6A-4E20-B97C-BD229ACAE102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13" creationId="{4A26E32C-CBAB-4AED-BDBE-6A64D6A8D58A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14" creationId="{8B648989-AF3A-44BF-9138-FBCF2B6F260E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15" creationId="{29ADBA63-D40F-4DDD-AC71-CFF67B7C9EC6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16" creationId="{A527ED63-95F7-4D8C-931D-F691CF1E51F7}"/>
          </ac:inkMkLst>
        </pc:inkChg>
        <pc:inkChg chg="add">
          <ac:chgData name="Aniket Chhabra" userId="598e0514-bef3-4e71-b6aa-f2edd6441cff" providerId="ADAL" clId="{D80CB0E3-8ED4-4E1B-83B0-CBE117AF958E}" dt="2022-03-12T10:40:48.905" v="1194" actId="9405"/>
          <ac:inkMkLst>
            <pc:docMk/>
            <pc:sldMk cId="2467055081" sldId="257"/>
            <ac:inkMk id="17" creationId="{75809E03-907E-4357-92BF-34F252802F04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18" creationId="{A4627731-9CEE-4760-ABEA-1E749576AAF3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19" creationId="{A7DB71F3-EA5E-4B4E-8B16-D303E5A7AC40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20" creationId="{CE7F6123-AF29-4244-8BD9-F502264DA3AA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21" creationId="{C149D882-CAC3-4038-AAC9-B8D65DC03B6D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22" creationId="{BF517166-298E-4253-9A58-BCDC7DB7B40C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23" creationId="{52378589-1F89-43C3-AB57-505426912670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24" creationId="{B4A86319-AE5A-4CDA-AF35-F8E060697A96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25" creationId="{2F202B3A-C0B7-4888-9545-7D7D6EDB240D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26" creationId="{5500F0D3-C3FC-4CCD-A9DA-20FD54C82F5F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27" creationId="{81AF314D-8364-4E7A-9489-C2DB616204B7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28" creationId="{EA1538A7-2130-4552-BB24-F9081283F35A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29" creationId="{FB90D159-1475-4901-830D-108663EED523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30" creationId="{293A402E-6949-4891-AAD5-6BB90B9292C4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31" creationId="{6928F603-6EB9-4FDD-BE8D-CA9DDCD2072B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32" creationId="{E52A9F64-D1E3-4900-8D35-67CCEFF9835B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33" creationId="{560815FC-405A-4553-B7EF-0F1769347AB0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34" creationId="{A3F3E912-5A49-4622-BDD0-A9C2DA764D16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35" creationId="{DB3A0A42-2B67-45FA-B267-4BD8E0EFAA0A}"/>
          </ac:inkMkLst>
        </pc:inkChg>
        <pc:inkChg chg="add mod">
          <ac:chgData name="Aniket Chhabra" userId="598e0514-bef3-4e71-b6aa-f2edd6441cff" providerId="ADAL" clId="{D80CB0E3-8ED4-4E1B-83B0-CBE117AF958E}" dt="2022-03-12T10:40:58.251" v="1214"/>
          <ac:inkMkLst>
            <pc:docMk/>
            <pc:sldMk cId="2467055081" sldId="257"/>
            <ac:inkMk id="36" creationId="{A12B9D05-1762-4F5F-BF73-A8BBA68793A7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43" creationId="{C6198ED5-D290-40E4-99DD-2C167B5F94D1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44" creationId="{BA843F49-CF55-4690-B88B-F1C302F32EAB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45" creationId="{7E0E969B-0056-455B-844F-36BEC720F5B1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46" creationId="{97923DBA-82BF-4F52-BC3F-112F878A5C0F}"/>
          </ac:inkMkLst>
        </pc:inkChg>
        <pc:inkChg chg="add del">
          <ac:chgData name="Aniket Chhabra" userId="598e0514-bef3-4e71-b6aa-f2edd6441cff" providerId="ADAL" clId="{D80CB0E3-8ED4-4E1B-83B0-CBE117AF958E}" dt="2022-03-12T10:42:00.586" v="1222"/>
          <ac:inkMkLst>
            <pc:docMk/>
            <pc:sldMk cId="2467055081" sldId="257"/>
            <ac:inkMk id="47" creationId="{BA80CAF8-C97C-4DDF-B270-1B15EA067B1F}"/>
          </ac:inkMkLst>
        </pc:inkChg>
        <pc:inkChg chg="add del">
          <ac:chgData name="Aniket Chhabra" userId="598e0514-bef3-4e71-b6aa-f2edd6441cff" providerId="ADAL" clId="{D80CB0E3-8ED4-4E1B-83B0-CBE117AF958E}" dt="2022-03-12T10:42:00.587" v="1224"/>
          <ac:inkMkLst>
            <pc:docMk/>
            <pc:sldMk cId="2467055081" sldId="257"/>
            <ac:inkMk id="48" creationId="{580D59D9-C2FF-4BAD-9137-D79B002460BB}"/>
          </ac:inkMkLst>
        </pc:inkChg>
        <pc:inkChg chg="add del">
          <ac:chgData name="Aniket Chhabra" userId="598e0514-bef3-4e71-b6aa-f2edd6441cff" providerId="ADAL" clId="{D80CB0E3-8ED4-4E1B-83B0-CBE117AF958E}" dt="2022-03-12T10:42:00.586" v="1223"/>
          <ac:inkMkLst>
            <pc:docMk/>
            <pc:sldMk cId="2467055081" sldId="257"/>
            <ac:inkMk id="49" creationId="{07A055FF-6191-40BC-A7EB-1FE2D7B0ED88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51" creationId="{BA957F43-7530-4DE2-8862-9C34A67A13DE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52" creationId="{21979123-5805-4C67-B43B-B4F05EBEF921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53" creationId="{DBD92ECD-FADA-4612-B4A9-288A2B54AE9C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54" creationId="{013C1B60-54E6-46AC-9A50-C567CC4159E7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55" creationId="{5DCE1C10-0E41-43D6-A9B5-9E3071089D1E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56" creationId="{864EC4AA-6B28-4EA6-ABE0-6C314E26FAC0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57" creationId="{0C4FAD3B-B5D2-415A-BC2A-31C9B744E13F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58" creationId="{0CC6CD91-9BA9-4159-88E8-14C56412F91E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59" creationId="{B742E123-10DB-4B67-9F15-D3F451B080CC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60" creationId="{4707FEA2-C3E8-4E39-8F24-112B507CD1F0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61" creationId="{C8F66076-81F8-421D-81E4-12E5D52DEBD3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62" creationId="{4EBAE53E-D36C-4AA0-BD5D-EA7844BBE884}"/>
          </ac:inkMkLst>
        </pc:inkChg>
        <pc:inkChg chg="add mod">
          <ac:chgData name="Aniket Chhabra" userId="598e0514-bef3-4e71-b6aa-f2edd6441cff" providerId="ADAL" clId="{D80CB0E3-8ED4-4E1B-83B0-CBE117AF958E}" dt="2022-03-12T10:42:11.750" v="1239"/>
          <ac:inkMkLst>
            <pc:docMk/>
            <pc:sldMk cId="2467055081" sldId="257"/>
            <ac:inkMk id="63" creationId="{6FEE82F7-8D6A-4FB4-9F7B-624376AC209D}"/>
          </ac:inkMkLst>
        </pc:inkChg>
        <pc:inkChg chg="add">
          <ac:chgData name="Aniket Chhabra" userId="598e0514-bef3-4e71-b6aa-f2edd6441cff" providerId="ADAL" clId="{D80CB0E3-8ED4-4E1B-83B0-CBE117AF958E}" dt="2022-03-12T10:42:12.564" v="1240" actId="9405"/>
          <ac:inkMkLst>
            <pc:docMk/>
            <pc:sldMk cId="2467055081" sldId="257"/>
            <ac:inkMk id="66" creationId="{35561BC9-006B-4130-9AAF-AF864C9B36F7}"/>
          </ac:inkMkLst>
        </pc:inkChg>
        <pc:inkChg chg="add del">
          <ac:chgData name="Aniket Chhabra" userId="598e0514-bef3-4e71-b6aa-f2edd6441cff" providerId="ADAL" clId="{D80CB0E3-8ED4-4E1B-83B0-CBE117AF958E}" dt="2022-03-12T10:42:14.889" v="1243"/>
          <ac:inkMkLst>
            <pc:docMk/>
            <pc:sldMk cId="2467055081" sldId="257"/>
            <ac:inkMk id="67" creationId="{44B1E349-349D-4341-AF78-B3615F27BA17}"/>
          </ac:inkMkLst>
        </pc:inkChg>
        <pc:inkChg chg="add del">
          <ac:chgData name="Aniket Chhabra" userId="598e0514-bef3-4e71-b6aa-f2edd6441cff" providerId="ADAL" clId="{D80CB0E3-8ED4-4E1B-83B0-CBE117AF958E}" dt="2022-03-12T10:42:14.890" v="1244"/>
          <ac:inkMkLst>
            <pc:docMk/>
            <pc:sldMk cId="2467055081" sldId="257"/>
            <ac:inkMk id="68" creationId="{4BB97882-D616-4B8F-A31C-8DA4F0A1BC96}"/>
          </ac:inkMkLst>
        </pc:inkChg>
        <pc:inkChg chg="add mod">
          <ac:chgData name="Aniket Chhabra" userId="598e0514-bef3-4e71-b6aa-f2edd6441cff" providerId="ADAL" clId="{D80CB0E3-8ED4-4E1B-83B0-CBE117AF958E}" dt="2022-03-12T10:42:19.297" v="1252"/>
          <ac:inkMkLst>
            <pc:docMk/>
            <pc:sldMk cId="2467055081" sldId="257"/>
            <ac:inkMk id="69" creationId="{67C46119-5DBB-4C08-BD73-A7CD45AE79B1}"/>
          </ac:inkMkLst>
        </pc:inkChg>
        <pc:inkChg chg="add mod">
          <ac:chgData name="Aniket Chhabra" userId="598e0514-bef3-4e71-b6aa-f2edd6441cff" providerId="ADAL" clId="{D80CB0E3-8ED4-4E1B-83B0-CBE117AF958E}" dt="2022-03-12T10:42:19.297" v="1252"/>
          <ac:inkMkLst>
            <pc:docMk/>
            <pc:sldMk cId="2467055081" sldId="257"/>
            <ac:inkMk id="70" creationId="{BB1E8DDF-154C-4DD7-B738-A9D06D854A2E}"/>
          </ac:inkMkLst>
        </pc:inkChg>
        <pc:inkChg chg="add mod">
          <ac:chgData name="Aniket Chhabra" userId="598e0514-bef3-4e71-b6aa-f2edd6441cff" providerId="ADAL" clId="{D80CB0E3-8ED4-4E1B-83B0-CBE117AF958E}" dt="2022-03-12T10:42:19.297" v="1252"/>
          <ac:inkMkLst>
            <pc:docMk/>
            <pc:sldMk cId="2467055081" sldId="257"/>
            <ac:inkMk id="71" creationId="{2844DFC5-35BB-4CFC-866C-8D655F26615C}"/>
          </ac:inkMkLst>
        </pc:inkChg>
        <pc:inkChg chg="add mod">
          <ac:chgData name="Aniket Chhabra" userId="598e0514-bef3-4e71-b6aa-f2edd6441cff" providerId="ADAL" clId="{D80CB0E3-8ED4-4E1B-83B0-CBE117AF958E}" dt="2022-03-12T10:42:19.297" v="1252"/>
          <ac:inkMkLst>
            <pc:docMk/>
            <pc:sldMk cId="2467055081" sldId="257"/>
            <ac:inkMk id="72" creationId="{F13A3D1A-D0AE-43D4-8123-C3166EF5A975}"/>
          </ac:inkMkLst>
        </pc:inkChg>
        <pc:inkChg chg="add mod">
          <ac:chgData name="Aniket Chhabra" userId="598e0514-bef3-4e71-b6aa-f2edd6441cff" providerId="ADAL" clId="{D80CB0E3-8ED4-4E1B-83B0-CBE117AF958E}" dt="2022-03-12T10:42:19.297" v="1252"/>
          <ac:inkMkLst>
            <pc:docMk/>
            <pc:sldMk cId="2467055081" sldId="257"/>
            <ac:inkMk id="73" creationId="{CC5D57A8-A0E9-45AD-855B-526E38AC7CEE}"/>
          </ac:inkMkLst>
        </pc:inkChg>
        <pc:inkChg chg="add del">
          <ac:chgData name="Aniket Chhabra" userId="598e0514-bef3-4e71-b6aa-f2edd6441cff" providerId="ADAL" clId="{D80CB0E3-8ED4-4E1B-83B0-CBE117AF958E}" dt="2022-03-12T10:42:19.111" v="1251"/>
          <ac:inkMkLst>
            <pc:docMk/>
            <pc:sldMk cId="2467055081" sldId="257"/>
            <ac:inkMk id="74" creationId="{443F6E01-D980-42C9-83B7-39E715C7A4E5}"/>
          </ac:inkMkLst>
        </pc:inkChg>
        <pc:inkChg chg="add mod">
          <ac:chgData name="Aniket Chhabra" userId="598e0514-bef3-4e71-b6aa-f2edd6441cff" providerId="ADAL" clId="{D80CB0E3-8ED4-4E1B-83B0-CBE117AF958E}" dt="2022-03-12T10:42:26.208" v="1260"/>
          <ac:inkMkLst>
            <pc:docMk/>
            <pc:sldMk cId="2467055081" sldId="257"/>
            <ac:inkMk id="76" creationId="{B7AE21BD-6BD4-4182-B365-0917BB37482E}"/>
          </ac:inkMkLst>
        </pc:inkChg>
        <pc:inkChg chg="add mod">
          <ac:chgData name="Aniket Chhabra" userId="598e0514-bef3-4e71-b6aa-f2edd6441cff" providerId="ADAL" clId="{D80CB0E3-8ED4-4E1B-83B0-CBE117AF958E}" dt="2022-03-12T10:42:26.208" v="1260"/>
          <ac:inkMkLst>
            <pc:docMk/>
            <pc:sldMk cId="2467055081" sldId="257"/>
            <ac:inkMk id="77" creationId="{F5DBCB91-5E53-4D5A-9C86-627812B3FF45}"/>
          </ac:inkMkLst>
        </pc:inkChg>
        <pc:inkChg chg="add mod">
          <ac:chgData name="Aniket Chhabra" userId="598e0514-bef3-4e71-b6aa-f2edd6441cff" providerId="ADAL" clId="{D80CB0E3-8ED4-4E1B-83B0-CBE117AF958E}" dt="2022-03-12T10:42:26.208" v="1260"/>
          <ac:inkMkLst>
            <pc:docMk/>
            <pc:sldMk cId="2467055081" sldId="257"/>
            <ac:inkMk id="78" creationId="{0EEEF843-87AE-452B-8A20-B344AEBC5081}"/>
          </ac:inkMkLst>
        </pc:inkChg>
        <pc:inkChg chg="add mod">
          <ac:chgData name="Aniket Chhabra" userId="598e0514-bef3-4e71-b6aa-f2edd6441cff" providerId="ADAL" clId="{D80CB0E3-8ED4-4E1B-83B0-CBE117AF958E}" dt="2022-03-12T10:42:26.208" v="1260"/>
          <ac:inkMkLst>
            <pc:docMk/>
            <pc:sldMk cId="2467055081" sldId="257"/>
            <ac:inkMk id="79" creationId="{7E8C7FBC-AFF1-4F64-B7B7-44B551AFA9DF}"/>
          </ac:inkMkLst>
        </pc:inkChg>
        <pc:inkChg chg="add del">
          <ac:chgData name="Aniket Chhabra" userId="598e0514-bef3-4e71-b6aa-f2edd6441cff" providerId="ADAL" clId="{D80CB0E3-8ED4-4E1B-83B0-CBE117AF958E}" dt="2022-03-12T10:42:23.795" v="1258"/>
          <ac:inkMkLst>
            <pc:docMk/>
            <pc:sldMk cId="2467055081" sldId="257"/>
            <ac:inkMk id="80" creationId="{0E1EC48D-264D-4E37-93F2-D87FB0590852}"/>
          </ac:inkMkLst>
        </pc:inkChg>
        <pc:inkChg chg="add mod">
          <ac:chgData name="Aniket Chhabra" userId="598e0514-bef3-4e71-b6aa-f2edd6441cff" providerId="ADAL" clId="{D80CB0E3-8ED4-4E1B-83B0-CBE117AF958E}" dt="2022-03-12T10:42:26.208" v="1260"/>
          <ac:inkMkLst>
            <pc:docMk/>
            <pc:sldMk cId="2467055081" sldId="257"/>
            <ac:inkMk id="81" creationId="{B85A25D3-E358-4303-B1F7-A46C6A787695}"/>
          </ac:inkMkLst>
        </pc:inkChg>
        <pc:inkChg chg="add mod">
          <ac:chgData name="Aniket Chhabra" userId="598e0514-bef3-4e71-b6aa-f2edd6441cff" providerId="ADAL" clId="{D80CB0E3-8ED4-4E1B-83B0-CBE117AF958E}" dt="2022-03-12T10:42:39.624" v="1263"/>
          <ac:inkMkLst>
            <pc:docMk/>
            <pc:sldMk cId="2467055081" sldId="257"/>
            <ac:inkMk id="83" creationId="{AA7A9B74-AB6E-4043-88E0-C44893E846CE}"/>
          </ac:inkMkLst>
        </pc:inkChg>
        <pc:inkChg chg="add mod">
          <ac:chgData name="Aniket Chhabra" userId="598e0514-bef3-4e71-b6aa-f2edd6441cff" providerId="ADAL" clId="{D80CB0E3-8ED4-4E1B-83B0-CBE117AF958E}" dt="2022-03-12T10:42:39.624" v="1263"/>
          <ac:inkMkLst>
            <pc:docMk/>
            <pc:sldMk cId="2467055081" sldId="257"/>
            <ac:inkMk id="84" creationId="{722C9CFC-3A29-45F8-AE4A-812AF1682E8C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86" creationId="{A211DC37-FD5B-44FF-87F7-E7F555481328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87" creationId="{EEB109E8-7428-4B91-9328-206C71D1FB4E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88" creationId="{4ACD65DC-6356-4309-B654-B77A7564D080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89" creationId="{1F6BF203-452B-4F5D-B5E6-F6882670C5C5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90" creationId="{EE546691-65C9-4BBD-AB38-8A0C6F162629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91" creationId="{469BC3EB-B2FE-43E1-BAC5-B3573C53ADA1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92" creationId="{91BF679C-55B3-41D2-BD7E-14982063969E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93" creationId="{441601B1-29D1-4270-880C-BD2D28CC61D0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94" creationId="{41421C51-F7AA-40FF-9771-05A403D5D5B7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95" creationId="{D2CD2CC8-6E70-4422-9689-0685EAF8DE8F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96" creationId="{0862CBA8-E372-4CF5-B060-561EF732AD9B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97" creationId="{61E54191-9F4C-4AE7-9240-E6420865BBB6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98" creationId="{6FDCAD70-F2F0-4357-BE22-D9C81F415F0B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99" creationId="{C4084A3E-E7AB-43F0-8EA4-69EDCFF1C52A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00" creationId="{0528BDDE-7602-4DAB-B299-62E4C9B38242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01" creationId="{A8776091-7CD4-4709-B5D6-35BBF9B30E4E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02" creationId="{56EDB2AB-6B69-47CC-8E2F-7ADBB5C39140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03" creationId="{1464704F-947F-4EA5-88E7-A3F9C5E00E76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04" creationId="{FBCD997F-5F44-4B20-8F70-27FCCB1A0F2E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05" creationId="{6701CA16-663F-47A6-9042-24C0A657D10D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06" creationId="{320452C7-3F19-4A58-A88B-9F2C5707140E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07" creationId="{3189A006-0DA6-4039-9E92-3DB82F5AD2F6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08" creationId="{7F175881-F987-4C7E-9D70-F943EEA5A1A0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09" creationId="{189440DE-E3E0-4A8C-A64B-0F9854164C83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10" creationId="{7688630B-ADDF-417E-B7B7-3A2179592F1E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11" creationId="{3D931A5E-552A-42F3-9F7D-2FBF097AFFA6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12" creationId="{F3B5DC87-8BA2-4AD2-BC49-950BA609173A}"/>
          </ac:inkMkLst>
        </pc:inkChg>
        <pc:inkChg chg="add mod">
          <ac:chgData name="Aniket Chhabra" userId="598e0514-bef3-4e71-b6aa-f2edd6441cff" providerId="ADAL" clId="{D80CB0E3-8ED4-4E1B-83B0-CBE117AF958E}" dt="2022-03-12T10:42:57.194" v="1292"/>
          <ac:inkMkLst>
            <pc:docMk/>
            <pc:sldMk cId="2467055081" sldId="257"/>
            <ac:inkMk id="113" creationId="{FAC8F857-ACFC-482A-A41A-3C05BB4AFCBC}"/>
          </ac:inkMkLst>
        </pc:inkChg>
        <pc:inkChg chg="add mod">
          <ac:chgData name="Aniket Chhabra" userId="598e0514-bef3-4e71-b6aa-f2edd6441cff" providerId="ADAL" clId="{D80CB0E3-8ED4-4E1B-83B0-CBE117AF958E}" dt="2022-03-12T10:42:59.241" v="1296"/>
          <ac:inkMkLst>
            <pc:docMk/>
            <pc:sldMk cId="2467055081" sldId="257"/>
            <ac:inkMk id="116" creationId="{33644F02-2892-4E63-8FCB-AEC43F0E7069}"/>
          </ac:inkMkLst>
        </pc:inkChg>
        <pc:inkChg chg="add mod">
          <ac:chgData name="Aniket Chhabra" userId="598e0514-bef3-4e71-b6aa-f2edd6441cff" providerId="ADAL" clId="{D80CB0E3-8ED4-4E1B-83B0-CBE117AF958E}" dt="2022-03-12T10:42:59.241" v="1296"/>
          <ac:inkMkLst>
            <pc:docMk/>
            <pc:sldMk cId="2467055081" sldId="257"/>
            <ac:inkMk id="117" creationId="{2AEBF9CD-936C-451A-AEE2-F8B6F4DD6D5A}"/>
          </ac:inkMkLst>
        </pc:inkChg>
        <pc:inkChg chg="add mod">
          <ac:chgData name="Aniket Chhabra" userId="598e0514-bef3-4e71-b6aa-f2edd6441cff" providerId="ADAL" clId="{D80CB0E3-8ED4-4E1B-83B0-CBE117AF958E}" dt="2022-03-12T10:42:59.241" v="1296"/>
          <ac:inkMkLst>
            <pc:docMk/>
            <pc:sldMk cId="2467055081" sldId="257"/>
            <ac:inkMk id="118" creationId="{0C53421F-8D6F-4FC2-BBAD-A909560A7E6B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20" creationId="{C860454B-837B-4F40-A5B7-E95AE8350A26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21" creationId="{546E371A-9732-4FB8-9B06-97A2693D4847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22" creationId="{ECE63893-1F78-4EFA-93AD-4899FE23051A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23" creationId="{D86FFE29-6E1C-42F5-8EFD-14B82474D9E7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24" creationId="{F94A09E9-5D8D-4C74-9EB5-EC499B8CB8CB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25" creationId="{C19D5F65-2532-44BA-9755-E505D9BDF67B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26" creationId="{D8F0BCA3-F09F-4E83-B893-9D3B01324EB3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27" creationId="{2416C055-A68F-4C52-B3F2-86AFDA99B4F7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28" creationId="{003021B9-228F-4AEA-A1A5-817820CD351C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29" creationId="{10AE437B-31BC-425F-896D-A9D29977F056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30" creationId="{A638DA51-5705-4295-A240-6D7D9E30F921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31" creationId="{4D262467-4779-4C5B-8547-110CF121C273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32" creationId="{588D1159-0F16-477B-A60F-A765B5EDE4A0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33" creationId="{4A04FA0D-F18B-4884-BBD0-F5591BAF1898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34" creationId="{D2C15761-CDA5-4D24-9AEB-8494D3E26DA6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35" creationId="{3F50F763-E584-4AFF-BC6B-14FB8B2CA976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36" creationId="{353225D7-5944-490C-A1CC-4305EE5B8D42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37" creationId="{FDCA5F5F-854C-418C-87BF-D94BECE25522}"/>
          </ac:inkMkLst>
        </pc:inkChg>
        <pc:inkChg chg="add mod">
          <ac:chgData name="Aniket Chhabra" userId="598e0514-bef3-4e71-b6aa-f2edd6441cff" providerId="ADAL" clId="{D80CB0E3-8ED4-4E1B-83B0-CBE117AF958E}" dt="2022-03-12T10:43:11.701" v="1316"/>
          <ac:inkMkLst>
            <pc:docMk/>
            <pc:sldMk cId="2467055081" sldId="257"/>
            <ac:inkMk id="138" creationId="{11CFAB08-3914-453C-9C0F-9A0B842C5334}"/>
          </ac:inkMkLst>
        </pc:inkChg>
      </pc:sldChg>
      <pc:sldChg chg="addSp delSp modSp mod modNotesTx">
        <pc:chgData name="Aniket Chhabra" userId="598e0514-bef3-4e71-b6aa-f2edd6441cff" providerId="ADAL" clId="{D80CB0E3-8ED4-4E1B-83B0-CBE117AF958E}" dt="2022-03-12T10:46:42.377" v="1589" actId="22"/>
        <pc:sldMkLst>
          <pc:docMk/>
          <pc:sldMk cId="883174791" sldId="260"/>
        </pc:sldMkLst>
        <pc:grpChg chg="del">
          <ac:chgData name="Aniket Chhabra" userId="598e0514-bef3-4e71-b6aa-f2edd6441cff" providerId="ADAL" clId="{D80CB0E3-8ED4-4E1B-83B0-CBE117AF958E}" dt="2022-03-12T10:43:59.288" v="1318"/>
          <ac:grpSpMkLst>
            <pc:docMk/>
            <pc:sldMk cId="883174791" sldId="260"/>
            <ac:grpSpMk id="119" creationId="{2B54CB94-56AC-4569-A8F7-D32A783A28DD}"/>
          </ac:grpSpMkLst>
        </pc:grpChg>
        <pc:grpChg chg="mod">
          <ac:chgData name="Aniket Chhabra" userId="598e0514-bef3-4e71-b6aa-f2edd6441cff" providerId="ADAL" clId="{D80CB0E3-8ED4-4E1B-83B0-CBE117AF958E}" dt="2022-03-12T10:44:00.042" v="1319"/>
          <ac:grpSpMkLst>
            <pc:docMk/>
            <pc:sldMk cId="883174791" sldId="260"/>
            <ac:grpSpMk id="129" creationId="{3076AB44-C036-47A6-9D0E-973280EE763A}"/>
          </ac:grpSpMkLst>
        </pc:grpChg>
        <pc:grpChg chg="mod">
          <ac:chgData name="Aniket Chhabra" userId="598e0514-bef3-4e71-b6aa-f2edd6441cff" providerId="ADAL" clId="{D80CB0E3-8ED4-4E1B-83B0-CBE117AF958E}" dt="2022-03-12T10:44:08.617" v="1332"/>
          <ac:grpSpMkLst>
            <pc:docMk/>
            <pc:sldMk cId="883174791" sldId="260"/>
            <ac:grpSpMk id="142" creationId="{BC455EBB-B5AB-42AB-B44B-DEFE43A52F41}"/>
          </ac:grpSpMkLst>
        </pc:grpChg>
        <pc:grpChg chg="del mod">
          <ac:chgData name="Aniket Chhabra" userId="598e0514-bef3-4e71-b6aa-f2edd6441cff" providerId="ADAL" clId="{D80CB0E3-8ED4-4E1B-83B0-CBE117AF958E}" dt="2022-03-12T10:44:41.156" v="1369"/>
          <ac:grpSpMkLst>
            <pc:docMk/>
            <pc:sldMk cId="883174791" sldId="260"/>
            <ac:grpSpMk id="153" creationId="{9AAD76A0-50D9-4877-BAFD-CA2E96F27CA9}"/>
          </ac:grpSpMkLst>
        </pc:grpChg>
        <pc:grpChg chg="del mod">
          <ac:chgData name="Aniket Chhabra" userId="598e0514-bef3-4e71-b6aa-f2edd6441cff" providerId="ADAL" clId="{D80CB0E3-8ED4-4E1B-83B0-CBE117AF958E}" dt="2022-03-12T10:44:26.627" v="1362"/>
          <ac:grpSpMkLst>
            <pc:docMk/>
            <pc:sldMk cId="883174791" sldId="260"/>
            <ac:grpSpMk id="168" creationId="{C465C771-0E13-4AB4-BEFB-C3E50594E6A2}"/>
          </ac:grpSpMkLst>
        </pc:grpChg>
        <pc:grpChg chg="mod">
          <ac:chgData name="Aniket Chhabra" userId="598e0514-bef3-4e71-b6aa-f2edd6441cff" providerId="ADAL" clId="{D80CB0E3-8ED4-4E1B-83B0-CBE117AF958E}" dt="2022-03-12T10:44:26.627" v="1362"/>
          <ac:grpSpMkLst>
            <pc:docMk/>
            <pc:sldMk cId="883174791" sldId="260"/>
            <ac:grpSpMk id="170" creationId="{17D7B216-F44C-4F17-9AD1-F1E7D6B68A70}"/>
          </ac:grpSpMkLst>
        </pc:grpChg>
        <pc:picChg chg="add del">
          <ac:chgData name="Aniket Chhabra" userId="598e0514-bef3-4e71-b6aa-f2edd6441cff" providerId="ADAL" clId="{D80CB0E3-8ED4-4E1B-83B0-CBE117AF958E}" dt="2022-03-12T10:46:42.377" v="1589" actId="22"/>
          <ac:picMkLst>
            <pc:docMk/>
            <pc:sldMk cId="883174791" sldId="260"/>
            <ac:picMk id="172" creationId="{B618839E-EBCE-4DEC-8767-7A90D9E058D4}"/>
          </ac:picMkLst>
        </pc:pic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05" creationId="{92E5428E-0386-41DB-AA90-9D755B07C5E4}"/>
          </ac:inkMkLst>
        </pc:ink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06" creationId="{5040F84B-B609-49D4-8B94-B183001307AE}"/>
          </ac:inkMkLst>
        </pc:ink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07" creationId="{66350FE4-F11F-49B9-B814-62E249B2B111}"/>
          </ac:inkMkLst>
        </pc:ink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08" creationId="{2DCFEE3B-7B67-46E0-B515-592CA1FE9434}"/>
          </ac:inkMkLst>
        </pc:ink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09" creationId="{CA87DC89-A987-47C6-96DD-78407B7E6989}"/>
          </ac:inkMkLst>
        </pc:ink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10" creationId="{DF306B4E-95EE-4FEC-B507-C5F69ECE198F}"/>
          </ac:inkMkLst>
        </pc:ink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11" creationId="{B94AD21C-ADF5-445A-8C4A-9F634C02C19C}"/>
          </ac:inkMkLst>
        </pc:ink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12" creationId="{E3EDDE79-A3E5-4AB4-A374-76664C535EB2}"/>
          </ac:inkMkLst>
        </pc:ink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15" creationId="{67EDA115-EC2F-4B09-8015-D99178EE4CFD}"/>
          </ac:inkMkLst>
        </pc:ink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16" creationId="{237BB2A2-815E-44A5-8D03-358D91D56AE8}"/>
          </ac:inkMkLst>
        </pc:ink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17" creationId="{126B6014-57AF-4F21-B2C9-98BE94C26DDB}"/>
          </ac:inkMkLst>
        </pc:inkChg>
        <pc:inkChg chg="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18" creationId="{66ADFF87-F1AF-435B-84B0-DFD883BEEE14}"/>
          </ac:inkMkLst>
        </pc:inkChg>
        <pc:inkChg chg="add del mod">
          <ac:chgData name="Aniket Chhabra" userId="598e0514-bef3-4e71-b6aa-f2edd6441cff" providerId="ADAL" clId="{D80CB0E3-8ED4-4E1B-83B0-CBE117AF958E}" dt="2022-03-12T10:44:00.042" v="1319"/>
          <ac:inkMkLst>
            <pc:docMk/>
            <pc:sldMk cId="883174791" sldId="260"/>
            <ac:inkMk id="128" creationId="{FADFBBAE-B926-4980-9FA8-57417A906645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30" creationId="{3CBD8871-4E57-4BF0-86FC-293E248EF9B2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31" creationId="{6C6CD558-1A3B-4D6B-9133-A8CFD2CF2ACD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32" creationId="{36DA44DE-40D2-40DA-AC2B-59791C298C7B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33" creationId="{9AABD909-2571-4C3D-98D4-C87BEE71779D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34" creationId="{9A6CB348-1C7B-4045-AC75-C46A76CBE9A6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35" creationId="{97E3C9AB-9BAA-47D4-B40A-C5B652C7B2E2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36" creationId="{BB44F983-F86E-43E7-AD5A-FB3EF4C5790C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37" creationId="{96029C56-966E-4CBE-A94E-A54B03729213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38" creationId="{1D8CD61C-6C5E-4EE8-A33F-18968F385392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39" creationId="{4A8D8253-B16C-493A-8B3D-C147E4E0F362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40" creationId="{3E0A9AD8-E9C3-4022-A81D-941BFD634C23}"/>
          </ac:inkMkLst>
        </pc:inkChg>
        <pc:inkChg chg="add mod">
          <ac:chgData name="Aniket Chhabra" userId="598e0514-bef3-4e71-b6aa-f2edd6441cff" providerId="ADAL" clId="{D80CB0E3-8ED4-4E1B-83B0-CBE117AF958E}" dt="2022-03-12T10:44:08.617" v="1332"/>
          <ac:inkMkLst>
            <pc:docMk/>
            <pc:sldMk cId="883174791" sldId="260"/>
            <ac:inkMk id="141" creationId="{9A6C4E8C-8606-4AC5-98E9-57D3C839B1DC}"/>
          </ac:inkMkLst>
        </pc:inkChg>
        <pc:inkChg chg="add del">
          <ac:chgData name="Aniket Chhabra" userId="598e0514-bef3-4e71-b6aa-f2edd6441cff" providerId="ADAL" clId="{D80CB0E3-8ED4-4E1B-83B0-CBE117AF958E}" dt="2022-03-12T10:44:10.733" v="1336"/>
          <ac:inkMkLst>
            <pc:docMk/>
            <pc:sldMk cId="883174791" sldId="260"/>
            <ac:inkMk id="143" creationId="{C7CD8663-6BAD-4C18-BD8D-073BD6C71E8D}"/>
          </ac:inkMkLst>
        </pc:inkChg>
        <pc:inkChg chg="add del">
          <ac:chgData name="Aniket Chhabra" userId="598e0514-bef3-4e71-b6aa-f2edd6441cff" providerId="ADAL" clId="{D80CB0E3-8ED4-4E1B-83B0-CBE117AF958E}" dt="2022-03-12T10:44:10.732" v="1335"/>
          <ac:inkMkLst>
            <pc:docMk/>
            <pc:sldMk cId="883174791" sldId="260"/>
            <ac:inkMk id="144" creationId="{B12C027D-96C8-41FB-9424-AB48FDAFC799}"/>
          </ac:inkMkLst>
        </pc:inkChg>
        <pc:inkChg chg="add del mod">
          <ac:chgData name="Aniket Chhabra" userId="598e0514-bef3-4e71-b6aa-f2edd6441cff" providerId="ADAL" clId="{D80CB0E3-8ED4-4E1B-83B0-CBE117AF958E}" dt="2022-03-12T10:44:41.148" v="1363"/>
          <ac:inkMkLst>
            <pc:docMk/>
            <pc:sldMk cId="883174791" sldId="260"/>
            <ac:inkMk id="145" creationId="{C957A2A5-BEBA-4A99-B9BC-5DAF66D37560}"/>
          </ac:inkMkLst>
        </pc:inkChg>
        <pc:inkChg chg="add del mod">
          <ac:chgData name="Aniket Chhabra" userId="598e0514-bef3-4e71-b6aa-f2edd6441cff" providerId="ADAL" clId="{D80CB0E3-8ED4-4E1B-83B0-CBE117AF958E}" dt="2022-03-12T10:44:41.153" v="1365"/>
          <ac:inkMkLst>
            <pc:docMk/>
            <pc:sldMk cId="883174791" sldId="260"/>
            <ac:inkMk id="146" creationId="{3A91A6BC-BBB3-4E45-8D19-8FDA09298C37}"/>
          </ac:inkMkLst>
        </pc:inkChg>
        <pc:inkChg chg="add del mod">
          <ac:chgData name="Aniket Chhabra" userId="598e0514-bef3-4e71-b6aa-f2edd6441cff" providerId="ADAL" clId="{D80CB0E3-8ED4-4E1B-83B0-CBE117AF958E}" dt="2022-03-12T10:44:41.152" v="1364"/>
          <ac:inkMkLst>
            <pc:docMk/>
            <pc:sldMk cId="883174791" sldId="260"/>
            <ac:inkMk id="147" creationId="{F92E0B92-0510-436A-B48C-2BF5A8603BCF}"/>
          </ac:inkMkLst>
        </pc:inkChg>
        <pc:inkChg chg="add del mod">
          <ac:chgData name="Aniket Chhabra" userId="598e0514-bef3-4e71-b6aa-f2edd6441cff" providerId="ADAL" clId="{D80CB0E3-8ED4-4E1B-83B0-CBE117AF958E}" dt="2022-03-12T10:44:41.157" v="1370"/>
          <ac:inkMkLst>
            <pc:docMk/>
            <pc:sldMk cId="883174791" sldId="260"/>
            <ac:inkMk id="148" creationId="{71BBC5C7-1B47-4F28-BAC0-A2E82F4CF0A1}"/>
          </ac:inkMkLst>
        </pc:inkChg>
        <pc:inkChg chg="add del mod">
          <ac:chgData name="Aniket Chhabra" userId="598e0514-bef3-4e71-b6aa-f2edd6441cff" providerId="ADAL" clId="{D80CB0E3-8ED4-4E1B-83B0-CBE117AF958E}" dt="2022-03-12T10:44:41.156" v="1369"/>
          <ac:inkMkLst>
            <pc:docMk/>
            <pc:sldMk cId="883174791" sldId="260"/>
            <ac:inkMk id="149" creationId="{E6FEFC75-CC6B-4161-A317-0FA9863EEBF7}"/>
          </ac:inkMkLst>
        </pc:inkChg>
        <pc:inkChg chg="add del mod">
          <ac:chgData name="Aniket Chhabra" userId="598e0514-bef3-4e71-b6aa-f2edd6441cff" providerId="ADAL" clId="{D80CB0E3-8ED4-4E1B-83B0-CBE117AF958E}" dt="2022-03-12T10:44:41.154" v="1367"/>
          <ac:inkMkLst>
            <pc:docMk/>
            <pc:sldMk cId="883174791" sldId="260"/>
            <ac:inkMk id="150" creationId="{7FCB9CCC-C500-4C85-9F98-5BCEDA75C531}"/>
          </ac:inkMkLst>
        </pc:inkChg>
        <pc:inkChg chg="add del mod">
          <ac:chgData name="Aniket Chhabra" userId="598e0514-bef3-4e71-b6aa-f2edd6441cff" providerId="ADAL" clId="{D80CB0E3-8ED4-4E1B-83B0-CBE117AF958E}" dt="2022-03-12T10:44:41.155" v="1368"/>
          <ac:inkMkLst>
            <pc:docMk/>
            <pc:sldMk cId="883174791" sldId="260"/>
            <ac:inkMk id="151" creationId="{D28A6BB7-B13B-4A62-975A-A6D1748D493A}"/>
          </ac:inkMkLst>
        </pc:inkChg>
        <pc:inkChg chg="add del mod">
          <ac:chgData name="Aniket Chhabra" userId="598e0514-bef3-4e71-b6aa-f2edd6441cff" providerId="ADAL" clId="{D80CB0E3-8ED4-4E1B-83B0-CBE117AF958E}" dt="2022-03-12T10:44:41.153" v="1366"/>
          <ac:inkMkLst>
            <pc:docMk/>
            <pc:sldMk cId="883174791" sldId="260"/>
            <ac:inkMk id="152" creationId="{5D36F11E-91C1-4621-A9B2-8DDFA2A2D7BC}"/>
          </ac:inkMkLst>
        </pc:inkChg>
        <pc:inkChg chg="add">
          <ac:chgData name="Aniket Chhabra" userId="598e0514-bef3-4e71-b6aa-f2edd6441cff" providerId="ADAL" clId="{D80CB0E3-8ED4-4E1B-83B0-CBE117AF958E}" dt="2022-03-12T10:44:17.338" v="1346" actId="9405"/>
          <ac:inkMkLst>
            <pc:docMk/>
            <pc:sldMk cId="883174791" sldId="260"/>
            <ac:inkMk id="154" creationId="{E84044B8-DF24-42BB-85B8-EAA3E348D4F9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55" creationId="{9D04385C-FFE0-46E3-8EFC-3C78C3C7375C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56" creationId="{D6DBA4DF-7724-4C99-942E-67AD5E13C6E0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57" creationId="{E3F2C877-B7FF-47DD-AD0A-83CF2E002DC0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58" creationId="{D09CF20A-3931-49F4-8BEA-F80F7912FF85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59" creationId="{ECB37660-E542-488B-908F-6AD37FCCE69D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60" creationId="{045A2564-FE59-427C-BCD6-66947FA35AB6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61" creationId="{2150E8B3-235D-47A5-B0F3-5F1D6A901301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62" creationId="{EDFABC0C-EF5F-4504-B6FA-956547A7B6E2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63" creationId="{BC55409F-B918-49F8-9CB9-B926DF315530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64" creationId="{92D3B055-5F5C-4793-8665-374531006C1A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65" creationId="{ADAC2DB3-7EFE-4C1F-BBDD-A0371ECF72E4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66" creationId="{5E373F60-8603-428C-84BB-41BA942E41CC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67" creationId="{B861E718-2F04-452F-B0D3-1E8D7D4489C0}"/>
          </ac:inkMkLst>
        </pc:inkChg>
        <pc:inkChg chg="add mod">
          <ac:chgData name="Aniket Chhabra" userId="598e0514-bef3-4e71-b6aa-f2edd6441cff" providerId="ADAL" clId="{D80CB0E3-8ED4-4E1B-83B0-CBE117AF958E}" dt="2022-03-12T10:44:26.627" v="1362"/>
          <ac:inkMkLst>
            <pc:docMk/>
            <pc:sldMk cId="883174791" sldId="260"/>
            <ac:inkMk id="169" creationId="{848D79E2-38D0-4496-A7A3-A22AF5062503}"/>
          </ac:inkMkLst>
        </pc:inkChg>
      </pc:sldChg>
      <pc:sldChg chg="addSp mod">
        <pc:chgData name="Aniket Chhabra" userId="598e0514-bef3-4e71-b6aa-f2edd6441cff" providerId="ADAL" clId="{D80CB0E3-8ED4-4E1B-83B0-CBE117AF958E}" dt="2022-03-12T04:48:27.939" v="1"/>
        <pc:sldMkLst>
          <pc:docMk/>
          <pc:sldMk cId="3791059992" sldId="275"/>
        </pc:sldMkLst>
        <pc:picChg chg="add">
          <ac:chgData name="Aniket Chhabra" userId="598e0514-bef3-4e71-b6aa-f2edd6441cff" providerId="ADAL" clId="{D80CB0E3-8ED4-4E1B-83B0-CBE117AF958E}" dt="2022-03-12T04:48:27.939" v="1"/>
          <ac:picMkLst>
            <pc:docMk/>
            <pc:sldMk cId="3791059992" sldId="275"/>
            <ac:picMk id="3" creationId="{A4AEC20B-A9F9-4A95-B1CD-7EA161A79FC6}"/>
          </ac:picMkLst>
        </pc:picChg>
      </pc:sldChg>
      <pc:sldChg chg="addSp delSp modSp mod">
        <pc:chgData name="Aniket Chhabra" userId="598e0514-bef3-4e71-b6aa-f2edd6441cff" providerId="ADAL" clId="{D80CB0E3-8ED4-4E1B-83B0-CBE117AF958E}" dt="2022-03-13T05:19:27.083" v="1785"/>
        <pc:sldMkLst>
          <pc:docMk/>
          <pc:sldMk cId="608333544" sldId="276"/>
        </pc:sldMkLst>
        <pc:grpChg chg="mod">
          <ac:chgData name="Aniket Chhabra" userId="598e0514-bef3-4e71-b6aa-f2edd6441cff" providerId="ADAL" clId="{D80CB0E3-8ED4-4E1B-83B0-CBE117AF958E}" dt="2022-03-12T04:48:57.214" v="12"/>
          <ac:grpSpMkLst>
            <pc:docMk/>
            <pc:sldMk cId="608333544" sldId="276"/>
            <ac:grpSpMk id="13" creationId="{5303B43F-644F-411A-BD84-F66B5CA55FAD}"/>
          </ac:grpSpMkLst>
        </pc:grpChg>
        <pc:grpChg chg="mod">
          <ac:chgData name="Aniket Chhabra" userId="598e0514-bef3-4e71-b6aa-f2edd6441cff" providerId="ADAL" clId="{D80CB0E3-8ED4-4E1B-83B0-CBE117AF958E}" dt="2022-03-12T04:49:01.130" v="20"/>
          <ac:grpSpMkLst>
            <pc:docMk/>
            <pc:sldMk cId="608333544" sldId="276"/>
            <ac:grpSpMk id="21" creationId="{5BCC622C-26F1-4177-9EC0-B164904AFFF7}"/>
          </ac:grpSpMkLst>
        </pc:grpChg>
        <pc:grpChg chg="del mod">
          <ac:chgData name="Aniket Chhabra" userId="598e0514-bef3-4e71-b6aa-f2edd6441cff" providerId="ADAL" clId="{D80CB0E3-8ED4-4E1B-83B0-CBE117AF958E}" dt="2022-03-13T05:19:27.083" v="1785"/>
          <ac:grpSpMkLst>
            <pc:docMk/>
            <pc:sldMk cId="608333544" sldId="276"/>
            <ac:grpSpMk id="29" creationId="{06E15C51-4A88-4365-8800-C97BDF46FBA6}"/>
          </ac:grpSpMkLst>
        </pc:grpChg>
        <pc:grpChg chg="mod">
          <ac:chgData name="Aniket Chhabra" userId="598e0514-bef3-4e71-b6aa-f2edd6441cff" providerId="ADAL" clId="{D80CB0E3-8ED4-4E1B-83B0-CBE117AF958E}" dt="2022-03-13T05:18:51.549" v="1744"/>
          <ac:grpSpMkLst>
            <pc:docMk/>
            <pc:sldMk cId="608333544" sldId="276"/>
            <ac:grpSpMk id="30" creationId="{3A1B3C0C-55D1-4012-AD86-4BB8B25584B3}"/>
          </ac:grpSpMkLst>
        </pc:grpChg>
        <pc:grpChg chg="del mod">
          <ac:chgData name="Aniket Chhabra" userId="598e0514-bef3-4e71-b6aa-f2edd6441cff" providerId="ADAL" clId="{D80CB0E3-8ED4-4E1B-83B0-CBE117AF958E}" dt="2022-03-13T05:19:19.912" v="1777"/>
          <ac:grpSpMkLst>
            <pc:docMk/>
            <pc:sldMk cId="608333544" sldId="276"/>
            <ac:grpSpMk id="37" creationId="{1751B202-ACE1-48D6-84AD-F165C2C49F3D}"/>
          </ac:grpSpMkLst>
        </pc:grpChg>
        <pc:grpChg chg="del mod">
          <ac:chgData name="Aniket Chhabra" userId="598e0514-bef3-4e71-b6aa-f2edd6441cff" providerId="ADAL" clId="{D80CB0E3-8ED4-4E1B-83B0-CBE117AF958E}" dt="2022-03-13T05:19:02.906" v="1760"/>
          <ac:grpSpMkLst>
            <pc:docMk/>
            <pc:sldMk cId="608333544" sldId="276"/>
            <ac:grpSpMk id="43" creationId="{11706AB2-72D7-48C3-A26C-9902F9ADE5E7}"/>
          </ac:grpSpMkLst>
        </pc:grpChg>
        <pc:grpChg chg="del mod">
          <ac:chgData name="Aniket Chhabra" userId="598e0514-bef3-4e71-b6aa-f2edd6441cff" providerId="ADAL" clId="{D80CB0E3-8ED4-4E1B-83B0-CBE117AF958E}" dt="2022-03-13T05:19:19.912" v="1777"/>
          <ac:grpSpMkLst>
            <pc:docMk/>
            <pc:sldMk cId="608333544" sldId="276"/>
            <ac:grpSpMk id="45" creationId="{0FCADAC6-5904-4700-A9C2-635E711A5A9D}"/>
          </ac:grpSpMkLst>
        </pc:grpChg>
        <pc:grpChg chg="del mod">
          <ac:chgData name="Aniket Chhabra" userId="598e0514-bef3-4e71-b6aa-f2edd6441cff" providerId="ADAL" clId="{D80CB0E3-8ED4-4E1B-83B0-CBE117AF958E}" dt="2022-03-13T05:19:23.574" v="1780"/>
          <ac:grpSpMkLst>
            <pc:docMk/>
            <pc:sldMk cId="608333544" sldId="276"/>
            <ac:grpSpMk id="59" creationId="{3BADCA07-D9ED-4562-A96C-78CDA00ABA8B}"/>
          </ac:grpSpMkLst>
        </pc:grpChg>
        <pc:grpChg chg="mod">
          <ac:chgData name="Aniket Chhabra" userId="598e0514-bef3-4e71-b6aa-f2edd6441cff" providerId="ADAL" clId="{D80CB0E3-8ED4-4E1B-83B0-CBE117AF958E}" dt="2022-03-13T05:19:17.653" v="1774"/>
          <ac:grpSpMkLst>
            <pc:docMk/>
            <pc:sldMk cId="608333544" sldId="276"/>
            <ac:grpSpMk id="60" creationId="{D099EDCF-5E7D-42EB-B04A-3A4A43BB1B77}"/>
          </ac:grpSpMkLst>
        </pc:grpChg>
        <pc:grpChg chg="mod">
          <ac:chgData name="Aniket Chhabra" userId="598e0514-bef3-4e71-b6aa-f2edd6441cff" providerId="ADAL" clId="{D80CB0E3-8ED4-4E1B-83B0-CBE117AF958E}" dt="2022-03-13T05:19:17.653" v="1774"/>
          <ac:grpSpMkLst>
            <pc:docMk/>
            <pc:sldMk cId="608333544" sldId="276"/>
            <ac:grpSpMk id="61" creationId="{A03DCC31-54C0-4DAE-B04E-287DFB348227}"/>
          </ac:grpSpMkLst>
        </pc:grpChg>
        <pc:grpChg chg="mod">
          <ac:chgData name="Aniket Chhabra" userId="598e0514-bef3-4e71-b6aa-f2edd6441cff" providerId="ADAL" clId="{D80CB0E3-8ED4-4E1B-83B0-CBE117AF958E}" dt="2022-03-13T05:19:19.912" v="1777"/>
          <ac:grpSpMkLst>
            <pc:docMk/>
            <pc:sldMk cId="608333544" sldId="276"/>
            <ac:grpSpMk id="64" creationId="{9B482001-A8B8-4077-8CA1-AAA542183A1F}"/>
          </ac:grpSpMkLst>
        </pc:grpChg>
        <pc:grpChg chg="mod">
          <ac:chgData name="Aniket Chhabra" userId="598e0514-bef3-4e71-b6aa-f2edd6441cff" providerId="ADAL" clId="{D80CB0E3-8ED4-4E1B-83B0-CBE117AF958E}" dt="2022-03-13T05:19:23.574" v="1780"/>
          <ac:grpSpMkLst>
            <pc:docMk/>
            <pc:sldMk cId="608333544" sldId="276"/>
            <ac:grpSpMk id="67" creationId="{BE5ECB5B-3624-44BD-A087-5DA15E94C73B}"/>
          </ac:grpSpMkLst>
        </pc:grpChg>
        <pc:grpChg chg="mod">
          <ac:chgData name="Aniket Chhabra" userId="598e0514-bef3-4e71-b6aa-f2edd6441cff" providerId="ADAL" clId="{D80CB0E3-8ED4-4E1B-83B0-CBE117AF958E}" dt="2022-03-13T05:19:27.083" v="1785"/>
          <ac:grpSpMkLst>
            <pc:docMk/>
            <pc:sldMk cId="608333544" sldId="276"/>
            <ac:grpSpMk id="72" creationId="{3399CD6D-A61D-4947-AA66-11BCFF34900D}"/>
          </ac:grpSpMkLst>
        </pc:grpChg>
        <pc:picChg chg="add">
          <ac:chgData name="Aniket Chhabra" userId="598e0514-bef3-4e71-b6aa-f2edd6441cff" providerId="ADAL" clId="{D80CB0E3-8ED4-4E1B-83B0-CBE117AF958E}" dt="2022-03-12T04:48:37.214" v="3"/>
          <ac:picMkLst>
            <pc:docMk/>
            <pc:sldMk cId="608333544" sldId="276"/>
            <ac:picMk id="3" creationId="{925DC0D7-A464-4EB7-972C-3E61A9D54A9D}"/>
          </ac:picMkLst>
        </pc:picChg>
        <pc:inkChg chg="add mod">
          <ac:chgData name="Aniket Chhabra" userId="598e0514-bef3-4e71-b6aa-f2edd6441cff" providerId="ADAL" clId="{D80CB0E3-8ED4-4E1B-83B0-CBE117AF958E}" dt="2022-03-13T05:18:51.549" v="1744"/>
          <ac:inkMkLst>
            <pc:docMk/>
            <pc:sldMk cId="608333544" sldId="276"/>
            <ac:inkMk id="2" creationId="{8CD419AC-3637-46E0-8F32-488D25431BC4}"/>
          </ac:inkMkLst>
        </pc:inkChg>
        <pc:inkChg chg="add mod">
          <ac:chgData name="Aniket Chhabra" userId="598e0514-bef3-4e71-b6aa-f2edd6441cff" providerId="ADAL" clId="{D80CB0E3-8ED4-4E1B-83B0-CBE117AF958E}" dt="2022-03-12T04:48:57.214" v="12"/>
          <ac:inkMkLst>
            <pc:docMk/>
            <pc:sldMk cId="608333544" sldId="276"/>
            <ac:inkMk id="5" creationId="{F49F9DDB-A494-428E-901E-5A0F0D0EC5F5}"/>
          </ac:inkMkLst>
        </pc:inkChg>
        <pc:inkChg chg="add mod">
          <ac:chgData name="Aniket Chhabra" userId="598e0514-bef3-4e71-b6aa-f2edd6441cff" providerId="ADAL" clId="{D80CB0E3-8ED4-4E1B-83B0-CBE117AF958E}" dt="2022-03-12T04:48:57.214" v="12"/>
          <ac:inkMkLst>
            <pc:docMk/>
            <pc:sldMk cId="608333544" sldId="276"/>
            <ac:inkMk id="6" creationId="{49191370-C7C3-4EDE-B372-87521F124378}"/>
          </ac:inkMkLst>
        </pc:inkChg>
        <pc:inkChg chg="add mod">
          <ac:chgData name="Aniket Chhabra" userId="598e0514-bef3-4e71-b6aa-f2edd6441cff" providerId="ADAL" clId="{D80CB0E3-8ED4-4E1B-83B0-CBE117AF958E}" dt="2022-03-12T04:48:57.214" v="12"/>
          <ac:inkMkLst>
            <pc:docMk/>
            <pc:sldMk cId="608333544" sldId="276"/>
            <ac:inkMk id="7" creationId="{053772B0-83C4-4B11-914A-7BB338347B58}"/>
          </ac:inkMkLst>
        </pc:inkChg>
        <pc:inkChg chg="add mod">
          <ac:chgData name="Aniket Chhabra" userId="598e0514-bef3-4e71-b6aa-f2edd6441cff" providerId="ADAL" clId="{D80CB0E3-8ED4-4E1B-83B0-CBE117AF958E}" dt="2022-03-12T04:48:57.214" v="12"/>
          <ac:inkMkLst>
            <pc:docMk/>
            <pc:sldMk cId="608333544" sldId="276"/>
            <ac:inkMk id="8" creationId="{9ED1F641-E2B8-41AB-AF95-84FD88E1A178}"/>
          </ac:inkMkLst>
        </pc:inkChg>
        <pc:inkChg chg="add mod">
          <ac:chgData name="Aniket Chhabra" userId="598e0514-bef3-4e71-b6aa-f2edd6441cff" providerId="ADAL" clId="{D80CB0E3-8ED4-4E1B-83B0-CBE117AF958E}" dt="2022-03-12T04:48:57.214" v="12"/>
          <ac:inkMkLst>
            <pc:docMk/>
            <pc:sldMk cId="608333544" sldId="276"/>
            <ac:inkMk id="9" creationId="{7ED27853-2E43-4F2A-B210-3DBEFA6C4DB2}"/>
          </ac:inkMkLst>
        </pc:inkChg>
        <pc:inkChg chg="add mod">
          <ac:chgData name="Aniket Chhabra" userId="598e0514-bef3-4e71-b6aa-f2edd6441cff" providerId="ADAL" clId="{D80CB0E3-8ED4-4E1B-83B0-CBE117AF958E}" dt="2022-03-12T04:48:57.214" v="12"/>
          <ac:inkMkLst>
            <pc:docMk/>
            <pc:sldMk cId="608333544" sldId="276"/>
            <ac:inkMk id="10" creationId="{BE849363-CF28-458B-A02C-98EBCBE0D945}"/>
          </ac:inkMkLst>
        </pc:inkChg>
        <pc:inkChg chg="add mod">
          <ac:chgData name="Aniket Chhabra" userId="598e0514-bef3-4e71-b6aa-f2edd6441cff" providerId="ADAL" clId="{D80CB0E3-8ED4-4E1B-83B0-CBE117AF958E}" dt="2022-03-12T04:48:57.214" v="12"/>
          <ac:inkMkLst>
            <pc:docMk/>
            <pc:sldMk cId="608333544" sldId="276"/>
            <ac:inkMk id="11" creationId="{21A970E4-F34D-4295-9655-505F565B338B}"/>
          </ac:inkMkLst>
        </pc:inkChg>
        <pc:inkChg chg="add mod">
          <ac:chgData name="Aniket Chhabra" userId="598e0514-bef3-4e71-b6aa-f2edd6441cff" providerId="ADAL" clId="{D80CB0E3-8ED4-4E1B-83B0-CBE117AF958E}" dt="2022-03-12T04:48:57.214" v="12"/>
          <ac:inkMkLst>
            <pc:docMk/>
            <pc:sldMk cId="608333544" sldId="276"/>
            <ac:inkMk id="12" creationId="{E48CE6B6-8433-43C5-A984-B64809B424B5}"/>
          </ac:inkMkLst>
        </pc:inkChg>
        <pc:inkChg chg="add mod">
          <ac:chgData name="Aniket Chhabra" userId="598e0514-bef3-4e71-b6aa-f2edd6441cff" providerId="ADAL" clId="{D80CB0E3-8ED4-4E1B-83B0-CBE117AF958E}" dt="2022-03-12T04:49:01.130" v="20"/>
          <ac:inkMkLst>
            <pc:docMk/>
            <pc:sldMk cId="608333544" sldId="276"/>
            <ac:inkMk id="14" creationId="{04928350-A417-4DF6-BF90-713B14DF37B4}"/>
          </ac:inkMkLst>
        </pc:inkChg>
        <pc:inkChg chg="add mod">
          <ac:chgData name="Aniket Chhabra" userId="598e0514-bef3-4e71-b6aa-f2edd6441cff" providerId="ADAL" clId="{D80CB0E3-8ED4-4E1B-83B0-CBE117AF958E}" dt="2022-03-12T04:49:01.130" v="20"/>
          <ac:inkMkLst>
            <pc:docMk/>
            <pc:sldMk cId="608333544" sldId="276"/>
            <ac:inkMk id="15" creationId="{234E67CE-8956-48CB-9B19-2B2CB8B926A7}"/>
          </ac:inkMkLst>
        </pc:inkChg>
        <pc:inkChg chg="add mod">
          <ac:chgData name="Aniket Chhabra" userId="598e0514-bef3-4e71-b6aa-f2edd6441cff" providerId="ADAL" clId="{D80CB0E3-8ED4-4E1B-83B0-CBE117AF958E}" dt="2022-03-12T04:49:01.130" v="20"/>
          <ac:inkMkLst>
            <pc:docMk/>
            <pc:sldMk cId="608333544" sldId="276"/>
            <ac:inkMk id="16" creationId="{A124F9BE-A8CA-44DA-A7BA-8E56406A8F71}"/>
          </ac:inkMkLst>
        </pc:inkChg>
        <pc:inkChg chg="add mod">
          <ac:chgData name="Aniket Chhabra" userId="598e0514-bef3-4e71-b6aa-f2edd6441cff" providerId="ADAL" clId="{D80CB0E3-8ED4-4E1B-83B0-CBE117AF958E}" dt="2022-03-12T04:49:01.130" v="20"/>
          <ac:inkMkLst>
            <pc:docMk/>
            <pc:sldMk cId="608333544" sldId="276"/>
            <ac:inkMk id="17" creationId="{D58DBD33-DC47-4D10-8EF7-12CC84B572FD}"/>
          </ac:inkMkLst>
        </pc:inkChg>
        <pc:inkChg chg="add mod">
          <ac:chgData name="Aniket Chhabra" userId="598e0514-bef3-4e71-b6aa-f2edd6441cff" providerId="ADAL" clId="{D80CB0E3-8ED4-4E1B-83B0-CBE117AF958E}" dt="2022-03-12T04:49:01.130" v="20"/>
          <ac:inkMkLst>
            <pc:docMk/>
            <pc:sldMk cId="608333544" sldId="276"/>
            <ac:inkMk id="18" creationId="{FE311FBE-4016-495D-A259-3311DF304455}"/>
          </ac:inkMkLst>
        </pc:inkChg>
        <pc:inkChg chg="add mod">
          <ac:chgData name="Aniket Chhabra" userId="598e0514-bef3-4e71-b6aa-f2edd6441cff" providerId="ADAL" clId="{D80CB0E3-8ED4-4E1B-83B0-CBE117AF958E}" dt="2022-03-12T04:49:01.130" v="20"/>
          <ac:inkMkLst>
            <pc:docMk/>
            <pc:sldMk cId="608333544" sldId="276"/>
            <ac:inkMk id="19" creationId="{097836A8-A15A-4A8E-B7A3-3A164BCC1156}"/>
          </ac:inkMkLst>
        </pc:inkChg>
        <pc:inkChg chg="add mod">
          <ac:chgData name="Aniket Chhabra" userId="598e0514-bef3-4e71-b6aa-f2edd6441cff" providerId="ADAL" clId="{D80CB0E3-8ED4-4E1B-83B0-CBE117AF958E}" dt="2022-03-12T04:49:01.130" v="20"/>
          <ac:inkMkLst>
            <pc:docMk/>
            <pc:sldMk cId="608333544" sldId="276"/>
            <ac:inkMk id="20" creationId="{5433B068-F9C1-443E-9B46-8EE2565D3926}"/>
          </ac:inkMkLst>
        </pc:inkChg>
        <pc:inkChg chg="add mod">
          <ac:chgData name="Aniket Chhabra" userId="598e0514-bef3-4e71-b6aa-f2edd6441cff" providerId="ADAL" clId="{D80CB0E3-8ED4-4E1B-83B0-CBE117AF958E}" dt="2022-03-13T05:18:51.549" v="1744"/>
          <ac:inkMkLst>
            <pc:docMk/>
            <pc:sldMk cId="608333544" sldId="276"/>
            <ac:inkMk id="22" creationId="{F7A6EA9E-BC36-406E-8237-40D6ABB7A0FE}"/>
          </ac:inkMkLst>
        </pc:inkChg>
        <pc:inkChg chg="add mod">
          <ac:chgData name="Aniket Chhabra" userId="598e0514-bef3-4e71-b6aa-f2edd6441cff" providerId="ADAL" clId="{D80CB0E3-8ED4-4E1B-83B0-CBE117AF958E}" dt="2022-03-13T05:18:51.549" v="1744"/>
          <ac:inkMkLst>
            <pc:docMk/>
            <pc:sldMk cId="608333544" sldId="276"/>
            <ac:inkMk id="23" creationId="{0E7D69CC-61EA-428C-9E54-6EC11E5B5BA5}"/>
          </ac:inkMkLst>
        </pc:inkChg>
        <pc:inkChg chg="add mod">
          <ac:chgData name="Aniket Chhabra" userId="598e0514-bef3-4e71-b6aa-f2edd6441cff" providerId="ADAL" clId="{D80CB0E3-8ED4-4E1B-83B0-CBE117AF958E}" dt="2022-03-13T05:18:51.549" v="1744"/>
          <ac:inkMkLst>
            <pc:docMk/>
            <pc:sldMk cId="608333544" sldId="276"/>
            <ac:inkMk id="24" creationId="{4BA32C31-E1CF-493B-A60B-457F72671431}"/>
          </ac:inkMkLst>
        </pc:inkChg>
        <pc:inkChg chg="add mod">
          <ac:chgData name="Aniket Chhabra" userId="598e0514-bef3-4e71-b6aa-f2edd6441cff" providerId="ADAL" clId="{D80CB0E3-8ED4-4E1B-83B0-CBE117AF958E}" dt="2022-03-13T05:18:51.549" v="1744"/>
          <ac:inkMkLst>
            <pc:docMk/>
            <pc:sldMk cId="608333544" sldId="276"/>
            <ac:inkMk id="25" creationId="{CC8FB7F4-6658-4BA5-BDA3-A33B5FBD39D2}"/>
          </ac:inkMkLst>
        </pc:inkChg>
        <pc:inkChg chg="add mod">
          <ac:chgData name="Aniket Chhabra" userId="598e0514-bef3-4e71-b6aa-f2edd6441cff" providerId="ADAL" clId="{D80CB0E3-8ED4-4E1B-83B0-CBE117AF958E}" dt="2022-03-13T05:18:51.549" v="1744"/>
          <ac:inkMkLst>
            <pc:docMk/>
            <pc:sldMk cId="608333544" sldId="276"/>
            <ac:inkMk id="26" creationId="{22503142-AB46-4496-8E7E-F65ABEDE19C6}"/>
          </ac:inkMkLst>
        </pc:inkChg>
        <pc:inkChg chg="add mod">
          <ac:chgData name="Aniket Chhabra" userId="598e0514-bef3-4e71-b6aa-f2edd6441cff" providerId="ADAL" clId="{D80CB0E3-8ED4-4E1B-83B0-CBE117AF958E}" dt="2022-03-13T05:19:27.083" v="1785"/>
          <ac:inkMkLst>
            <pc:docMk/>
            <pc:sldMk cId="608333544" sldId="276"/>
            <ac:inkMk id="27" creationId="{7ECC5B52-3133-4800-82B7-732AFB37F082}"/>
          </ac:inkMkLst>
        </pc:inkChg>
        <pc:inkChg chg="add mod">
          <ac:chgData name="Aniket Chhabra" userId="598e0514-bef3-4e71-b6aa-f2edd6441cff" providerId="ADAL" clId="{D80CB0E3-8ED4-4E1B-83B0-CBE117AF958E}" dt="2022-03-13T05:19:27.083" v="1785"/>
          <ac:inkMkLst>
            <pc:docMk/>
            <pc:sldMk cId="608333544" sldId="276"/>
            <ac:inkMk id="28" creationId="{5A3A5A66-07FE-4473-B771-2AB62C96B855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31" creationId="{0AA9F571-1209-4063-86F0-9D6853BC9BB7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32" creationId="{A5F5F2FF-D8AA-451E-A72D-BB8E253DD99A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33" creationId="{74F9A41B-A02B-4BB8-8EBE-B156AF7F5E2E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34" creationId="{F4170583-7D1B-4708-ACED-CAC5E7EA8ADC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35" creationId="{D7315DCD-58A6-49E5-8FA5-2D240977E4C6}"/>
          </ac:inkMkLst>
        </pc:inkChg>
        <pc:inkChg chg="add del">
          <ac:chgData name="Aniket Chhabra" userId="598e0514-bef3-4e71-b6aa-f2edd6441cff" providerId="ADAL" clId="{D80CB0E3-8ED4-4E1B-83B0-CBE117AF958E}" dt="2022-03-13T05:18:59.344" v="1751"/>
          <ac:inkMkLst>
            <pc:docMk/>
            <pc:sldMk cId="608333544" sldId="276"/>
            <ac:inkMk id="36" creationId="{A1876B4D-655C-438B-8BCC-574082C39B33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38" creationId="{41B726ED-D599-4CCF-A54F-A86DC181E303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39" creationId="{0525A8F0-E2E4-43C6-B64F-DBCA6D68F2B3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40" creationId="{9333FBE4-FE89-4E9F-B047-722987D5C992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41" creationId="{C60CF0A3-2B80-45AA-B06F-9C203D6DF3A1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42" creationId="{E5E96EB6-48FF-4958-AFD4-3A47FCD13FDA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44" creationId="{A2601BB8-4BF9-47A0-B707-3ADACEDC20B9}"/>
          </ac:inkMkLst>
        </pc:inkChg>
        <pc:inkChg chg="add mod">
          <ac:chgData name="Aniket Chhabra" userId="598e0514-bef3-4e71-b6aa-f2edd6441cff" providerId="ADAL" clId="{D80CB0E3-8ED4-4E1B-83B0-CBE117AF958E}" dt="2022-03-13T05:19:17.653" v="1774"/>
          <ac:inkMkLst>
            <pc:docMk/>
            <pc:sldMk cId="608333544" sldId="276"/>
            <ac:inkMk id="46" creationId="{0D8E101B-6D60-4519-8A65-8C60FEE5157F}"/>
          </ac:inkMkLst>
        </pc:inkChg>
        <pc:inkChg chg="add mod">
          <ac:chgData name="Aniket Chhabra" userId="598e0514-bef3-4e71-b6aa-f2edd6441cff" providerId="ADAL" clId="{D80CB0E3-8ED4-4E1B-83B0-CBE117AF958E}" dt="2022-03-13T05:19:17.653" v="1774"/>
          <ac:inkMkLst>
            <pc:docMk/>
            <pc:sldMk cId="608333544" sldId="276"/>
            <ac:inkMk id="47" creationId="{F54DC79A-215C-487D-8AB0-416BFCD3FF85}"/>
          </ac:inkMkLst>
        </pc:inkChg>
        <pc:inkChg chg="add mod">
          <ac:chgData name="Aniket Chhabra" userId="598e0514-bef3-4e71-b6aa-f2edd6441cff" providerId="ADAL" clId="{D80CB0E3-8ED4-4E1B-83B0-CBE117AF958E}" dt="2022-03-13T05:19:17.653" v="1774"/>
          <ac:inkMkLst>
            <pc:docMk/>
            <pc:sldMk cId="608333544" sldId="276"/>
            <ac:inkMk id="48" creationId="{4ECB817D-08BC-4150-BB26-0202956E30FF}"/>
          </ac:inkMkLst>
        </pc:inkChg>
        <pc:inkChg chg="add mod">
          <ac:chgData name="Aniket Chhabra" userId="598e0514-bef3-4e71-b6aa-f2edd6441cff" providerId="ADAL" clId="{D80CB0E3-8ED4-4E1B-83B0-CBE117AF958E}" dt="2022-03-13T05:19:17.653" v="1774"/>
          <ac:inkMkLst>
            <pc:docMk/>
            <pc:sldMk cId="608333544" sldId="276"/>
            <ac:inkMk id="49" creationId="{49F4E15D-DF81-4370-B65E-CA9AFF8372BA}"/>
          </ac:inkMkLst>
        </pc:inkChg>
        <pc:inkChg chg="add">
          <ac:chgData name="Aniket Chhabra" userId="598e0514-bef3-4e71-b6aa-f2edd6441cff" providerId="ADAL" clId="{D80CB0E3-8ED4-4E1B-83B0-CBE117AF958E}" dt="2022-03-13T05:19:14.068" v="1765" actId="9405"/>
          <ac:inkMkLst>
            <pc:docMk/>
            <pc:sldMk cId="608333544" sldId="276"/>
            <ac:inkMk id="50" creationId="{856396BA-EB63-405C-823C-B05875F5D198}"/>
          </ac:inkMkLst>
        </pc:inkChg>
        <pc:inkChg chg="add mod">
          <ac:chgData name="Aniket Chhabra" userId="598e0514-bef3-4e71-b6aa-f2edd6441cff" providerId="ADAL" clId="{D80CB0E3-8ED4-4E1B-83B0-CBE117AF958E}" dt="2022-03-13T05:19:17.653" v="1774"/>
          <ac:inkMkLst>
            <pc:docMk/>
            <pc:sldMk cId="608333544" sldId="276"/>
            <ac:inkMk id="51" creationId="{C006AA14-537A-44DD-BD6C-B15F09763ED9}"/>
          </ac:inkMkLst>
        </pc:inkChg>
        <pc:inkChg chg="add mod">
          <ac:chgData name="Aniket Chhabra" userId="598e0514-bef3-4e71-b6aa-f2edd6441cff" providerId="ADAL" clId="{D80CB0E3-8ED4-4E1B-83B0-CBE117AF958E}" dt="2022-03-13T05:19:17.653" v="1774"/>
          <ac:inkMkLst>
            <pc:docMk/>
            <pc:sldMk cId="608333544" sldId="276"/>
            <ac:inkMk id="52" creationId="{94F31469-74A3-4BB5-A0DD-397360A28FB8}"/>
          </ac:inkMkLst>
        </pc:inkChg>
        <pc:inkChg chg="add">
          <ac:chgData name="Aniket Chhabra" userId="598e0514-bef3-4e71-b6aa-f2edd6441cff" providerId="ADAL" clId="{D80CB0E3-8ED4-4E1B-83B0-CBE117AF958E}" dt="2022-03-13T05:19:15.223" v="1768" actId="9405"/>
          <ac:inkMkLst>
            <pc:docMk/>
            <pc:sldMk cId="608333544" sldId="276"/>
            <ac:inkMk id="53" creationId="{2555483B-6F5B-49BB-8909-13F596206C97}"/>
          </ac:inkMkLst>
        </pc:inkChg>
        <pc:inkChg chg="add mod">
          <ac:chgData name="Aniket Chhabra" userId="598e0514-bef3-4e71-b6aa-f2edd6441cff" providerId="ADAL" clId="{D80CB0E3-8ED4-4E1B-83B0-CBE117AF958E}" dt="2022-03-13T05:19:23.574" v="1780"/>
          <ac:inkMkLst>
            <pc:docMk/>
            <pc:sldMk cId="608333544" sldId="276"/>
            <ac:inkMk id="54" creationId="{02ABB39D-06DA-4C15-901F-58C55F251895}"/>
          </ac:inkMkLst>
        </pc:inkChg>
        <pc:inkChg chg="add mod">
          <ac:chgData name="Aniket Chhabra" userId="598e0514-bef3-4e71-b6aa-f2edd6441cff" providerId="ADAL" clId="{D80CB0E3-8ED4-4E1B-83B0-CBE117AF958E}" dt="2022-03-13T05:19:23.574" v="1780"/>
          <ac:inkMkLst>
            <pc:docMk/>
            <pc:sldMk cId="608333544" sldId="276"/>
            <ac:inkMk id="55" creationId="{DEFDA433-2FF1-4944-99D0-CC9F1BF35356}"/>
          </ac:inkMkLst>
        </pc:inkChg>
        <pc:inkChg chg="add mod">
          <ac:chgData name="Aniket Chhabra" userId="598e0514-bef3-4e71-b6aa-f2edd6441cff" providerId="ADAL" clId="{D80CB0E3-8ED4-4E1B-83B0-CBE117AF958E}" dt="2022-03-13T05:19:23.574" v="1780"/>
          <ac:inkMkLst>
            <pc:docMk/>
            <pc:sldMk cId="608333544" sldId="276"/>
            <ac:inkMk id="56" creationId="{1277E416-F013-4921-ACDD-B624DB52439E}"/>
          </ac:inkMkLst>
        </pc:inkChg>
        <pc:inkChg chg="add mod">
          <ac:chgData name="Aniket Chhabra" userId="598e0514-bef3-4e71-b6aa-f2edd6441cff" providerId="ADAL" clId="{D80CB0E3-8ED4-4E1B-83B0-CBE117AF958E}" dt="2022-03-13T05:19:23.574" v="1780"/>
          <ac:inkMkLst>
            <pc:docMk/>
            <pc:sldMk cId="608333544" sldId="276"/>
            <ac:inkMk id="57" creationId="{1D417483-ED13-4AD3-BC36-6E093BAA64DD}"/>
          </ac:inkMkLst>
        </pc:inkChg>
        <pc:inkChg chg="add mod">
          <ac:chgData name="Aniket Chhabra" userId="598e0514-bef3-4e71-b6aa-f2edd6441cff" providerId="ADAL" clId="{D80CB0E3-8ED4-4E1B-83B0-CBE117AF958E}" dt="2022-03-13T05:19:23.574" v="1780"/>
          <ac:inkMkLst>
            <pc:docMk/>
            <pc:sldMk cId="608333544" sldId="276"/>
            <ac:inkMk id="58" creationId="{FD7FAF75-2852-45A7-97D5-2C745F8E66E9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62" creationId="{E9C44D24-0D34-475D-B377-91F2581CAD32}"/>
          </ac:inkMkLst>
        </pc:inkChg>
        <pc:inkChg chg="add mod">
          <ac:chgData name="Aniket Chhabra" userId="598e0514-bef3-4e71-b6aa-f2edd6441cff" providerId="ADAL" clId="{D80CB0E3-8ED4-4E1B-83B0-CBE117AF958E}" dt="2022-03-13T05:19:19.912" v="1777"/>
          <ac:inkMkLst>
            <pc:docMk/>
            <pc:sldMk cId="608333544" sldId="276"/>
            <ac:inkMk id="63" creationId="{581C1846-F58A-4E44-8877-A1C87AA6747F}"/>
          </ac:inkMkLst>
        </pc:inkChg>
        <pc:inkChg chg="add mod">
          <ac:chgData name="Aniket Chhabra" userId="598e0514-bef3-4e71-b6aa-f2edd6441cff" providerId="ADAL" clId="{D80CB0E3-8ED4-4E1B-83B0-CBE117AF958E}" dt="2022-03-13T05:19:23.574" v="1780"/>
          <ac:inkMkLst>
            <pc:docMk/>
            <pc:sldMk cId="608333544" sldId="276"/>
            <ac:inkMk id="65" creationId="{308F1DA8-6089-4221-AFBD-B1C1AF2BC63A}"/>
          </ac:inkMkLst>
        </pc:inkChg>
        <pc:inkChg chg="add mod">
          <ac:chgData name="Aniket Chhabra" userId="598e0514-bef3-4e71-b6aa-f2edd6441cff" providerId="ADAL" clId="{D80CB0E3-8ED4-4E1B-83B0-CBE117AF958E}" dt="2022-03-13T05:19:23.574" v="1780"/>
          <ac:inkMkLst>
            <pc:docMk/>
            <pc:sldMk cId="608333544" sldId="276"/>
            <ac:inkMk id="66" creationId="{8848F664-D183-485D-9C2B-3E9FFB4B8E3C}"/>
          </ac:inkMkLst>
        </pc:inkChg>
        <pc:inkChg chg="add mod">
          <ac:chgData name="Aniket Chhabra" userId="598e0514-bef3-4e71-b6aa-f2edd6441cff" providerId="ADAL" clId="{D80CB0E3-8ED4-4E1B-83B0-CBE117AF958E}" dt="2022-03-13T05:19:27.083" v="1785"/>
          <ac:inkMkLst>
            <pc:docMk/>
            <pc:sldMk cId="608333544" sldId="276"/>
            <ac:inkMk id="68" creationId="{96746D2E-E078-459D-B058-299E8EA0516D}"/>
          </ac:inkMkLst>
        </pc:inkChg>
        <pc:inkChg chg="add mod">
          <ac:chgData name="Aniket Chhabra" userId="598e0514-bef3-4e71-b6aa-f2edd6441cff" providerId="ADAL" clId="{D80CB0E3-8ED4-4E1B-83B0-CBE117AF958E}" dt="2022-03-13T05:19:27.083" v="1785"/>
          <ac:inkMkLst>
            <pc:docMk/>
            <pc:sldMk cId="608333544" sldId="276"/>
            <ac:inkMk id="69" creationId="{F1A79845-DC40-47DA-A864-53E7D3C0A125}"/>
          </ac:inkMkLst>
        </pc:inkChg>
        <pc:inkChg chg="add mod">
          <ac:chgData name="Aniket Chhabra" userId="598e0514-bef3-4e71-b6aa-f2edd6441cff" providerId="ADAL" clId="{D80CB0E3-8ED4-4E1B-83B0-CBE117AF958E}" dt="2022-03-13T05:19:27.083" v="1785"/>
          <ac:inkMkLst>
            <pc:docMk/>
            <pc:sldMk cId="608333544" sldId="276"/>
            <ac:inkMk id="70" creationId="{8F36083A-E879-4389-83CF-2217090D47CB}"/>
          </ac:inkMkLst>
        </pc:inkChg>
        <pc:inkChg chg="add mod">
          <ac:chgData name="Aniket Chhabra" userId="598e0514-bef3-4e71-b6aa-f2edd6441cff" providerId="ADAL" clId="{D80CB0E3-8ED4-4E1B-83B0-CBE117AF958E}" dt="2022-03-13T05:19:27.083" v="1785"/>
          <ac:inkMkLst>
            <pc:docMk/>
            <pc:sldMk cId="608333544" sldId="276"/>
            <ac:inkMk id="71" creationId="{DD56DD24-B789-40AC-959F-6DBB6912F332}"/>
          </ac:inkMkLst>
        </pc:inkChg>
      </pc:sldChg>
      <pc:sldChg chg="addSp delSp modSp mod">
        <pc:chgData name="Aniket Chhabra" userId="598e0514-bef3-4e71-b6aa-f2edd6441cff" providerId="ADAL" clId="{D80CB0E3-8ED4-4E1B-83B0-CBE117AF958E}" dt="2022-03-12T05:01:02.869" v="307"/>
        <pc:sldMkLst>
          <pc:docMk/>
          <pc:sldMk cId="2445905399" sldId="277"/>
        </pc:sldMkLst>
        <pc:grpChg chg="del mod">
          <ac:chgData name="Aniket Chhabra" userId="598e0514-bef3-4e71-b6aa-f2edd6441cff" providerId="ADAL" clId="{D80CB0E3-8ED4-4E1B-83B0-CBE117AF958E}" dt="2022-03-12T04:52:22.370" v="39" actId="478"/>
          <ac:grpSpMkLst>
            <pc:docMk/>
            <pc:sldMk cId="2445905399" sldId="277"/>
            <ac:grpSpMk id="12" creationId="{6693AB6C-F9AA-4ECD-B8D5-145E3E332DD7}"/>
          </ac:grpSpMkLst>
        </pc:grpChg>
        <pc:grpChg chg="mod">
          <ac:chgData name="Aniket Chhabra" userId="598e0514-bef3-4e71-b6aa-f2edd6441cff" providerId="ADAL" clId="{D80CB0E3-8ED4-4E1B-83B0-CBE117AF958E}" dt="2022-03-12T04:52:29.090" v="47"/>
          <ac:grpSpMkLst>
            <pc:docMk/>
            <pc:sldMk cId="2445905399" sldId="277"/>
            <ac:grpSpMk id="24" creationId="{873D9585-FD2A-483C-A022-A7EE1D3CFE74}"/>
          </ac:grpSpMkLst>
        </pc:grpChg>
        <pc:grpChg chg="del mod">
          <ac:chgData name="Aniket Chhabra" userId="598e0514-bef3-4e71-b6aa-f2edd6441cff" providerId="ADAL" clId="{D80CB0E3-8ED4-4E1B-83B0-CBE117AF958E}" dt="2022-03-12T04:52:51.226" v="56"/>
          <ac:grpSpMkLst>
            <pc:docMk/>
            <pc:sldMk cId="2445905399" sldId="277"/>
            <ac:grpSpMk id="28" creationId="{B21D6969-38BB-4EAA-ADAC-1A9D32DF90CC}"/>
          </ac:grpSpMkLst>
        </pc:grpChg>
        <pc:grpChg chg="mod">
          <ac:chgData name="Aniket Chhabra" userId="598e0514-bef3-4e71-b6aa-f2edd6441cff" providerId="ADAL" clId="{D80CB0E3-8ED4-4E1B-83B0-CBE117AF958E}" dt="2022-03-12T04:52:48.913" v="54"/>
          <ac:grpSpMkLst>
            <pc:docMk/>
            <pc:sldMk cId="2445905399" sldId="277"/>
            <ac:grpSpMk id="31" creationId="{48EBDA0D-54AA-461E-991F-3BC7E40E98E5}"/>
          </ac:grpSpMkLst>
        </pc:grpChg>
        <pc:grpChg chg="del mod">
          <ac:chgData name="Aniket Chhabra" userId="598e0514-bef3-4e71-b6aa-f2edd6441cff" providerId="ADAL" clId="{D80CB0E3-8ED4-4E1B-83B0-CBE117AF958E}" dt="2022-03-12T04:53:01.134" v="67"/>
          <ac:grpSpMkLst>
            <pc:docMk/>
            <pc:sldMk cId="2445905399" sldId="277"/>
            <ac:grpSpMk id="36" creationId="{9DD4E0BA-D065-4726-A41E-9798A2E8C200}"/>
          </ac:grpSpMkLst>
        </pc:grpChg>
        <pc:grpChg chg="mod">
          <ac:chgData name="Aniket Chhabra" userId="598e0514-bef3-4e71-b6aa-f2edd6441cff" providerId="ADAL" clId="{D80CB0E3-8ED4-4E1B-83B0-CBE117AF958E}" dt="2022-03-12T04:53:01.134" v="67"/>
          <ac:grpSpMkLst>
            <pc:docMk/>
            <pc:sldMk cId="2445905399" sldId="277"/>
            <ac:grpSpMk id="41" creationId="{E9A46973-E8DD-459E-8CBA-A81A89B8CA2A}"/>
          </ac:grpSpMkLst>
        </pc:grpChg>
        <pc:grpChg chg="del mod">
          <ac:chgData name="Aniket Chhabra" userId="598e0514-bef3-4e71-b6aa-f2edd6441cff" providerId="ADAL" clId="{D80CB0E3-8ED4-4E1B-83B0-CBE117AF958E}" dt="2022-03-12T04:53:35.815" v="96"/>
          <ac:grpSpMkLst>
            <pc:docMk/>
            <pc:sldMk cId="2445905399" sldId="277"/>
            <ac:grpSpMk id="57" creationId="{CEAB6614-38D5-4B82-8447-B80205D59DC7}"/>
          </ac:grpSpMkLst>
        </pc:grpChg>
        <pc:grpChg chg="del mod">
          <ac:chgData name="Aniket Chhabra" userId="598e0514-bef3-4e71-b6aa-f2edd6441cff" providerId="ADAL" clId="{D80CB0E3-8ED4-4E1B-83B0-CBE117AF958E}" dt="2022-03-12T04:54:09.310" v="156"/>
          <ac:grpSpMkLst>
            <pc:docMk/>
            <pc:sldMk cId="2445905399" sldId="277"/>
            <ac:grpSpMk id="65" creationId="{2BD8A9EC-F271-4AFA-B345-3441E618598C}"/>
          </ac:grpSpMkLst>
        </pc:grpChg>
        <pc:grpChg chg="del mod">
          <ac:chgData name="Aniket Chhabra" userId="598e0514-bef3-4e71-b6aa-f2edd6441cff" providerId="ADAL" clId="{D80CB0E3-8ED4-4E1B-83B0-CBE117AF958E}" dt="2022-03-12T04:54:05.082" v="144"/>
          <ac:grpSpMkLst>
            <pc:docMk/>
            <pc:sldMk cId="2445905399" sldId="277"/>
            <ac:grpSpMk id="79" creationId="{C268134C-EA30-44AA-BB4D-8C0E8C26B66F}"/>
          </ac:grpSpMkLst>
        </pc:grpChg>
        <pc:grpChg chg="del mod">
          <ac:chgData name="Aniket Chhabra" userId="598e0514-bef3-4e71-b6aa-f2edd6441cff" providerId="ADAL" clId="{D80CB0E3-8ED4-4E1B-83B0-CBE117AF958E}" dt="2022-03-12T04:54:05.082" v="144"/>
          <ac:grpSpMkLst>
            <pc:docMk/>
            <pc:sldMk cId="2445905399" sldId="277"/>
            <ac:grpSpMk id="87" creationId="{CCF04BBF-C988-4077-B24D-F3E78EF5E289}"/>
          </ac:grpSpMkLst>
        </pc:grpChg>
        <pc:grpChg chg="del mod">
          <ac:chgData name="Aniket Chhabra" userId="598e0514-bef3-4e71-b6aa-f2edd6441cff" providerId="ADAL" clId="{D80CB0E3-8ED4-4E1B-83B0-CBE117AF958E}" dt="2022-03-12T04:54:07.043" v="152"/>
          <ac:grpSpMkLst>
            <pc:docMk/>
            <pc:sldMk cId="2445905399" sldId="277"/>
            <ac:grpSpMk id="88" creationId="{AC7EBD64-E171-473A-A8A9-9C58FF48FFC4}"/>
          </ac:grpSpMkLst>
        </pc:grpChg>
        <pc:grpChg chg="del mod">
          <ac:chgData name="Aniket Chhabra" userId="598e0514-bef3-4e71-b6aa-f2edd6441cff" providerId="ADAL" clId="{D80CB0E3-8ED4-4E1B-83B0-CBE117AF958E}" dt="2022-03-12T04:54:12.300" v="164"/>
          <ac:grpSpMkLst>
            <pc:docMk/>
            <pc:sldMk cId="2445905399" sldId="277"/>
            <ac:grpSpMk id="91" creationId="{F0E50099-173D-402E-B638-A400F95A64FD}"/>
          </ac:grpSpMkLst>
        </pc:grpChg>
        <pc:grpChg chg="mod">
          <ac:chgData name="Aniket Chhabra" userId="598e0514-bef3-4e71-b6aa-f2edd6441cff" providerId="ADAL" clId="{D80CB0E3-8ED4-4E1B-83B0-CBE117AF958E}" dt="2022-03-12T04:54:12.300" v="164"/>
          <ac:grpSpMkLst>
            <pc:docMk/>
            <pc:sldMk cId="2445905399" sldId="277"/>
            <ac:grpSpMk id="99" creationId="{B7305AF5-F3CD-43FB-91CE-08D193985454}"/>
          </ac:grpSpMkLst>
        </pc:grpChg>
        <pc:grpChg chg="mod">
          <ac:chgData name="Aniket Chhabra" userId="598e0514-bef3-4e71-b6aa-f2edd6441cff" providerId="ADAL" clId="{D80CB0E3-8ED4-4E1B-83B0-CBE117AF958E}" dt="2022-03-12T04:55:09.745" v="185"/>
          <ac:grpSpMkLst>
            <pc:docMk/>
            <pc:sldMk cId="2445905399" sldId="277"/>
            <ac:grpSpMk id="119" creationId="{714CC2CC-658E-4F81-8C67-BD5CC863B639}"/>
          </ac:grpSpMkLst>
        </pc:grpChg>
        <pc:grpChg chg="mod">
          <ac:chgData name="Aniket Chhabra" userId="598e0514-bef3-4e71-b6aa-f2edd6441cff" providerId="ADAL" clId="{D80CB0E3-8ED4-4E1B-83B0-CBE117AF958E}" dt="2022-03-12T05:01:02.869" v="307"/>
          <ac:grpSpMkLst>
            <pc:docMk/>
            <pc:sldMk cId="2445905399" sldId="277"/>
            <ac:grpSpMk id="139" creationId="{85992006-3D79-44EB-AD0A-5782A0C64ECD}"/>
          </ac:grpSpMkLst>
        </pc:grpChg>
        <pc:grpChg chg="mod">
          <ac:chgData name="Aniket Chhabra" userId="598e0514-bef3-4e71-b6aa-f2edd6441cff" providerId="ADAL" clId="{D80CB0E3-8ED4-4E1B-83B0-CBE117AF958E}" dt="2022-03-12T05:01:02.869" v="307"/>
          <ac:grpSpMkLst>
            <pc:docMk/>
            <pc:sldMk cId="2445905399" sldId="277"/>
            <ac:grpSpMk id="140" creationId="{A51BA879-2B15-4023-A215-942524E927DD}"/>
          </ac:grpSpMkLst>
        </pc:grpChg>
        <pc:grpChg chg="mod">
          <ac:chgData name="Aniket Chhabra" userId="598e0514-bef3-4e71-b6aa-f2edd6441cff" providerId="ADAL" clId="{D80CB0E3-8ED4-4E1B-83B0-CBE117AF958E}" dt="2022-03-12T05:01:02.869" v="307"/>
          <ac:grpSpMkLst>
            <pc:docMk/>
            <pc:sldMk cId="2445905399" sldId="277"/>
            <ac:grpSpMk id="141" creationId="{CBDA5BBE-8A9A-48B8-A077-2C5AB6CF8DDA}"/>
          </ac:grpSpMkLst>
        </pc:grpChg>
        <pc:picChg chg="add del">
          <ac:chgData name="Aniket Chhabra" userId="598e0514-bef3-4e71-b6aa-f2edd6441cff" providerId="ADAL" clId="{D80CB0E3-8ED4-4E1B-83B0-CBE117AF958E}" dt="2022-03-12T04:51:38.452" v="26" actId="478"/>
          <ac:picMkLst>
            <pc:docMk/>
            <pc:sldMk cId="2445905399" sldId="277"/>
            <ac:picMk id="3" creationId="{F2FC3DD7-F72D-4930-A101-EF92F63B2523}"/>
          </ac:picMkLst>
        </pc:picChg>
        <pc:picChg chg="add del">
          <ac:chgData name="Aniket Chhabra" userId="598e0514-bef3-4e71-b6aa-f2edd6441cff" providerId="ADAL" clId="{D80CB0E3-8ED4-4E1B-83B0-CBE117AF958E}" dt="2022-03-12T04:51:37.300" v="25" actId="22"/>
          <ac:picMkLst>
            <pc:docMk/>
            <pc:sldMk cId="2445905399" sldId="277"/>
            <ac:picMk id="6" creationId="{57FD09A3-CB7C-492F-A518-26A53C8216E9}"/>
          </ac:picMkLst>
        </pc:picChg>
        <pc:picChg chg="add del">
          <ac:chgData name="Aniket Chhabra" userId="598e0514-bef3-4e71-b6aa-f2edd6441cff" providerId="ADAL" clId="{D80CB0E3-8ED4-4E1B-83B0-CBE117AF958E}" dt="2022-03-12T04:52:18.962" v="35" actId="478"/>
          <ac:picMkLst>
            <pc:docMk/>
            <pc:sldMk cId="2445905399" sldId="277"/>
            <ac:picMk id="8" creationId="{5DF9F657-97F7-4E07-B755-968C9FBDA0E2}"/>
          </ac:picMkLst>
        </pc:picChg>
        <pc:picChg chg="add del">
          <ac:chgData name="Aniket Chhabra" userId="598e0514-bef3-4e71-b6aa-f2edd6441cff" providerId="ADAL" clId="{D80CB0E3-8ED4-4E1B-83B0-CBE117AF958E}" dt="2022-03-12T04:52:20.172" v="38" actId="22"/>
          <ac:picMkLst>
            <pc:docMk/>
            <pc:sldMk cId="2445905399" sldId="277"/>
            <ac:picMk id="16" creationId="{A13C296F-CC6E-4B06-B7A7-E32FC14BD72B}"/>
          </ac:picMkLst>
        </pc:picChg>
        <pc:picChg chg="add">
          <ac:chgData name="Aniket Chhabra" userId="598e0514-bef3-4e71-b6aa-f2edd6441cff" providerId="ADAL" clId="{D80CB0E3-8ED4-4E1B-83B0-CBE117AF958E}" dt="2022-03-12T04:52:22.884" v="41"/>
          <ac:picMkLst>
            <pc:docMk/>
            <pc:sldMk cId="2445905399" sldId="277"/>
            <ac:picMk id="18" creationId="{DC6B9A37-24F9-4002-8578-93BFB13BF5EE}"/>
          </ac:picMkLst>
        </pc:picChg>
        <pc:inkChg chg="add mod">
          <ac:chgData name="Aniket Chhabra" userId="598e0514-bef3-4e71-b6aa-f2edd6441cff" providerId="ADAL" clId="{D80CB0E3-8ED4-4E1B-83B0-CBE117AF958E}" dt="2022-03-12T04:51:43.756" v="32"/>
          <ac:inkMkLst>
            <pc:docMk/>
            <pc:sldMk cId="2445905399" sldId="277"/>
            <ac:inkMk id="9" creationId="{BFB64548-4CAA-4FD0-A3EB-FE1527B3E123}"/>
          </ac:inkMkLst>
        </pc:inkChg>
        <pc:inkChg chg="add mod">
          <ac:chgData name="Aniket Chhabra" userId="598e0514-bef3-4e71-b6aa-f2edd6441cff" providerId="ADAL" clId="{D80CB0E3-8ED4-4E1B-83B0-CBE117AF958E}" dt="2022-03-12T04:51:43.756" v="32"/>
          <ac:inkMkLst>
            <pc:docMk/>
            <pc:sldMk cId="2445905399" sldId="277"/>
            <ac:inkMk id="10" creationId="{F4D601DD-D8AB-493E-A57E-39C9172BDABF}"/>
          </ac:inkMkLst>
        </pc:inkChg>
        <pc:inkChg chg="add mod">
          <ac:chgData name="Aniket Chhabra" userId="598e0514-bef3-4e71-b6aa-f2edd6441cff" providerId="ADAL" clId="{D80CB0E3-8ED4-4E1B-83B0-CBE117AF958E}" dt="2022-03-12T04:51:43.756" v="32"/>
          <ac:inkMkLst>
            <pc:docMk/>
            <pc:sldMk cId="2445905399" sldId="277"/>
            <ac:inkMk id="11" creationId="{3A323395-E4FD-40E5-A5D9-D6A90837708D}"/>
          </ac:inkMkLst>
        </pc:inkChg>
        <pc:inkChg chg="add del">
          <ac:chgData name="Aniket Chhabra" userId="598e0514-bef3-4e71-b6aa-f2edd6441cff" providerId="ADAL" clId="{D80CB0E3-8ED4-4E1B-83B0-CBE117AF958E}" dt="2022-03-12T04:52:22.370" v="39" actId="478"/>
          <ac:inkMkLst>
            <pc:docMk/>
            <pc:sldMk cId="2445905399" sldId="277"/>
            <ac:inkMk id="13" creationId="{5F54E388-6D80-4E67-AF1C-23B2FA8B91AA}"/>
          </ac:inkMkLst>
        </pc:inkChg>
        <pc:inkChg chg="add del">
          <ac:chgData name="Aniket Chhabra" userId="598e0514-bef3-4e71-b6aa-f2edd6441cff" providerId="ADAL" clId="{D80CB0E3-8ED4-4E1B-83B0-CBE117AF958E}" dt="2022-03-12T04:52:22.370" v="39" actId="478"/>
          <ac:inkMkLst>
            <pc:docMk/>
            <pc:sldMk cId="2445905399" sldId="277"/>
            <ac:inkMk id="14" creationId="{6766B8A0-AFB7-4CF7-9362-F2DEE6B23559}"/>
          </ac:inkMkLst>
        </pc:inkChg>
        <pc:inkChg chg="add">
          <ac:chgData name="Aniket Chhabra" userId="598e0514-bef3-4e71-b6aa-f2edd6441cff" providerId="ADAL" clId="{D80CB0E3-8ED4-4E1B-83B0-CBE117AF958E}" dt="2022-03-12T04:52:26.091" v="42" actId="9405"/>
          <ac:inkMkLst>
            <pc:docMk/>
            <pc:sldMk cId="2445905399" sldId="277"/>
            <ac:inkMk id="19" creationId="{CC1767FD-F1F1-4FAB-B6DD-0A700C0027C8}"/>
          </ac:inkMkLst>
        </pc:inkChg>
        <pc:inkChg chg="add">
          <ac:chgData name="Aniket Chhabra" userId="598e0514-bef3-4e71-b6aa-f2edd6441cff" providerId="ADAL" clId="{D80CB0E3-8ED4-4E1B-83B0-CBE117AF958E}" dt="2022-03-12T04:52:26.419" v="43" actId="9405"/>
          <ac:inkMkLst>
            <pc:docMk/>
            <pc:sldMk cId="2445905399" sldId="277"/>
            <ac:inkMk id="20" creationId="{38ABA823-400C-4254-81DD-141D2FF25E14}"/>
          </ac:inkMkLst>
        </pc:inkChg>
        <pc:inkChg chg="add">
          <ac:chgData name="Aniket Chhabra" userId="598e0514-bef3-4e71-b6aa-f2edd6441cff" providerId="ADAL" clId="{D80CB0E3-8ED4-4E1B-83B0-CBE117AF958E}" dt="2022-03-12T04:52:26.796" v="44" actId="9405"/>
          <ac:inkMkLst>
            <pc:docMk/>
            <pc:sldMk cId="2445905399" sldId="277"/>
            <ac:inkMk id="21" creationId="{09907923-4B70-4BFA-9451-D590F8D77A96}"/>
          </ac:inkMkLst>
        </pc:inkChg>
        <pc:inkChg chg="add mod">
          <ac:chgData name="Aniket Chhabra" userId="598e0514-bef3-4e71-b6aa-f2edd6441cff" providerId="ADAL" clId="{D80CB0E3-8ED4-4E1B-83B0-CBE117AF958E}" dt="2022-03-12T04:52:29.090" v="47"/>
          <ac:inkMkLst>
            <pc:docMk/>
            <pc:sldMk cId="2445905399" sldId="277"/>
            <ac:inkMk id="22" creationId="{53049593-3BA1-4C35-9692-0ED16A083C7E}"/>
          </ac:inkMkLst>
        </pc:inkChg>
        <pc:inkChg chg="add mod">
          <ac:chgData name="Aniket Chhabra" userId="598e0514-bef3-4e71-b6aa-f2edd6441cff" providerId="ADAL" clId="{D80CB0E3-8ED4-4E1B-83B0-CBE117AF958E}" dt="2022-03-12T04:52:29.090" v="47"/>
          <ac:inkMkLst>
            <pc:docMk/>
            <pc:sldMk cId="2445905399" sldId="277"/>
            <ac:inkMk id="23" creationId="{30EC6460-DAAB-486F-B1E1-355DC59EDF5B}"/>
          </ac:inkMkLst>
        </pc:inkChg>
        <pc:inkChg chg="add del mod">
          <ac:chgData name="Aniket Chhabra" userId="598e0514-bef3-4e71-b6aa-f2edd6441cff" providerId="ADAL" clId="{D80CB0E3-8ED4-4E1B-83B0-CBE117AF958E}" dt="2022-03-12T04:52:51.227" v="57"/>
          <ac:inkMkLst>
            <pc:docMk/>
            <pc:sldMk cId="2445905399" sldId="277"/>
            <ac:inkMk id="25" creationId="{16335B2F-09A9-48A8-A9AF-8A0656D03F3F}"/>
          </ac:inkMkLst>
        </pc:inkChg>
        <pc:inkChg chg="add del mod">
          <ac:chgData name="Aniket Chhabra" userId="598e0514-bef3-4e71-b6aa-f2edd6441cff" providerId="ADAL" clId="{D80CB0E3-8ED4-4E1B-83B0-CBE117AF958E}" dt="2022-03-12T04:52:51.226" v="56"/>
          <ac:inkMkLst>
            <pc:docMk/>
            <pc:sldMk cId="2445905399" sldId="277"/>
            <ac:inkMk id="26" creationId="{EA0B3AFB-5EBF-4A01-8AFC-B673C0C5DA7A}"/>
          </ac:inkMkLst>
        </pc:inkChg>
        <pc:inkChg chg="add del mod">
          <ac:chgData name="Aniket Chhabra" userId="598e0514-bef3-4e71-b6aa-f2edd6441cff" providerId="ADAL" clId="{D80CB0E3-8ED4-4E1B-83B0-CBE117AF958E}" dt="2022-03-12T04:52:51.225" v="55"/>
          <ac:inkMkLst>
            <pc:docMk/>
            <pc:sldMk cId="2445905399" sldId="277"/>
            <ac:inkMk id="27" creationId="{1AF1021C-CFF0-4B1B-97F5-56F050E7B4C2}"/>
          </ac:inkMkLst>
        </pc:inkChg>
        <pc:inkChg chg="add mod">
          <ac:chgData name="Aniket Chhabra" userId="598e0514-bef3-4e71-b6aa-f2edd6441cff" providerId="ADAL" clId="{D80CB0E3-8ED4-4E1B-83B0-CBE117AF958E}" dt="2022-03-12T04:52:48.913" v="54"/>
          <ac:inkMkLst>
            <pc:docMk/>
            <pc:sldMk cId="2445905399" sldId="277"/>
            <ac:inkMk id="29" creationId="{CD39D053-9814-4D86-8DE4-54E7E183F622}"/>
          </ac:inkMkLst>
        </pc:inkChg>
        <pc:inkChg chg="add mod">
          <ac:chgData name="Aniket Chhabra" userId="598e0514-bef3-4e71-b6aa-f2edd6441cff" providerId="ADAL" clId="{D80CB0E3-8ED4-4E1B-83B0-CBE117AF958E}" dt="2022-03-12T04:52:48.913" v="54"/>
          <ac:inkMkLst>
            <pc:docMk/>
            <pc:sldMk cId="2445905399" sldId="277"/>
            <ac:inkMk id="30" creationId="{62918F74-275B-469E-A653-C85BC4FB61EF}"/>
          </ac:inkMkLst>
        </pc:inkChg>
        <pc:inkChg chg="add">
          <ac:chgData name="Aniket Chhabra" userId="598e0514-bef3-4e71-b6aa-f2edd6441cff" providerId="ADAL" clId="{D80CB0E3-8ED4-4E1B-83B0-CBE117AF958E}" dt="2022-03-12T04:52:52.833" v="58" actId="9405"/>
          <ac:inkMkLst>
            <pc:docMk/>
            <pc:sldMk cId="2445905399" sldId="277"/>
            <ac:inkMk id="32" creationId="{3235343B-4C0B-4785-9D23-B490B9ACE5AF}"/>
          </ac:inkMkLst>
        </pc:inkChg>
        <pc:inkChg chg="add mod">
          <ac:chgData name="Aniket Chhabra" userId="598e0514-bef3-4e71-b6aa-f2edd6441cff" providerId="ADAL" clId="{D80CB0E3-8ED4-4E1B-83B0-CBE117AF958E}" dt="2022-03-12T04:53:01.134" v="67"/>
          <ac:inkMkLst>
            <pc:docMk/>
            <pc:sldMk cId="2445905399" sldId="277"/>
            <ac:inkMk id="33" creationId="{6F2AE598-F7E8-4F66-A600-7C753456105A}"/>
          </ac:inkMkLst>
        </pc:inkChg>
        <pc:inkChg chg="add mod">
          <ac:chgData name="Aniket Chhabra" userId="598e0514-bef3-4e71-b6aa-f2edd6441cff" providerId="ADAL" clId="{D80CB0E3-8ED4-4E1B-83B0-CBE117AF958E}" dt="2022-03-12T04:53:01.134" v="67"/>
          <ac:inkMkLst>
            <pc:docMk/>
            <pc:sldMk cId="2445905399" sldId="277"/>
            <ac:inkMk id="34" creationId="{937956D5-E99B-487A-9FD9-04F2420FB2A4}"/>
          </ac:inkMkLst>
        </pc:inkChg>
        <pc:inkChg chg="add mod">
          <ac:chgData name="Aniket Chhabra" userId="598e0514-bef3-4e71-b6aa-f2edd6441cff" providerId="ADAL" clId="{D80CB0E3-8ED4-4E1B-83B0-CBE117AF958E}" dt="2022-03-12T04:53:01.134" v="67"/>
          <ac:inkMkLst>
            <pc:docMk/>
            <pc:sldMk cId="2445905399" sldId="277"/>
            <ac:inkMk id="35" creationId="{D4C34A00-2B1C-4F47-961C-547A50246302}"/>
          </ac:inkMkLst>
        </pc:inkChg>
        <pc:inkChg chg="add mod">
          <ac:chgData name="Aniket Chhabra" userId="598e0514-bef3-4e71-b6aa-f2edd6441cff" providerId="ADAL" clId="{D80CB0E3-8ED4-4E1B-83B0-CBE117AF958E}" dt="2022-03-12T04:53:01.134" v="67"/>
          <ac:inkMkLst>
            <pc:docMk/>
            <pc:sldMk cId="2445905399" sldId="277"/>
            <ac:inkMk id="37" creationId="{4B28ED1C-269E-42E1-945F-C12EE545D493}"/>
          </ac:inkMkLst>
        </pc:inkChg>
        <pc:inkChg chg="add mod">
          <ac:chgData name="Aniket Chhabra" userId="598e0514-bef3-4e71-b6aa-f2edd6441cff" providerId="ADAL" clId="{D80CB0E3-8ED4-4E1B-83B0-CBE117AF958E}" dt="2022-03-12T04:53:01.134" v="67"/>
          <ac:inkMkLst>
            <pc:docMk/>
            <pc:sldMk cId="2445905399" sldId="277"/>
            <ac:inkMk id="38" creationId="{B8A076B0-4C67-4AEE-BE8B-37642E4694D4}"/>
          </ac:inkMkLst>
        </pc:inkChg>
        <pc:inkChg chg="add mod">
          <ac:chgData name="Aniket Chhabra" userId="598e0514-bef3-4e71-b6aa-f2edd6441cff" providerId="ADAL" clId="{D80CB0E3-8ED4-4E1B-83B0-CBE117AF958E}" dt="2022-03-12T04:53:01.134" v="67"/>
          <ac:inkMkLst>
            <pc:docMk/>
            <pc:sldMk cId="2445905399" sldId="277"/>
            <ac:inkMk id="39" creationId="{E3229938-2094-49D7-8C45-60A2C111CC2A}"/>
          </ac:inkMkLst>
        </pc:inkChg>
        <pc:inkChg chg="add mod">
          <ac:chgData name="Aniket Chhabra" userId="598e0514-bef3-4e71-b6aa-f2edd6441cff" providerId="ADAL" clId="{D80CB0E3-8ED4-4E1B-83B0-CBE117AF958E}" dt="2022-03-12T04:53:01.134" v="67"/>
          <ac:inkMkLst>
            <pc:docMk/>
            <pc:sldMk cId="2445905399" sldId="277"/>
            <ac:inkMk id="40" creationId="{3D9AEC9A-DCD3-4B4C-B059-4DBE263F747B}"/>
          </ac:inkMkLst>
        </pc:inkChg>
        <pc:inkChg chg="add del">
          <ac:chgData name="Aniket Chhabra" userId="598e0514-bef3-4e71-b6aa-f2edd6441cff" providerId="ADAL" clId="{D80CB0E3-8ED4-4E1B-83B0-CBE117AF958E}" dt="2022-03-12T04:53:16.639" v="73"/>
          <ac:inkMkLst>
            <pc:docMk/>
            <pc:sldMk cId="2445905399" sldId="277"/>
            <ac:inkMk id="42" creationId="{54C782EA-E2F1-4707-A6B9-05D2B57CE50A}"/>
          </ac:inkMkLst>
        </pc:inkChg>
        <pc:inkChg chg="add del">
          <ac:chgData name="Aniket Chhabra" userId="598e0514-bef3-4e71-b6aa-f2edd6441cff" providerId="ADAL" clId="{D80CB0E3-8ED4-4E1B-83B0-CBE117AF958E}" dt="2022-03-12T04:53:16.641" v="75"/>
          <ac:inkMkLst>
            <pc:docMk/>
            <pc:sldMk cId="2445905399" sldId="277"/>
            <ac:inkMk id="43" creationId="{C406C42D-A8E7-4FCC-9C9E-2500A8076BCC}"/>
          </ac:inkMkLst>
        </pc:inkChg>
        <pc:inkChg chg="add del">
          <ac:chgData name="Aniket Chhabra" userId="598e0514-bef3-4e71-b6aa-f2edd6441cff" providerId="ADAL" clId="{D80CB0E3-8ED4-4E1B-83B0-CBE117AF958E}" dt="2022-03-12T04:53:16.639" v="72"/>
          <ac:inkMkLst>
            <pc:docMk/>
            <pc:sldMk cId="2445905399" sldId="277"/>
            <ac:inkMk id="44" creationId="{C3DD7343-9455-499D-8ACC-DC54AFE4592B}"/>
          </ac:inkMkLst>
        </pc:inkChg>
        <pc:inkChg chg="add del">
          <ac:chgData name="Aniket Chhabra" userId="598e0514-bef3-4e71-b6aa-f2edd6441cff" providerId="ADAL" clId="{D80CB0E3-8ED4-4E1B-83B0-CBE117AF958E}" dt="2022-03-12T04:53:16.640" v="74"/>
          <ac:inkMkLst>
            <pc:docMk/>
            <pc:sldMk cId="2445905399" sldId="277"/>
            <ac:inkMk id="45" creationId="{CCE0E0EC-F042-4CAE-B82A-E27D52A952E5}"/>
          </ac:inkMkLst>
        </pc:inkChg>
        <pc:inkChg chg="add">
          <ac:chgData name="Aniket Chhabra" userId="598e0514-bef3-4e71-b6aa-f2edd6441cff" providerId="ADAL" clId="{D80CB0E3-8ED4-4E1B-83B0-CBE117AF958E}" dt="2022-03-12T04:53:18.756" v="76" actId="9405"/>
          <ac:inkMkLst>
            <pc:docMk/>
            <pc:sldMk cId="2445905399" sldId="277"/>
            <ac:inkMk id="46" creationId="{E0D0F22C-76D6-4B9F-868A-8AC182ED8FD8}"/>
          </ac:inkMkLst>
        </pc:inkChg>
        <pc:inkChg chg="add del mod">
          <ac:chgData name="Aniket Chhabra" userId="598e0514-bef3-4e71-b6aa-f2edd6441cff" providerId="ADAL" clId="{D80CB0E3-8ED4-4E1B-83B0-CBE117AF958E}" dt="2022-03-12T04:53:35.810" v="92"/>
          <ac:inkMkLst>
            <pc:docMk/>
            <pc:sldMk cId="2445905399" sldId="277"/>
            <ac:inkMk id="47" creationId="{B2A2453D-0EE6-4BA8-BC93-01AA73CEB777}"/>
          </ac:inkMkLst>
        </pc:inkChg>
        <pc:inkChg chg="add del mod">
          <ac:chgData name="Aniket Chhabra" userId="598e0514-bef3-4e71-b6aa-f2edd6441cff" providerId="ADAL" clId="{D80CB0E3-8ED4-4E1B-83B0-CBE117AF958E}" dt="2022-03-12T04:53:35.814" v="95"/>
          <ac:inkMkLst>
            <pc:docMk/>
            <pc:sldMk cId="2445905399" sldId="277"/>
            <ac:inkMk id="48" creationId="{ACF1BFC1-7F9D-4A87-9014-7B13518E128A}"/>
          </ac:inkMkLst>
        </pc:inkChg>
        <pc:inkChg chg="add del mod">
          <ac:chgData name="Aniket Chhabra" userId="598e0514-bef3-4e71-b6aa-f2edd6441cff" providerId="ADAL" clId="{D80CB0E3-8ED4-4E1B-83B0-CBE117AF958E}" dt="2022-03-12T04:53:35.808" v="91"/>
          <ac:inkMkLst>
            <pc:docMk/>
            <pc:sldMk cId="2445905399" sldId="277"/>
            <ac:inkMk id="49" creationId="{8704789F-5E1A-46D6-B7ED-092AD6BAA0B7}"/>
          </ac:inkMkLst>
        </pc:inkChg>
        <pc:inkChg chg="add del mod">
          <ac:chgData name="Aniket Chhabra" userId="598e0514-bef3-4e71-b6aa-f2edd6441cff" providerId="ADAL" clId="{D80CB0E3-8ED4-4E1B-83B0-CBE117AF958E}" dt="2022-03-12T04:53:35.815" v="96"/>
          <ac:inkMkLst>
            <pc:docMk/>
            <pc:sldMk cId="2445905399" sldId="277"/>
            <ac:inkMk id="50" creationId="{97EB0660-60CB-486B-B87D-AAB1D667A707}"/>
          </ac:inkMkLst>
        </pc:inkChg>
        <pc:inkChg chg="add del mod">
          <ac:chgData name="Aniket Chhabra" userId="598e0514-bef3-4e71-b6aa-f2edd6441cff" providerId="ADAL" clId="{D80CB0E3-8ED4-4E1B-83B0-CBE117AF958E}" dt="2022-03-12T04:53:35.812" v="94"/>
          <ac:inkMkLst>
            <pc:docMk/>
            <pc:sldMk cId="2445905399" sldId="277"/>
            <ac:inkMk id="51" creationId="{FA6E6F75-2BF5-4775-B4CB-4AF44CBD9BF8}"/>
          </ac:inkMkLst>
        </pc:inkChg>
        <pc:inkChg chg="add del mod">
          <ac:chgData name="Aniket Chhabra" userId="598e0514-bef3-4e71-b6aa-f2edd6441cff" providerId="ADAL" clId="{D80CB0E3-8ED4-4E1B-83B0-CBE117AF958E}" dt="2022-03-12T04:53:35.816" v="97"/>
          <ac:inkMkLst>
            <pc:docMk/>
            <pc:sldMk cId="2445905399" sldId="277"/>
            <ac:inkMk id="52" creationId="{CA040C56-F12B-455A-8D70-811F449EE46D}"/>
          </ac:inkMkLst>
        </pc:inkChg>
        <pc:inkChg chg="add del mod">
          <ac:chgData name="Aniket Chhabra" userId="598e0514-bef3-4e71-b6aa-f2edd6441cff" providerId="ADAL" clId="{D80CB0E3-8ED4-4E1B-83B0-CBE117AF958E}" dt="2022-03-12T04:53:35.803" v="88"/>
          <ac:inkMkLst>
            <pc:docMk/>
            <pc:sldMk cId="2445905399" sldId="277"/>
            <ac:inkMk id="53" creationId="{417B2717-70EB-4C70-AB7B-C6F0DCEE33A4}"/>
          </ac:inkMkLst>
        </pc:inkChg>
        <pc:inkChg chg="add del mod">
          <ac:chgData name="Aniket Chhabra" userId="598e0514-bef3-4e71-b6aa-f2edd6441cff" providerId="ADAL" clId="{D80CB0E3-8ED4-4E1B-83B0-CBE117AF958E}" dt="2022-03-12T04:53:35.807" v="90"/>
          <ac:inkMkLst>
            <pc:docMk/>
            <pc:sldMk cId="2445905399" sldId="277"/>
            <ac:inkMk id="54" creationId="{4B3810EC-4482-4FB6-BACB-B454ECCD3671}"/>
          </ac:inkMkLst>
        </pc:inkChg>
        <pc:inkChg chg="add del mod">
          <ac:chgData name="Aniket Chhabra" userId="598e0514-bef3-4e71-b6aa-f2edd6441cff" providerId="ADAL" clId="{D80CB0E3-8ED4-4E1B-83B0-CBE117AF958E}" dt="2022-03-12T04:53:35.811" v="93"/>
          <ac:inkMkLst>
            <pc:docMk/>
            <pc:sldMk cId="2445905399" sldId="277"/>
            <ac:inkMk id="55" creationId="{74363091-80ED-45B1-9CAD-69183B7AB714}"/>
          </ac:inkMkLst>
        </pc:inkChg>
        <pc:inkChg chg="add del mod">
          <ac:chgData name="Aniket Chhabra" userId="598e0514-bef3-4e71-b6aa-f2edd6441cff" providerId="ADAL" clId="{D80CB0E3-8ED4-4E1B-83B0-CBE117AF958E}" dt="2022-03-12T04:53:35.805" v="89"/>
          <ac:inkMkLst>
            <pc:docMk/>
            <pc:sldMk cId="2445905399" sldId="277"/>
            <ac:inkMk id="56" creationId="{804F94CB-38C3-4368-BC09-FB2E03A19AA6}"/>
          </ac:inkMkLst>
        </pc:inkChg>
        <pc:inkChg chg="add mod">
          <ac:chgData name="Aniket Chhabra" userId="598e0514-bef3-4e71-b6aa-f2edd6441cff" providerId="ADAL" clId="{D80CB0E3-8ED4-4E1B-83B0-CBE117AF958E}" dt="2022-03-12T04:54:12.300" v="164"/>
          <ac:inkMkLst>
            <pc:docMk/>
            <pc:sldMk cId="2445905399" sldId="277"/>
            <ac:inkMk id="58" creationId="{4907339E-6C31-4DE0-9ECD-DB91609FEEF7}"/>
          </ac:inkMkLst>
        </pc:inkChg>
        <pc:inkChg chg="add mod">
          <ac:chgData name="Aniket Chhabra" userId="598e0514-bef3-4e71-b6aa-f2edd6441cff" providerId="ADAL" clId="{D80CB0E3-8ED4-4E1B-83B0-CBE117AF958E}" dt="2022-03-12T04:54:12.300" v="164"/>
          <ac:inkMkLst>
            <pc:docMk/>
            <pc:sldMk cId="2445905399" sldId="277"/>
            <ac:inkMk id="59" creationId="{7281B5B7-DDAA-41CF-9815-26DC8E70CAA8}"/>
          </ac:inkMkLst>
        </pc:inkChg>
        <pc:inkChg chg="add del">
          <ac:chgData name="Aniket Chhabra" userId="598e0514-bef3-4e71-b6aa-f2edd6441cff" providerId="ADAL" clId="{D80CB0E3-8ED4-4E1B-83B0-CBE117AF958E}" dt="2022-03-12T04:53:39.834" v="108"/>
          <ac:inkMkLst>
            <pc:docMk/>
            <pc:sldMk cId="2445905399" sldId="277"/>
            <ac:inkMk id="60" creationId="{945138A4-B237-4974-B9E4-32E43D8F3233}"/>
          </ac:inkMkLst>
        </pc:inkChg>
        <pc:inkChg chg="add del">
          <ac:chgData name="Aniket Chhabra" userId="598e0514-bef3-4e71-b6aa-f2edd6441cff" providerId="ADAL" clId="{D80CB0E3-8ED4-4E1B-83B0-CBE117AF958E}" dt="2022-03-12T04:53:39.831" v="105"/>
          <ac:inkMkLst>
            <pc:docMk/>
            <pc:sldMk cId="2445905399" sldId="277"/>
            <ac:inkMk id="61" creationId="{DC00FF06-53BD-4FCC-A069-FEFDD44AF0F4}"/>
          </ac:inkMkLst>
        </pc:inkChg>
        <pc:inkChg chg="add del">
          <ac:chgData name="Aniket Chhabra" userId="598e0514-bef3-4e71-b6aa-f2edd6441cff" providerId="ADAL" clId="{D80CB0E3-8ED4-4E1B-83B0-CBE117AF958E}" dt="2022-03-12T04:53:39.832" v="106"/>
          <ac:inkMkLst>
            <pc:docMk/>
            <pc:sldMk cId="2445905399" sldId="277"/>
            <ac:inkMk id="62" creationId="{7AF6702C-CD21-4331-AA49-CE6089A4BC3C}"/>
          </ac:inkMkLst>
        </pc:inkChg>
        <pc:inkChg chg="add del">
          <ac:chgData name="Aniket Chhabra" userId="598e0514-bef3-4e71-b6aa-f2edd6441cff" providerId="ADAL" clId="{D80CB0E3-8ED4-4E1B-83B0-CBE117AF958E}" dt="2022-03-12T04:53:39.833" v="107"/>
          <ac:inkMkLst>
            <pc:docMk/>
            <pc:sldMk cId="2445905399" sldId="277"/>
            <ac:inkMk id="63" creationId="{707A8849-AC90-478D-896C-06CB1BC36EDA}"/>
          </ac:inkMkLst>
        </pc:inkChg>
        <pc:inkChg chg="add del">
          <ac:chgData name="Aniket Chhabra" userId="598e0514-bef3-4e71-b6aa-f2edd6441cff" providerId="ADAL" clId="{D80CB0E3-8ED4-4E1B-83B0-CBE117AF958E}" dt="2022-03-12T04:53:39.835" v="109"/>
          <ac:inkMkLst>
            <pc:docMk/>
            <pc:sldMk cId="2445905399" sldId="277"/>
            <ac:inkMk id="64" creationId="{7C786BFB-B085-4EB1-B7A4-5AFA23973D33}"/>
          </ac:inkMkLst>
        </pc:inkChg>
        <pc:inkChg chg="add del">
          <ac:chgData name="Aniket Chhabra" userId="598e0514-bef3-4e71-b6aa-f2edd6441cff" providerId="ADAL" clId="{D80CB0E3-8ED4-4E1B-83B0-CBE117AF958E}" dt="2022-03-12T04:53:45.866" v="112"/>
          <ac:inkMkLst>
            <pc:docMk/>
            <pc:sldMk cId="2445905399" sldId="277"/>
            <ac:inkMk id="66" creationId="{2C793F86-C1B9-49E2-9DEE-42B0C032F4D4}"/>
          </ac:inkMkLst>
        </pc:inkChg>
        <pc:inkChg chg="add del">
          <ac:chgData name="Aniket Chhabra" userId="598e0514-bef3-4e71-b6aa-f2edd6441cff" providerId="ADAL" clId="{D80CB0E3-8ED4-4E1B-83B0-CBE117AF958E}" dt="2022-03-12T04:53:56.714" v="123"/>
          <ac:inkMkLst>
            <pc:docMk/>
            <pc:sldMk cId="2445905399" sldId="277"/>
            <ac:inkMk id="67" creationId="{29D6384B-DF9F-49E6-870E-6B955EFDE778}"/>
          </ac:inkMkLst>
        </pc:inkChg>
        <pc:inkChg chg="add del">
          <ac:chgData name="Aniket Chhabra" userId="598e0514-bef3-4e71-b6aa-f2edd6441cff" providerId="ADAL" clId="{D80CB0E3-8ED4-4E1B-83B0-CBE117AF958E}" dt="2022-03-12T04:53:56.715" v="124"/>
          <ac:inkMkLst>
            <pc:docMk/>
            <pc:sldMk cId="2445905399" sldId="277"/>
            <ac:inkMk id="68" creationId="{2B0F7A41-1446-4A21-BC53-43C3C1CC5329}"/>
          </ac:inkMkLst>
        </pc:inkChg>
        <pc:inkChg chg="add del">
          <ac:chgData name="Aniket Chhabra" userId="598e0514-bef3-4e71-b6aa-f2edd6441cff" providerId="ADAL" clId="{D80CB0E3-8ED4-4E1B-83B0-CBE117AF958E}" dt="2022-03-12T04:53:56.713" v="122"/>
          <ac:inkMkLst>
            <pc:docMk/>
            <pc:sldMk cId="2445905399" sldId="277"/>
            <ac:inkMk id="69" creationId="{5842554B-D388-4877-83C4-134FE0785558}"/>
          </ac:inkMkLst>
        </pc:inkChg>
        <pc:inkChg chg="add del">
          <ac:chgData name="Aniket Chhabra" userId="598e0514-bef3-4e71-b6aa-f2edd6441cff" providerId="ADAL" clId="{D80CB0E3-8ED4-4E1B-83B0-CBE117AF958E}" dt="2022-03-12T04:53:56.710" v="120"/>
          <ac:inkMkLst>
            <pc:docMk/>
            <pc:sldMk cId="2445905399" sldId="277"/>
            <ac:inkMk id="70" creationId="{240F33C7-C6ED-4AFA-9736-5D63B371550F}"/>
          </ac:inkMkLst>
        </pc:inkChg>
        <pc:inkChg chg="add del mod">
          <ac:chgData name="Aniket Chhabra" userId="598e0514-bef3-4e71-b6aa-f2edd6441cff" providerId="ADAL" clId="{D80CB0E3-8ED4-4E1B-83B0-CBE117AF958E}" dt="2022-03-12T04:53:57.970" v="127"/>
          <ac:inkMkLst>
            <pc:docMk/>
            <pc:sldMk cId="2445905399" sldId="277"/>
            <ac:inkMk id="71" creationId="{E64FE012-A1BC-47E3-95C2-4CBC1D83913F}"/>
          </ac:inkMkLst>
        </pc:inkChg>
        <pc:inkChg chg="add del">
          <ac:chgData name="Aniket Chhabra" userId="598e0514-bef3-4e71-b6aa-f2edd6441cff" providerId="ADAL" clId="{D80CB0E3-8ED4-4E1B-83B0-CBE117AF958E}" dt="2022-03-12T04:53:56.716" v="125"/>
          <ac:inkMkLst>
            <pc:docMk/>
            <pc:sldMk cId="2445905399" sldId="277"/>
            <ac:inkMk id="72" creationId="{97944E71-553F-4783-ADE9-E619EF72F010}"/>
          </ac:inkMkLst>
        </pc:inkChg>
        <pc:inkChg chg="add del">
          <ac:chgData name="Aniket Chhabra" userId="598e0514-bef3-4e71-b6aa-f2edd6441cff" providerId="ADAL" clId="{D80CB0E3-8ED4-4E1B-83B0-CBE117AF958E}" dt="2022-03-12T04:53:56.717" v="126"/>
          <ac:inkMkLst>
            <pc:docMk/>
            <pc:sldMk cId="2445905399" sldId="277"/>
            <ac:inkMk id="73" creationId="{1A4CF3CA-8F64-46B7-B9DF-B9FA24373A08}"/>
          </ac:inkMkLst>
        </pc:inkChg>
        <pc:inkChg chg="add del mod">
          <ac:chgData name="Aniket Chhabra" userId="598e0514-bef3-4e71-b6aa-f2edd6441cff" providerId="ADAL" clId="{D80CB0E3-8ED4-4E1B-83B0-CBE117AF958E}" dt="2022-03-12T04:54:07.042" v="151"/>
          <ac:inkMkLst>
            <pc:docMk/>
            <pc:sldMk cId="2445905399" sldId="277"/>
            <ac:inkMk id="74" creationId="{14CFE07A-BD04-4483-872B-0F1978F58EA3}"/>
          </ac:inkMkLst>
        </pc:inkChg>
        <pc:inkChg chg="add del mod">
          <ac:chgData name="Aniket Chhabra" userId="598e0514-bef3-4e71-b6aa-f2edd6441cff" providerId="ADAL" clId="{D80CB0E3-8ED4-4E1B-83B0-CBE117AF958E}" dt="2022-03-12T04:54:07.034" v="146"/>
          <ac:inkMkLst>
            <pc:docMk/>
            <pc:sldMk cId="2445905399" sldId="277"/>
            <ac:inkMk id="75" creationId="{957F8DE1-34AC-423C-AAD8-5D59C9E0B0FA}"/>
          </ac:inkMkLst>
        </pc:inkChg>
        <pc:inkChg chg="add del">
          <ac:chgData name="Aniket Chhabra" userId="598e0514-bef3-4e71-b6aa-f2edd6441cff" providerId="ADAL" clId="{D80CB0E3-8ED4-4E1B-83B0-CBE117AF958E}" dt="2022-03-12T04:54:01.104" v="135"/>
          <ac:inkMkLst>
            <pc:docMk/>
            <pc:sldMk cId="2445905399" sldId="277"/>
            <ac:inkMk id="76" creationId="{20119BAF-7C12-4EDE-8481-4B8F0FB2F0AB}"/>
          </ac:inkMkLst>
        </pc:inkChg>
        <pc:inkChg chg="add del">
          <ac:chgData name="Aniket Chhabra" userId="598e0514-bef3-4e71-b6aa-f2edd6441cff" providerId="ADAL" clId="{D80CB0E3-8ED4-4E1B-83B0-CBE117AF958E}" dt="2022-03-12T04:54:01.101" v="133"/>
          <ac:inkMkLst>
            <pc:docMk/>
            <pc:sldMk cId="2445905399" sldId="277"/>
            <ac:inkMk id="77" creationId="{B92694A1-E1B5-4E48-9178-7D2F2F69DCB2}"/>
          </ac:inkMkLst>
        </pc:inkChg>
        <pc:inkChg chg="add del">
          <ac:chgData name="Aniket Chhabra" userId="598e0514-bef3-4e71-b6aa-f2edd6441cff" providerId="ADAL" clId="{D80CB0E3-8ED4-4E1B-83B0-CBE117AF958E}" dt="2022-03-12T04:54:01.103" v="134"/>
          <ac:inkMkLst>
            <pc:docMk/>
            <pc:sldMk cId="2445905399" sldId="277"/>
            <ac:inkMk id="78" creationId="{FF9D78AF-2D3D-43EC-80F5-E59C136DDF9A}"/>
          </ac:inkMkLst>
        </pc:inkChg>
        <pc:inkChg chg="add del mod">
          <ac:chgData name="Aniket Chhabra" userId="598e0514-bef3-4e71-b6aa-f2edd6441cff" providerId="ADAL" clId="{D80CB0E3-8ED4-4E1B-83B0-CBE117AF958E}" dt="2022-03-12T04:54:07.043" v="152"/>
          <ac:inkMkLst>
            <pc:docMk/>
            <pc:sldMk cId="2445905399" sldId="277"/>
            <ac:inkMk id="80" creationId="{101663EC-D9EE-4423-8BB9-679C9156DC7A}"/>
          </ac:inkMkLst>
        </pc:inkChg>
        <pc:inkChg chg="add del mod">
          <ac:chgData name="Aniket Chhabra" userId="598e0514-bef3-4e71-b6aa-f2edd6441cff" providerId="ADAL" clId="{D80CB0E3-8ED4-4E1B-83B0-CBE117AF958E}" dt="2022-03-12T04:54:07.039" v="149"/>
          <ac:inkMkLst>
            <pc:docMk/>
            <pc:sldMk cId="2445905399" sldId="277"/>
            <ac:inkMk id="81" creationId="{619D4A57-75BA-45CD-A7FC-34C3D24573A8}"/>
          </ac:inkMkLst>
        </pc:inkChg>
        <pc:inkChg chg="add del mod">
          <ac:chgData name="Aniket Chhabra" userId="598e0514-bef3-4e71-b6aa-f2edd6441cff" providerId="ADAL" clId="{D80CB0E3-8ED4-4E1B-83B0-CBE117AF958E}" dt="2022-03-12T04:54:07.040" v="150"/>
          <ac:inkMkLst>
            <pc:docMk/>
            <pc:sldMk cId="2445905399" sldId="277"/>
            <ac:inkMk id="82" creationId="{0DCC0F88-D84E-4887-8E2E-83B5450AB8E2}"/>
          </ac:inkMkLst>
        </pc:inkChg>
        <pc:inkChg chg="add del mod">
          <ac:chgData name="Aniket Chhabra" userId="598e0514-bef3-4e71-b6aa-f2edd6441cff" providerId="ADAL" clId="{D80CB0E3-8ED4-4E1B-83B0-CBE117AF958E}" dt="2022-03-12T04:54:07.036" v="147"/>
          <ac:inkMkLst>
            <pc:docMk/>
            <pc:sldMk cId="2445905399" sldId="277"/>
            <ac:inkMk id="83" creationId="{498E50BD-55FC-4A19-B6C2-0BE5860E52D0}"/>
          </ac:inkMkLst>
        </pc:inkChg>
        <pc:inkChg chg="add del mod">
          <ac:chgData name="Aniket Chhabra" userId="598e0514-bef3-4e71-b6aa-f2edd6441cff" providerId="ADAL" clId="{D80CB0E3-8ED4-4E1B-83B0-CBE117AF958E}" dt="2022-03-12T04:54:07.037" v="148"/>
          <ac:inkMkLst>
            <pc:docMk/>
            <pc:sldMk cId="2445905399" sldId="277"/>
            <ac:inkMk id="84" creationId="{3286D4CF-7B46-4831-9C26-0FDA75F060DB}"/>
          </ac:inkMkLst>
        </pc:inkChg>
        <pc:inkChg chg="add del mod">
          <ac:chgData name="Aniket Chhabra" userId="598e0514-bef3-4e71-b6aa-f2edd6441cff" providerId="ADAL" clId="{D80CB0E3-8ED4-4E1B-83B0-CBE117AF958E}" dt="2022-03-12T04:54:07.032" v="145"/>
          <ac:inkMkLst>
            <pc:docMk/>
            <pc:sldMk cId="2445905399" sldId="277"/>
            <ac:inkMk id="85" creationId="{FA4DFAC0-4951-4F6C-81B8-18A66D23AAD8}"/>
          </ac:inkMkLst>
        </pc:inkChg>
        <pc:inkChg chg="add del mod">
          <ac:chgData name="Aniket Chhabra" userId="598e0514-bef3-4e71-b6aa-f2edd6441cff" providerId="ADAL" clId="{D80CB0E3-8ED4-4E1B-83B0-CBE117AF958E}" dt="2022-03-12T04:54:07.045" v="153"/>
          <ac:inkMkLst>
            <pc:docMk/>
            <pc:sldMk cId="2445905399" sldId="277"/>
            <ac:inkMk id="86" creationId="{3CB817AC-DFEB-42B7-8894-404C5EBB0976}"/>
          </ac:inkMkLst>
        </pc:inkChg>
        <pc:inkChg chg="add mod">
          <ac:chgData name="Aniket Chhabra" userId="598e0514-bef3-4e71-b6aa-f2edd6441cff" providerId="ADAL" clId="{D80CB0E3-8ED4-4E1B-83B0-CBE117AF958E}" dt="2022-03-12T04:54:12.300" v="164"/>
          <ac:inkMkLst>
            <pc:docMk/>
            <pc:sldMk cId="2445905399" sldId="277"/>
            <ac:inkMk id="89" creationId="{A13BD9C7-F8D4-40F4-A4B9-25AC7F90E622}"/>
          </ac:inkMkLst>
        </pc:inkChg>
        <pc:inkChg chg="add mod">
          <ac:chgData name="Aniket Chhabra" userId="598e0514-bef3-4e71-b6aa-f2edd6441cff" providerId="ADAL" clId="{D80CB0E3-8ED4-4E1B-83B0-CBE117AF958E}" dt="2022-03-12T04:54:12.300" v="164"/>
          <ac:inkMkLst>
            <pc:docMk/>
            <pc:sldMk cId="2445905399" sldId="277"/>
            <ac:inkMk id="90" creationId="{F2B51BE7-916E-493B-AD74-70D297293F1D}"/>
          </ac:inkMkLst>
        </pc:inkChg>
        <pc:inkChg chg="add mod">
          <ac:chgData name="Aniket Chhabra" userId="598e0514-bef3-4e71-b6aa-f2edd6441cff" providerId="ADAL" clId="{D80CB0E3-8ED4-4E1B-83B0-CBE117AF958E}" dt="2022-03-12T04:54:12.300" v="164"/>
          <ac:inkMkLst>
            <pc:docMk/>
            <pc:sldMk cId="2445905399" sldId="277"/>
            <ac:inkMk id="92" creationId="{F7B7884C-30F3-4C73-927E-028B97870941}"/>
          </ac:inkMkLst>
        </pc:inkChg>
        <pc:inkChg chg="add mod">
          <ac:chgData name="Aniket Chhabra" userId="598e0514-bef3-4e71-b6aa-f2edd6441cff" providerId="ADAL" clId="{D80CB0E3-8ED4-4E1B-83B0-CBE117AF958E}" dt="2022-03-12T04:54:12.300" v="164"/>
          <ac:inkMkLst>
            <pc:docMk/>
            <pc:sldMk cId="2445905399" sldId="277"/>
            <ac:inkMk id="93" creationId="{7FD90FA7-8A03-4CC2-BDC2-4C2D72C838AA}"/>
          </ac:inkMkLst>
        </pc:inkChg>
        <pc:inkChg chg="add mod">
          <ac:chgData name="Aniket Chhabra" userId="598e0514-bef3-4e71-b6aa-f2edd6441cff" providerId="ADAL" clId="{D80CB0E3-8ED4-4E1B-83B0-CBE117AF958E}" dt="2022-03-12T04:54:12.300" v="164"/>
          <ac:inkMkLst>
            <pc:docMk/>
            <pc:sldMk cId="2445905399" sldId="277"/>
            <ac:inkMk id="94" creationId="{34E6C586-58A5-48CF-9E51-FD1ACCF49A4C}"/>
          </ac:inkMkLst>
        </pc:inkChg>
        <pc:inkChg chg="add mod">
          <ac:chgData name="Aniket Chhabra" userId="598e0514-bef3-4e71-b6aa-f2edd6441cff" providerId="ADAL" clId="{D80CB0E3-8ED4-4E1B-83B0-CBE117AF958E}" dt="2022-03-12T04:54:12.300" v="164"/>
          <ac:inkMkLst>
            <pc:docMk/>
            <pc:sldMk cId="2445905399" sldId="277"/>
            <ac:inkMk id="95" creationId="{AF9C540C-C27C-4243-BE24-85F7EFD51316}"/>
          </ac:inkMkLst>
        </pc:inkChg>
        <pc:inkChg chg="add mod">
          <ac:chgData name="Aniket Chhabra" userId="598e0514-bef3-4e71-b6aa-f2edd6441cff" providerId="ADAL" clId="{D80CB0E3-8ED4-4E1B-83B0-CBE117AF958E}" dt="2022-03-12T04:54:12.300" v="164"/>
          <ac:inkMkLst>
            <pc:docMk/>
            <pc:sldMk cId="2445905399" sldId="277"/>
            <ac:inkMk id="96" creationId="{5831BD82-4861-47E0-BC34-E12CA129246F}"/>
          </ac:inkMkLst>
        </pc:inkChg>
        <pc:inkChg chg="add mod">
          <ac:chgData name="Aniket Chhabra" userId="598e0514-bef3-4e71-b6aa-f2edd6441cff" providerId="ADAL" clId="{D80CB0E3-8ED4-4E1B-83B0-CBE117AF958E}" dt="2022-03-12T04:54:12.300" v="164"/>
          <ac:inkMkLst>
            <pc:docMk/>
            <pc:sldMk cId="2445905399" sldId="277"/>
            <ac:inkMk id="97" creationId="{3C7215F2-4046-4DCA-B474-2E90E916907D}"/>
          </ac:inkMkLst>
        </pc:inkChg>
        <pc:inkChg chg="add mod">
          <ac:chgData name="Aniket Chhabra" userId="598e0514-bef3-4e71-b6aa-f2edd6441cff" providerId="ADAL" clId="{D80CB0E3-8ED4-4E1B-83B0-CBE117AF958E}" dt="2022-03-12T04:54:12.300" v="164"/>
          <ac:inkMkLst>
            <pc:docMk/>
            <pc:sldMk cId="2445905399" sldId="277"/>
            <ac:inkMk id="98" creationId="{848EADB9-F799-4679-836E-10D8574189EE}"/>
          </ac:inkMkLst>
        </pc:inkChg>
        <pc:inkChg chg="add del">
          <ac:chgData name="Aniket Chhabra" userId="598e0514-bef3-4e71-b6aa-f2edd6441cff" providerId="ADAL" clId="{D80CB0E3-8ED4-4E1B-83B0-CBE117AF958E}" dt="2022-03-12T04:54:31.113" v="166"/>
          <ac:inkMkLst>
            <pc:docMk/>
            <pc:sldMk cId="2445905399" sldId="277"/>
            <ac:inkMk id="100" creationId="{1EAAAC90-EA1F-4957-BA8A-62297FC4E904}"/>
          </ac:inkMkLst>
        </pc:inkChg>
        <pc:inkChg chg="add">
          <ac:chgData name="Aniket Chhabra" userId="598e0514-bef3-4e71-b6aa-f2edd6441cff" providerId="ADAL" clId="{D80CB0E3-8ED4-4E1B-83B0-CBE117AF958E}" dt="2022-03-12T04:54:36.844" v="167" actId="9405"/>
          <ac:inkMkLst>
            <pc:docMk/>
            <pc:sldMk cId="2445905399" sldId="277"/>
            <ac:inkMk id="101" creationId="{AB261026-6A7A-45B4-BC78-A109C81CA6EE}"/>
          </ac:inkMkLst>
        </pc:inkChg>
        <pc:inkChg chg="add">
          <ac:chgData name="Aniket Chhabra" userId="598e0514-bef3-4e71-b6aa-f2edd6441cff" providerId="ADAL" clId="{D80CB0E3-8ED4-4E1B-83B0-CBE117AF958E}" dt="2022-03-12T04:54:42.972" v="168" actId="9405"/>
          <ac:inkMkLst>
            <pc:docMk/>
            <pc:sldMk cId="2445905399" sldId="277"/>
            <ac:inkMk id="102" creationId="{046109A2-6BC1-400B-A6DE-37924AE4738A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03" creationId="{1A15D947-0828-45A9-BE04-D29CE7712EC2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04" creationId="{32A795A7-DF34-4465-9A16-A53DF278A687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05" creationId="{8634D26A-CFA3-460C-81DB-C437E9DB8951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06" creationId="{FD116EF4-E476-44B5-A7C6-D0DB433DD123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07" creationId="{0EA9121E-A1B0-4349-9513-D2B29A5610C4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08" creationId="{9C9D54E2-9868-4B20-AA91-85CE0E458057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09" creationId="{0C66565E-2721-4150-914A-7C7979371444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10" creationId="{D29C11A9-8F24-4F02-BB2B-27EF5A4E70EB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11" creationId="{D96F8766-3162-4C61-8823-6A587AE9BF35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12" creationId="{52D1B8A4-5E5E-44A6-8D74-80C4FEC99A61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13" creationId="{041E4CB4-F3A1-439A-919A-4AE6DBF07A64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14" creationId="{891539DE-E878-4A6E-B76F-4DC9FC9A3983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15" creationId="{76F0BD6E-2F12-45FC-94C6-D23B4485096E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16" creationId="{FF4154A8-092B-4DA8-9486-1DBB6E07325C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17" creationId="{0BB03CD5-6A00-4D8D-BF3B-3C992D324804}"/>
          </ac:inkMkLst>
        </pc:inkChg>
        <pc:inkChg chg="add mod">
          <ac:chgData name="Aniket Chhabra" userId="598e0514-bef3-4e71-b6aa-f2edd6441cff" providerId="ADAL" clId="{D80CB0E3-8ED4-4E1B-83B0-CBE117AF958E}" dt="2022-03-12T04:55:09.745" v="185"/>
          <ac:inkMkLst>
            <pc:docMk/>
            <pc:sldMk cId="2445905399" sldId="277"/>
            <ac:inkMk id="118" creationId="{058BF580-75B8-4E82-8314-549CCACB7D05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20" creationId="{4D754781-C705-41C6-89D7-5871FF2536C1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21" creationId="{D97DAAAF-C08C-454E-A2C2-F1AA0612033F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22" creationId="{F049F074-B0EA-4F50-B574-452DEAEE2040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23" creationId="{C5EA660F-B9B0-44AE-B557-77A63B568069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24" creationId="{A6734172-0F5F-4A71-B415-FA0D21194EE4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25" creationId="{E3628824-F804-4F08-8273-BEB84AB6083D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26" creationId="{A8FD775E-199B-430D-9DB1-564949CF227E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27" creationId="{9C8F1BBB-C008-40C1-9DDA-38A9A037F0BB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28" creationId="{7C3E0354-3C4C-437B-B19F-1343101C11D1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29" creationId="{543AFA94-A773-4A0A-94B5-B8A20640E57B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30" creationId="{2C149584-0268-4F2D-8EBF-982DA2B57956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31" creationId="{4B6D2BB5-56B2-408E-88EC-BE3C88C3FB8C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32" creationId="{52D9BD12-B693-4F2A-85A6-C8A5C360781C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33" creationId="{43B6E3F3-EA89-4490-9E8C-0E3087FC7130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34" creationId="{96326E21-4B12-47D9-8B5E-6E28D078F010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35" creationId="{56B0DFA3-403F-4DA4-A7BC-2526B36041C1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36" creationId="{0A743DC4-0394-478C-A5E8-8DECABC49CBE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37" creationId="{192DC3CD-2E95-4F32-8D68-A70AD0151C3A}"/>
          </ac:inkMkLst>
        </pc:inkChg>
        <pc:inkChg chg="add mod">
          <ac:chgData name="Aniket Chhabra" userId="598e0514-bef3-4e71-b6aa-f2edd6441cff" providerId="ADAL" clId="{D80CB0E3-8ED4-4E1B-83B0-CBE117AF958E}" dt="2022-03-12T05:01:02.869" v="307"/>
          <ac:inkMkLst>
            <pc:docMk/>
            <pc:sldMk cId="2445905399" sldId="277"/>
            <ac:inkMk id="138" creationId="{3DDC6B32-6EEB-4F8B-8CA1-E6A9940CB382}"/>
          </ac:inkMkLst>
        </pc:inkChg>
      </pc:sldChg>
      <pc:sldChg chg="addSp delSp modSp mod">
        <pc:chgData name="Aniket Chhabra" userId="598e0514-bef3-4e71-b6aa-f2edd6441cff" providerId="ADAL" clId="{D80CB0E3-8ED4-4E1B-83B0-CBE117AF958E}" dt="2022-03-12T04:56:30.758" v="251"/>
        <pc:sldMkLst>
          <pc:docMk/>
          <pc:sldMk cId="2649128238" sldId="278"/>
        </pc:sldMkLst>
        <pc:grpChg chg="mod">
          <ac:chgData name="Aniket Chhabra" userId="598e0514-bef3-4e71-b6aa-f2edd6441cff" providerId="ADAL" clId="{D80CB0E3-8ED4-4E1B-83B0-CBE117AF958E}" dt="2022-03-12T04:55:50.839" v="205"/>
          <ac:grpSpMkLst>
            <pc:docMk/>
            <pc:sldMk cId="2649128238" sldId="278"/>
            <ac:grpSpMk id="22" creationId="{A1196E96-61DE-44E4-A0A1-67B1D40CB0FD}"/>
          </ac:grpSpMkLst>
        </pc:grpChg>
        <pc:grpChg chg="mod">
          <ac:chgData name="Aniket Chhabra" userId="598e0514-bef3-4e71-b6aa-f2edd6441cff" providerId="ADAL" clId="{D80CB0E3-8ED4-4E1B-83B0-CBE117AF958E}" dt="2022-03-12T04:55:50.839" v="205"/>
          <ac:grpSpMkLst>
            <pc:docMk/>
            <pc:sldMk cId="2649128238" sldId="278"/>
            <ac:grpSpMk id="23" creationId="{DBD14128-255E-448B-BA8F-6A851933A91F}"/>
          </ac:grpSpMkLst>
        </pc:grpChg>
        <pc:grpChg chg="mod">
          <ac:chgData name="Aniket Chhabra" userId="598e0514-bef3-4e71-b6aa-f2edd6441cff" providerId="ADAL" clId="{D80CB0E3-8ED4-4E1B-83B0-CBE117AF958E}" dt="2022-03-12T04:55:54.243" v="208"/>
          <ac:grpSpMkLst>
            <pc:docMk/>
            <pc:sldMk cId="2649128238" sldId="278"/>
            <ac:grpSpMk id="26" creationId="{D0A39C11-A42F-4E82-A0E5-4A0EB7468DEC}"/>
          </ac:grpSpMkLst>
        </pc:grpChg>
        <pc:grpChg chg="mod">
          <ac:chgData name="Aniket Chhabra" userId="598e0514-bef3-4e71-b6aa-f2edd6441cff" providerId="ADAL" clId="{D80CB0E3-8ED4-4E1B-83B0-CBE117AF958E}" dt="2022-03-12T04:56:03.826" v="226"/>
          <ac:grpSpMkLst>
            <pc:docMk/>
            <pc:sldMk cId="2649128238" sldId="278"/>
            <ac:grpSpMk id="44" creationId="{D44FF591-8A4D-45F3-8527-1198EE5FC96A}"/>
          </ac:grpSpMkLst>
        </pc:grpChg>
        <pc:grpChg chg="mod">
          <ac:chgData name="Aniket Chhabra" userId="598e0514-bef3-4e71-b6aa-f2edd6441cff" providerId="ADAL" clId="{D80CB0E3-8ED4-4E1B-83B0-CBE117AF958E}" dt="2022-03-12T04:56:03.826" v="226"/>
          <ac:grpSpMkLst>
            <pc:docMk/>
            <pc:sldMk cId="2649128238" sldId="278"/>
            <ac:grpSpMk id="45" creationId="{EEF32132-27C8-4B06-BA93-E4992843A92E}"/>
          </ac:grpSpMkLst>
        </pc:grpChg>
        <pc:grpChg chg="mod">
          <ac:chgData name="Aniket Chhabra" userId="598e0514-bef3-4e71-b6aa-f2edd6441cff" providerId="ADAL" clId="{D80CB0E3-8ED4-4E1B-83B0-CBE117AF958E}" dt="2022-03-12T04:56:03.826" v="226"/>
          <ac:grpSpMkLst>
            <pc:docMk/>
            <pc:sldMk cId="2649128238" sldId="278"/>
            <ac:grpSpMk id="46" creationId="{CC07FDA8-F99E-431D-AE6A-03EEE44F8387}"/>
          </ac:grpSpMkLst>
        </pc:grpChg>
        <pc:grpChg chg="mod">
          <ac:chgData name="Aniket Chhabra" userId="598e0514-bef3-4e71-b6aa-f2edd6441cff" providerId="ADAL" clId="{D80CB0E3-8ED4-4E1B-83B0-CBE117AF958E}" dt="2022-03-12T04:56:03.826" v="226"/>
          <ac:grpSpMkLst>
            <pc:docMk/>
            <pc:sldMk cId="2649128238" sldId="278"/>
            <ac:grpSpMk id="47" creationId="{326B7255-B97A-49B1-B197-2181A20E2C46}"/>
          </ac:grpSpMkLst>
        </pc:grpChg>
        <pc:grpChg chg="mod">
          <ac:chgData name="Aniket Chhabra" userId="598e0514-bef3-4e71-b6aa-f2edd6441cff" providerId="ADAL" clId="{D80CB0E3-8ED4-4E1B-83B0-CBE117AF958E}" dt="2022-03-12T04:56:10.020" v="237"/>
          <ac:grpSpMkLst>
            <pc:docMk/>
            <pc:sldMk cId="2649128238" sldId="278"/>
            <ac:grpSpMk id="58" creationId="{D9D52D2C-2369-465D-81CD-D4CE8994EEC7}"/>
          </ac:grpSpMkLst>
        </pc:grpChg>
        <pc:grpChg chg="mod">
          <ac:chgData name="Aniket Chhabra" userId="598e0514-bef3-4e71-b6aa-f2edd6441cff" providerId="ADAL" clId="{D80CB0E3-8ED4-4E1B-83B0-CBE117AF958E}" dt="2022-03-12T04:56:10.020" v="237"/>
          <ac:grpSpMkLst>
            <pc:docMk/>
            <pc:sldMk cId="2649128238" sldId="278"/>
            <ac:grpSpMk id="59" creationId="{9E7C1A32-D4E9-429D-A779-594B3D9C0510}"/>
          </ac:grpSpMkLst>
        </pc:grpChg>
        <pc:grpChg chg="mod">
          <ac:chgData name="Aniket Chhabra" userId="598e0514-bef3-4e71-b6aa-f2edd6441cff" providerId="ADAL" clId="{D80CB0E3-8ED4-4E1B-83B0-CBE117AF958E}" dt="2022-03-12T04:56:26.167" v="241"/>
          <ac:grpSpMkLst>
            <pc:docMk/>
            <pc:sldMk cId="2649128238" sldId="278"/>
            <ac:grpSpMk id="63" creationId="{7B5C8252-6B66-4C85-BE27-DD5B5DE8E8C3}"/>
          </ac:grpSpMkLst>
        </pc:grpChg>
        <pc:grpChg chg="del mod">
          <ac:chgData name="Aniket Chhabra" userId="598e0514-bef3-4e71-b6aa-f2edd6441cff" providerId="ADAL" clId="{D80CB0E3-8ED4-4E1B-83B0-CBE117AF958E}" dt="2022-03-12T04:56:27.889" v="245"/>
          <ac:grpSpMkLst>
            <pc:docMk/>
            <pc:sldMk cId="2649128238" sldId="278"/>
            <ac:grpSpMk id="66" creationId="{66DCFECE-546F-4CB4-9A47-C9BD0F5B2235}"/>
          </ac:grpSpMkLst>
        </pc:grpChg>
        <pc:grpChg chg="mod">
          <ac:chgData name="Aniket Chhabra" userId="598e0514-bef3-4e71-b6aa-f2edd6441cff" providerId="ADAL" clId="{D80CB0E3-8ED4-4E1B-83B0-CBE117AF958E}" dt="2022-03-12T04:56:30.758" v="251"/>
          <ac:grpSpMkLst>
            <pc:docMk/>
            <pc:sldMk cId="2649128238" sldId="278"/>
            <ac:grpSpMk id="71" creationId="{33BECDDE-23D0-4D30-AEC6-52F7D54838DD}"/>
          </ac:grpSpMkLst>
        </pc:grpChg>
        <pc:picChg chg="add">
          <ac:chgData name="Aniket Chhabra" userId="598e0514-bef3-4e71-b6aa-f2edd6441cff" providerId="ADAL" clId="{D80CB0E3-8ED4-4E1B-83B0-CBE117AF958E}" dt="2022-03-12T04:55:32.179" v="187"/>
          <ac:picMkLst>
            <pc:docMk/>
            <pc:sldMk cId="2649128238" sldId="278"/>
            <ac:picMk id="3" creationId="{DC0F7F60-1D72-4F29-AC7D-B646971A9B17}"/>
          </ac:picMkLst>
        </pc:pic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5" creationId="{D395CEF6-C52F-4965-AF7E-8D266355BFA5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6" creationId="{D0FB5DF9-9282-4AA1-A44D-BF5688C62B17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7" creationId="{9E3BB60B-DF00-4284-B3B3-0676D7A01274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8" creationId="{B2922516-3188-4B70-8A07-450AA0AB3D49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9" creationId="{2CCBBD17-7AC6-40D5-9229-0567BD9C2ECB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10" creationId="{CD52694C-03C0-4137-BE1F-0AFF0C2426C5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11" creationId="{29F7AAE3-A9B0-46E8-A6DF-37A7619415B9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12" creationId="{F6AC962C-E041-46B7-82CD-ED6F531F5D50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13" creationId="{5E3071BA-F113-4507-B36A-CB4A00D59253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14" creationId="{2714E2D0-6EBC-4415-ADC0-81909893269F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15" creationId="{B9819D5A-5A92-47D2-81DD-E416216617E1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16" creationId="{5F3BCF7C-878A-4B25-8078-B0F96DEBBB71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17" creationId="{E30E9F6D-3CAB-46A8-989A-F4B2F85F85BD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18" creationId="{A86C5B54-2BAD-45C7-BE2A-5F78161C2CD7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19" creationId="{641851D1-FC00-4C63-A9AE-68820506EFAA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20" creationId="{73787152-6382-42EB-A3F0-8A6CEA6E55E6}"/>
          </ac:inkMkLst>
        </pc:inkChg>
        <pc:inkChg chg="add mod">
          <ac:chgData name="Aniket Chhabra" userId="598e0514-bef3-4e71-b6aa-f2edd6441cff" providerId="ADAL" clId="{D80CB0E3-8ED4-4E1B-83B0-CBE117AF958E}" dt="2022-03-12T04:55:50.839" v="205"/>
          <ac:inkMkLst>
            <pc:docMk/>
            <pc:sldMk cId="2649128238" sldId="278"/>
            <ac:inkMk id="21" creationId="{4DEE741A-826B-4C73-81AD-F61EE16BF326}"/>
          </ac:inkMkLst>
        </pc:inkChg>
        <pc:inkChg chg="add mod">
          <ac:chgData name="Aniket Chhabra" userId="598e0514-bef3-4e71-b6aa-f2edd6441cff" providerId="ADAL" clId="{D80CB0E3-8ED4-4E1B-83B0-CBE117AF958E}" dt="2022-03-12T04:55:54.243" v="208"/>
          <ac:inkMkLst>
            <pc:docMk/>
            <pc:sldMk cId="2649128238" sldId="278"/>
            <ac:inkMk id="24" creationId="{22B04BB1-0658-4101-A097-5C5BE7AD2FF8}"/>
          </ac:inkMkLst>
        </pc:inkChg>
        <pc:inkChg chg="add mod">
          <ac:chgData name="Aniket Chhabra" userId="598e0514-bef3-4e71-b6aa-f2edd6441cff" providerId="ADAL" clId="{D80CB0E3-8ED4-4E1B-83B0-CBE117AF958E}" dt="2022-03-12T04:55:54.243" v="208"/>
          <ac:inkMkLst>
            <pc:docMk/>
            <pc:sldMk cId="2649128238" sldId="278"/>
            <ac:inkMk id="25" creationId="{4E9E82CE-7BDF-46E5-BDAF-41B1225434C8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27" creationId="{2AF1E856-8521-459A-A80E-DE593B383789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28" creationId="{053A3B10-3852-4796-B13B-ADA76164075F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29" creationId="{210B9F01-C0C1-4D2F-BF02-A9D515B37D38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30" creationId="{7A127EA3-29BB-4702-9945-C2ABF2D3D475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31" creationId="{3A0919F8-4E8F-414A-BB4D-38FDABCD690A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32" creationId="{2A33C735-D3FC-44D2-A772-3AE999666494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33" creationId="{F5DC4876-5A16-4C4B-888E-25434C3309C5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34" creationId="{CE053CD1-BDE9-4ACB-95ED-D383F9EEF400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35" creationId="{93C5BE3E-A2E2-4223-8483-A83AC2B103FF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36" creationId="{55B488D3-F110-4A8F-ADFE-E7EC5BBA4B7C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37" creationId="{8AFF1DD5-4299-44D8-9198-FF5058EDB189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38" creationId="{637C6486-7337-4A4F-961C-752256A4C2C3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39" creationId="{CA4618CD-B92C-437F-9262-FB4CCA4ADD57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40" creationId="{AC16239B-4887-429B-BF94-DC64BC8FD7D9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41" creationId="{5FD18F35-8477-4AB1-B000-4CCDDB5D9383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42" creationId="{83EFF1F5-AFF8-4D5C-9F2E-9188DB56B6F5}"/>
          </ac:inkMkLst>
        </pc:inkChg>
        <pc:inkChg chg="add mod">
          <ac:chgData name="Aniket Chhabra" userId="598e0514-bef3-4e71-b6aa-f2edd6441cff" providerId="ADAL" clId="{D80CB0E3-8ED4-4E1B-83B0-CBE117AF958E}" dt="2022-03-12T04:56:03.826" v="226"/>
          <ac:inkMkLst>
            <pc:docMk/>
            <pc:sldMk cId="2649128238" sldId="278"/>
            <ac:inkMk id="43" creationId="{83021640-CE01-43EC-9397-D7E5E881F1CC}"/>
          </ac:inkMkLst>
        </pc:inkChg>
        <pc:inkChg chg="add mod">
          <ac:chgData name="Aniket Chhabra" userId="598e0514-bef3-4e71-b6aa-f2edd6441cff" providerId="ADAL" clId="{D80CB0E3-8ED4-4E1B-83B0-CBE117AF958E}" dt="2022-03-12T04:56:10.020" v="237"/>
          <ac:inkMkLst>
            <pc:docMk/>
            <pc:sldMk cId="2649128238" sldId="278"/>
            <ac:inkMk id="48" creationId="{86CC097E-CE52-4A85-A1F6-2125FC17C64A}"/>
          </ac:inkMkLst>
        </pc:inkChg>
        <pc:inkChg chg="add mod">
          <ac:chgData name="Aniket Chhabra" userId="598e0514-bef3-4e71-b6aa-f2edd6441cff" providerId="ADAL" clId="{D80CB0E3-8ED4-4E1B-83B0-CBE117AF958E}" dt="2022-03-12T04:56:10.020" v="237"/>
          <ac:inkMkLst>
            <pc:docMk/>
            <pc:sldMk cId="2649128238" sldId="278"/>
            <ac:inkMk id="49" creationId="{C442E95F-DCF1-4688-A3BA-976E16D52E89}"/>
          </ac:inkMkLst>
        </pc:inkChg>
        <pc:inkChg chg="add mod">
          <ac:chgData name="Aniket Chhabra" userId="598e0514-bef3-4e71-b6aa-f2edd6441cff" providerId="ADAL" clId="{D80CB0E3-8ED4-4E1B-83B0-CBE117AF958E}" dt="2022-03-12T04:56:10.020" v="237"/>
          <ac:inkMkLst>
            <pc:docMk/>
            <pc:sldMk cId="2649128238" sldId="278"/>
            <ac:inkMk id="50" creationId="{A7264E06-EA5C-4388-B650-03B3C97A7693}"/>
          </ac:inkMkLst>
        </pc:inkChg>
        <pc:inkChg chg="add mod">
          <ac:chgData name="Aniket Chhabra" userId="598e0514-bef3-4e71-b6aa-f2edd6441cff" providerId="ADAL" clId="{D80CB0E3-8ED4-4E1B-83B0-CBE117AF958E}" dt="2022-03-12T04:56:10.020" v="237"/>
          <ac:inkMkLst>
            <pc:docMk/>
            <pc:sldMk cId="2649128238" sldId="278"/>
            <ac:inkMk id="51" creationId="{BCB18EF9-4055-4D1B-80ED-0F17295AF74D}"/>
          </ac:inkMkLst>
        </pc:inkChg>
        <pc:inkChg chg="add mod">
          <ac:chgData name="Aniket Chhabra" userId="598e0514-bef3-4e71-b6aa-f2edd6441cff" providerId="ADAL" clId="{D80CB0E3-8ED4-4E1B-83B0-CBE117AF958E}" dt="2022-03-12T04:56:10.020" v="237"/>
          <ac:inkMkLst>
            <pc:docMk/>
            <pc:sldMk cId="2649128238" sldId="278"/>
            <ac:inkMk id="52" creationId="{CDFE044D-E807-4099-B4C0-4E49372CC64B}"/>
          </ac:inkMkLst>
        </pc:inkChg>
        <pc:inkChg chg="add mod">
          <ac:chgData name="Aniket Chhabra" userId="598e0514-bef3-4e71-b6aa-f2edd6441cff" providerId="ADAL" clId="{D80CB0E3-8ED4-4E1B-83B0-CBE117AF958E}" dt="2022-03-12T04:56:10.020" v="237"/>
          <ac:inkMkLst>
            <pc:docMk/>
            <pc:sldMk cId="2649128238" sldId="278"/>
            <ac:inkMk id="53" creationId="{A8203DCA-3EF8-4853-A2A2-14633E27EE68}"/>
          </ac:inkMkLst>
        </pc:inkChg>
        <pc:inkChg chg="add mod">
          <ac:chgData name="Aniket Chhabra" userId="598e0514-bef3-4e71-b6aa-f2edd6441cff" providerId="ADAL" clId="{D80CB0E3-8ED4-4E1B-83B0-CBE117AF958E}" dt="2022-03-12T04:56:10.020" v="237"/>
          <ac:inkMkLst>
            <pc:docMk/>
            <pc:sldMk cId="2649128238" sldId="278"/>
            <ac:inkMk id="54" creationId="{1C3BD292-F865-4866-964B-4FDAC6C8AF76}"/>
          </ac:inkMkLst>
        </pc:inkChg>
        <pc:inkChg chg="add mod">
          <ac:chgData name="Aniket Chhabra" userId="598e0514-bef3-4e71-b6aa-f2edd6441cff" providerId="ADAL" clId="{D80CB0E3-8ED4-4E1B-83B0-CBE117AF958E}" dt="2022-03-12T04:56:10.020" v="237"/>
          <ac:inkMkLst>
            <pc:docMk/>
            <pc:sldMk cId="2649128238" sldId="278"/>
            <ac:inkMk id="55" creationId="{423531EF-F192-44CB-AFF5-9A9737A14646}"/>
          </ac:inkMkLst>
        </pc:inkChg>
        <pc:inkChg chg="add mod">
          <ac:chgData name="Aniket Chhabra" userId="598e0514-bef3-4e71-b6aa-f2edd6441cff" providerId="ADAL" clId="{D80CB0E3-8ED4-4E1B-83B0-CBE117AF958E}" dt="2022-03-12T04:56:10.020" v="237"/>
          <ac:inkMkLst>
            <pc:docMk/>
            <pc:sldMk cId="2649128238" sldId="278"/>
            <ac:inkMk id="56" creationId="{A1ECE382-1CFB-4256-A8EE-09D9C574B0D2}"/>
          </ac:inkMkLst>
        </pc:inkChg>
        <pc:inkChg chg="add mod">
          <ac:chgData name="Aniket Chhabra" userId="598e0514-bef3-4e71-b6aa-f2edd6441cff" providerId="ADAL" clId="{D80CB0E3-8ED4-4E1B-83B0-CBE117AF958E}" dt="2022-03-12T04:56:10.020" v="237"/>
          <ac:inkMkLst>
            <pc:docMk/>
            <pc:sldMk cId="2649128238" sldId="278"/>
            <ac:inkMk id="57" creationId="{16321296-95AF-4FE6-98AB-D1884DEBCF1E}"/>
          </ac:inkMkLst>
        </pc:inkChg>
        <pc:inkChg chg="add mod">
          <ac:chgData name="Aniket Chhabra" userId="598e0514-bef3-4e71-b6aa-f2edd6441cff" providerId="ADAL" clId="{D80CB0E3-8ED4-4E1B-83B0-CBE117AF958E}" dt="2022-03-12T04:56:26.167" v="241"/>
          <ac:inkMkLst>
            <pc:docMk/>
            <pc:sldMk cId="2649128238" sldId="278"/>
            <ac:inkMk id="60" creationId="{493C2DA5-5D7C-429D-82AE-4C81B9343C7D}"/>
          </ac:inkMkLst>
        </pc:inkChg>
        <pc:inkChg chg="add mod">
          <ac:chgData name="Aniket Chhabra" userId="598e0514-bef3-4e71-b6aa-f2edd6441cff" providerId="ADAL" clId="{D80CB0E3-8ED4-4E1B-83B0-CBE117AF958E}" dt="2022-03-12T04:56:26.167" v="241"/>
          <ac:inkMkLst>
            <pc:docMk/>
            <pc:sldMk cId="2649128238" sldId="278"/>
            <ac:inkMk id="61" creationId="{C95B3D05-67B1-4FE3-9571-93BC2ED173F6}"/>
          </ac:inkMkLst>
        </pc:inkChg>
        <pc:inkChg chg="add mod">
          <ac:chgData name="Aniket Chhabra" userId="598e0514-bef3-4e71-b6aa-f2edd6441cff" providerId="ADAL" clId="{D80CB0E3-8ED4-4E1B-83B0-CBE117AF958E}" dt="2022-03-12T04:56:26.167" v="241"/>
          <ac:inkMkLst>
            <pc:docMk/>
            <pc:sldMk cId="2649128238" sldId="278"/>
            <ac:inkMk id="62" creationId="{0E2C670A-E46A-4226-A209-5124F51143F3}"/>
          </ac:inkMkLst>
        </pc:inkChg>
        <pc:inkChg chg="add del mod">
          <ac:chgData name="Aniket Chhabra" userId="598e0514-bef3-4e71-b6aa-f2edd6441cff" providerId="ADAL" clId="{D80CB0E3-8ED4-4E1B-83B0-CBE117AF958E}" dt="2022-03-12T04:56:27.890" v="246"/>
          <ac:inkMkLst>
            <pc:docMk/>
            <pc:sldMk cId="2649128238" sldId="278"/>
            <ac:inkMk id="64" creationId="{8C55E0C2-E7D2-4D68-9EFF-0B9BB9B5E2F0}"/>
          </ac:inkMkLst>
        </pc:inkChg>
        <pc:inkChg chg="add del mod">
          <ac:chgData name="Aniket Chhabra" userId="598e0514-bef3-4e71-b6aa-f2edd6441cff" providerId="ADAL" clId="{D80CB0E3-8ED4-4E1B-83B0-CBE117AF958E}" dt="2022-03-12T04:56:27.889" v="245"/>
          <ac:inkMkLst>
            <pc:docMk/>
            <pc:sldMk cId="2649128238" sldId="278"/>
            <ac:inkMk id="65" creationId="{7F01033C-7482-47B4-9434-9C11ACC1BE3B}"/>
          </ac:inkMkLst>
        </pc:inkChg>
        <pc:inkChg chg="add mod">
          <ac:chgData name="Aniket Chhabra" userId="598e0514-bef3-4e71-b6aa-f2edd6441cff" providerId="ADAL" clId="{D80CB0E3-8ED4-4E1B-83B0-CBE117AF958E}" dt="2022-03-12T04:56:30.758" v="251"/>
          <ac:inkMkLst>
            <pc:docMk/>
            <pc:sldMk cId="2649128238" sldId="278"/>
            <ac:inkMk id="67" creationId="{50CBCE44-239B-43AA-9DA7-A038A1CA8227}"/>
          </ac:inkMkLst>
        </pc:inkChg>
        <pc:inkChg chg="add mod">
          <ac:chgData name="Aniket Chhabra" userId="598e0514-bef3-4e71-b6aa-f2edd6441cff" providerId="ADAL" clId="{D80CB0E3-8ED4-4E1B-83B0-CBE117AF958E}" dt="2022-03-12T04:56:30.758" v="251"/>
          <ac:inkMkLst>
            <pc:docMk/>
            <pc:sldMk cId="2649128238" sldId="278"/>
            <ac:inkMk id="68" creationId="{7C843C0D-9CF6-4A5E-948A-613B3EC757E2}"/>
          </ac:inkMkLst>
        </pc:inkChg>
        <pc:inkChg chg="add mod">
          <ac:chgData name="Aniket Chhabra" userId="598e0514-bef3-4e71-b6aa-f2edd6441cff" providerId="ADAL" clId="{D80CB0E3-8ED4-4E1B-83B0-CBE117AF958E}" dt="2022-03-12T04:56:30.758" v="251"/>
          <ac:inkMkLst>
            <pc:docMk/>
            <pc:sldMk cId="2649128238" sldId="278"/>
            <ac:inkMk id="69" creationId="{D1148DE5-FE36-469D-B8EF-F9F1152D467B}"/>
          </ac:inkMkLst>
        </pc:inkChg>
        <pc:inkChg chg="add mod">
          <ac:chgData name="Aniket Chhabra" userId="598e0514-bef3-4e71-b6aa-f2edd6441cff" providerId="ADAL" clId="{D80CB0E3-8ED4-4E1B-83B0-CBE117AF958E}" dt="2022-03-12T04:56:30.758" v="251"/>
          <ac:inkMkLst>
            <pc:docMk/>
            <pc:sldMk cId="2649128238" sldId="278"/>
            <ac:inkMk id="70" creationId="{B5DC61A3-2C88-452E-BB6A-82E81BA87E7C}"/>
          </ac:inkMkLst>
        </pc:inkChg>
      </pc:sldChg>
      <pc:sldChg chg="addSp delSp mod">
        <pc:chgData name="Aniket Chhabra" userId="598e0514-bef3-4e71-b6aa-f2edd6441cff" providerId="ADAL" clId="{D80CB0E3-8ED4-4E1B-83B0-CBE117AF958E}" dt="2022-03-12T04:59:36.026" v="256"/>
        <pc:sldMkLst>
          <pc:docMk/>
          <pc:sldMk cId="2561785265" sldId="279"/>
        </pc:sldMkLst>
        <pc:picChg chg="add del">
          <ac:chgData name="Aniket Chhabra" userId="598e0514-bef3-4e71-b6aa-f2edd6441cff" providerId="ADAL" clId="{D80CB0E3-8ED4-4E1B-83B0-CBE117AF958E}" dt="2022-03-12T04:59:35.398" v="254" actId="478"/>
          <ac:picMkLst>
            <pc:docMk/>
            <pc:sldMk cId="2561785265" sldId="279"/>
            <ac:picMk id="3" creationId="{9E6E4D9C-B280-412B-A0BD-747D113DFFD7}"/>
          </ac:picMkLst>
        </pc:picChg>
        <pc:picChg chg="add">
          <ac:chgData name="Aniket Chhabra" userId="598e0514-bef3-4e71-b6aa-f2edd6441cff" providerId="ADAL" clId="{D80CB0E3-8ED4-4E1B-83B0-CBE117AF958E}" dt="2022-03-12T04:59:36.026" v="256"/>
          <ac:picMkLst>
            <pc:docMk/>
            <pc:sldMk cId="2561785265" sldId="279"/>
            <ac:picMk id="6" creationId="{4B77C47C-7AB1-408D-B430-1BDA5C70C581}"/>
          </ac:picMkLst>
        </pc:picChg>
      </pc:sldChg>
      <pc:sldChg chg="addSp delSp modSp mod ord">
        <pc:chgData name="Aniket Chhabra" userId="598e0514-bef3-4e71-b6aa-f2edd6441cff" providerId="ADAL" clId="{D80CB0E3-8ED4-4E1B-83B0-CBE117AF958E}" dt="2022-03-12T05:00:16.706" v="287" actId="9405"/>
        <pc:sldMkLst>
          <pc:docMk/>
          <pc:sldMk cId="1690191124" sldId="280"/>
        </pc:sldMkLst>
        <pc:grpChg chg="mod">
          <ac:chgData name="Aniket Chhabra" userId="598e0514-bef3-4e71-b6aa-f2edd6441cff" providerId="ADAL" clId="{D80CB0E3-8ED4-4E1B-83B0-CBE117AF958E}" dt="2022-03-12T05:00:13.908" v="284"/>
          <ac:grpSpMkLst>
            <pc:docMk/>
            <pc:sldMk cId="1690191124" sldId="280"/>
            <ac:grpSpMk id="22" creationId="{2DF1CEA1-F037-4B97-A17D-180601A81CE0}"/>
          </ac:grpSpMkLst>
        </pc:grpChg>
        <pc:grpChg chg="mod">
          <ac:chgData name="Aniket Chhabra" userId="598e0514-bef3-4e71-b6aa-f2edd6441cff" providerId="ADAL" clId="{D80CB0E3-8ED4-4E1B-83B0-CBE117AF958E}" dt="2022-03-12T05:00:13.908" v="284"/>
          <ac:grpSpMkLst>
            <pc:docMk/>
            <pc:sldMk cId="1690191124" sldId="280"/>
            <ac:grpSpMk id="23" creationId="{FB43AEE7-E7B1-4235-AFE6-B0632AC1E831}"/>
          </ac:grpSpMkLst>
        </pc:grpChg>
        <pc:picChg chg="add">
          <ac:chgData name="Aniket Chhabra" userId="598e0514-bef3-4e71-b6aa-f2edd6441cff" providerId="ADAL" clId="{D80CB0E3-8ED4-4E1B-83B0-CBE117AF958E}" dt="2022-03-12T04:59:53.578" v="258"/>
          <ac:picMkLst>
            <pc:docMk/>
            <pc:sldMk cId="1690191124" sldId="280"/>
            <ac:picMk id="3" creationId="{C63BEA28-8356-4416-9F6C-A7E6F0D46310}"/>
          </ac:picMkLst>
        </pc:picChg>
        <pc:inkChg chg="add del">
          <ac:chgData name="Aniket Chhabra" userId="598e0514-bef3-4e71-b6aa-f2edd6441cff" providerId="ADAL" clId="{D80CB0E3-8ED4-4E1B-83B0-CBE117AF958E}" dt="2022-03-12T05:00:07.638" v="272"/>
          <ac:inkMkLst>
            <pc:docMk/>
            <pc:sldMk cId="1690191124" sldId="280"/>
            <ac:inkMk id="5" creationId="{2BCD5591-2FC2-4D02-A581-11A5E90D23A0}"/>
          </ac:inkMkLst>
        </pc:inkChg>
        <pc:inkChg chg="add del">
          <ac:chgData name="Aniket Chhabra" userId="598e0514-bef3-4e71-b6aa-f2edd6441cff" providerId="ADAL" clId="{D80CB0E3-8ED4-4E1B-83B0-CBE117AF958E}" dt="2022-03-12T05:00:06.588" v="268"/>
          <ac:inkMkLst>
            <pc:docMk/>
            <pc:sldMk cId="1690191124" sldId="280"/>
            <ac:inkMk id="6" creationId="{43377E37-D048-4568-8521-3D0E3FCA905E}"/>
          </ac:inkMkLst>
        </pc:inkChg>
        <pc:inkChg chg="add del">
          <ac:chgData name="Aniket Chhabra" userId="598e0514-bef3-4e71-b6aa-f2edd6441cff" providerId="ADAL" clId="{D80CB0E3-8ED4-4E1B-83B0-CBE117AF958E}" dt="2022-03-12T05:00:06.590" v="270"/>
          <ac:inkMkLst>
            <pc:docMk/>
            <pc:sldMk cId="1690191124" sldId="280"/>
            <ac:inkMk id="7" creationId="{C6FB8214-A00C-4CB7-AD33-1B22E70EF6DD}"/>
          </ac:inkMkLst>
        </pc:inkChg>
        <pc:inkChg chg="add del">
          <ac:chgData name="Aniket Chhabra" userId="598e0514-bef3-4e71-b6aa-f2edd6441cff" providerId="ADAL" clId="{D80CB0E3-8ED4-4E1B-83B0-CBE117AF958E}" dt="2022-03-12T05:00:06.587" v="267"/>
          <ac:inkMkLst>
            <pc:docMk/>
            <pc:sldMk cId="1690191124" sldId="280"/>
            <ac:inkMk id="8" creationId="{B5951E49-B03B-4D32-A4D2-2D626DD1AE2F}"/>
          </ac:inkMkLst>
        </pc:inkChg>
        <pc:inkChg chg="add del">
          <ac:chgData name="Aniket Chhabra" userId="598e0514-bef3-4e71-b6aa-f2edd6441cff" providerId="ADAL" clId="{D80CB0E3-8ED4-4E1B-83B0-CBE117AF958E}" dt="2022-03-12T05:00:06.588" v="269"/>
          <ac:inkMkLst>
            <pc:docMk/>
            <pc:sldMk cId="1690191124" sldId="280"/>
            <ac:inkMk id="9" creationId="{83A44FAF-D0F6-4E9A-86AC-D29C7633E580}"/>
          </ac:inkMkLst>
        </pc:inkChg>
        <pc:inkChg chg="add del">
          <ac:chgData name="Aniket Chhabra" userId="598e0514-bef3-4e71-b6aa-f2edd6441cff" providerId="ADAL" clId="{D80CB0E3-8ED4-4E1B-83B0-CBE117AF958E}" dt="2022-03-12T05:00:06.591" v="271"/>
          <ac:inkMkLst>
            <pc:docMk/>
            <pc:sldMk cId="1690191124" sldId="280"/>
            <ac:inkMk id="10" creationId="{D5C862C9-847F-4AD5-8A50-33B2DA6CC4D2}"/>
          </ac:inkMkLst>
        </pc:inkChg>
        <pc:inkChg chg="add mod">
          <ac:chgData name="Aniket Chhabra" userId="598e0514-bef3-4e71-b6aa-f2edd6441cff" providerId="ADAL" clId="{D80CB0E3-8ED4-4E1B-83B0-CBE117AF958E}" dt="2022-03-12T05:00:13.908" v="284"/>
          <ac:inkMkLst>
            <pc:docMk/>
            <pc:sldMk cId="1690191124" sldId="280"/>
            <ac:inkMk id="11" creationId="{8A59DBA1-D286-4E3A-87EC-79AE1C539DD7}"/>
          </ac:inkMkLst>
        </pc:inkChg>
        <pc:inkChg chg="add mod">
          <ac:chgData name="Aniket Chhabra" userId="598e0514-bef3-4e71-b6aa-f2edd6441cff" providerId="ADAL" clId="{D80CB0E3-8ED4-4E1B-83B0-CBE117AF958E}" dt="2022-03-12T05:00:13.908" v="284"/>
          <ac:inkMkLst>
            <pc:docMk/>
            <pc:sldMk cId="1690191124" sldId="280"/>
            <ac:inkMk id="12" creationId="{D8F89DA4-627A-41E4-9954-B3D0B16D7F7F}"/>
          </ac:inkMkLst>
        </pc:inkChg>
        <pc:inkChg chg="add mod">
          <ac:chgData name="Aniket Chhabra" userId="598e0514-bef3-4e71-b6aa-f2edd6441cff" providerId="ADAL" clId="{D80CB0E3-8ED4-4E1B-83B0-CBE117AF958E}" dt="2022-03-12T05:00:13.908" v="284"/>
          <ac:inkMkLst>
            <pc:docMk/>
            <pc:sldMk cId="1690191124" sldId="280"/>
            <ac:inkMk id="13" creationId="{DDD231F0-BD03-4FC9-B662-D6EBDC1B84DA}"/>
          </ac:inkMkLst>
        </pc:inkChg>
        <pc:inkChg chg="add mod">
          <ac:chgData name="Aniket Chhabra" userId="598e0514-bef3-4e71-b6aa-f2edd6441cff" providerId="ADAL" clId="{D80CB0E3-8ED4-4E1B-83B0-CBE117AF958E}" dt="2022-03-12T05:00:13.908" v="284"/>
          <ac:inkMkLst>
            <pc:docMk/>
            <pc:sldMk cId="1690191124" sldId="280"/>
            <ac:inkMk id="14" creationId="{F7196C53-C156-47F6-9AAC-FBE73F33B453}"/>
          </ac:inkMkLst>
        </pc:inkChg>
        <pc:inkChg chg="add mod">
          <ac:chgData name="Aniket Chhabra" userId="598e0514-bef3-4e71-b6aa-f2edd6441cff" providerId="ADAL" clId="{D80CB0E3-8ED4-4E1B-83B0-CBE117AF958E}" dt="2022-03-12T05:00:13.908" v="284"/>
          <ac:inkMkLst>
            <pc:docMk/>
            <pc:sldMk cId="1690191124" sldId="280"/>
            <ac:inkMk id="15" creationId="{5195AE3D-688E-4226-93CF-83B7515A1B69}"/>
          </ac:inkMkLst>
        </pc:inkChg>
        <pc:inkChg chg="add mod">
          <ac:chgData name="Aniket Chhabra" userId="598e0514-bef3-4e71-b6aa-f2edd6441cff" providerId="ADAL" clId="{D80CB0E3-8ED4-4E1B-83B0-CBE117AF958E}" dt="2022-03-12T05:00:13.908" v="284"/>
          <ac:inkMkLst>
            <pc:docMk/>
            <pc:sldMk cId="1690191124" sldId="280"/>
            <ac:inkMk id="16" creationId="{4FE77DC5-2614-4EEF-800B-51FD9F660254}"/>
          </ac:inkMkLst>
        </pc:inkChg>
        <pc:inkChg chg="add mod">
          <ac:chgData name="Aniket Chhabra" userId="598e0514-bef3-4e71-b6aa-f2edd6441cff" providerId="ADAL" clId="{D80CB0E3-8ED4-4E1B-83B0-CBE117AF958E}" dt="2022-03-12T05:00:13.908" v="284"/>
          <ac:inkMkLst>
            <pc:docMk/>
            <pc:sldMk cId="1690191124" sldId="280"/>
            <ac:inkMk id="17" creationId="{DE01E25F-878F-40A1-AC29-DA8D8782677E}"/>
          </ac:inkMkLst>
        </pc:inkChg>
        <pc:inkChg chg="add mod">
          <ac:chgData name="Aniket Chhabra" userId="598e0514-bef3-4e71-b6aa-f2edd6441cff" providerId="ADAL" clId="{D80CB0E3-8ED4-4E1B-83B0-CBE117AF958E}" dt="2022-03-12T05:00:13.908" v="284"/>
          <ac:inkMkLst>
            <pc:docMk/>
            <pc:sldMk cId="1690191124" sldId="280"/>
            <ac:inkMk id="18" creationId="{B572CB71-0F07-4681-BFB0-E7FEAFB2F13F}"/>
          </ac:inkMkLst>
        </pc:inkChg>
        <pc:inkChg chg="add mod">
          <ac:chgData name="Aniket Chhabra" userId="598e0514-bef3-4e71-b6aa-f2edd6441cff" providerId="ADAL" clId="{D80CB0E3-8ED4-4E1B-83B0-CBE117AF958E}" dt="2022-03-12T05:00:13.908" v="284"/>
          <ac:inkMkLst>
            <pc:docMk/>
            <pc:sldMk cId="1690191124" sldId="280"/>
            <ac:inkMk id="19" creationId="{DC4115C9-4F10-4492-8A84-341CFBE7DF6F}"/>
          </ac:inkMkLst>
        </pc:inkChg>
        <pc:inkChg chg="add mod">
          <ac:chgData name="Aniket Chhabra" userId="598e0514-bef3-4e71-b6aa-f2edd6441cff" providerId="ADAL" clId="{D80CB0E3-8ED4-4E1B-83B0-CBE117AF958E}" dt="2022-03-12T05:00:13.908" v="284"/>
          <ac:inkMkLst>
            <pc:docMk/>
            <pc:sldMk cId="1690191124" sldId="280"/>
            <ac:inkMk id="20" creationId="{84F57F54-990B-4777-A650-A7B2E8906E96}"/>
          </ac:inkMkLst>
        </pc:inkChg>
        <pc:inkChg chg="add mod">
          <ac:chgData name="Aniket Chhabra" userId="598e0514-bef3-4e71-b6aa-f2edd6441cff" providerId="ADAL" clId="{D80CB0E3-8ED4-4E1B-83B0-CBE117AF958E}" dt="2022-03-12T05:00:13.908" v="284"/>
          <ac:inkMkLst>
            <pc:docMk/>
            <pc:sldMk cId="1690191124" sldId="280"/>
            <ac:inkMk id="21" creationId="{19A77AF2-957A-4A95-B372-6D22E5837D00}"/>
          </ac:inkMkLst>
        </pc:inkChg>
        <pc:inkChg chg="add">
          <ac:chgData name="Aniket Chhabra" userId="598e0514-bef3-4e71-b6aa-f2edd6441cff" providerId="ADAL" clId="{D80CB0E3-8ED4-4E1B-83B0-CBE117AF958E}" dt="2022-03-12T05:00:14.921" v="285" actId="9405"/>
          <ac:inkMkLst>
            <pc:docMk/>
            <pc:sldMk cId="1690191124" sldId="280"/>
            <ac:inkMk id="24" creationId="{9B3CD613-4AC0-4882-A359-B8249AAE8A4D}"/>
          </ac:inkMkLst>
        </pc:inkChg>
        <pc:inkChg chg="add">
          <ac:chgData name="Aniket Chhabra" userId="598e0514-bef3-4e71-b6aa-f2edd6441cff" providerId="ADAL" clId="{D80CB0E3-8ED4-4E1B-83B0-CBE117AF958E}" dt="2022-03-12T05:00:15.884" v="286" actId="9405"/>
          <ac:inkMkLst>
            <pc:docMk/>
            <pc:sldMk cId="1690191124" sldId="280"/>
            <ac:inkMk id="25" creationId="{21562325-72DD-4151-AF5E-02621123F29E}"/>
          </ac:inkMkLst>
        </pc:inkChg>
        <pc:inkChg chg="add">
          <ac:chgData name="Aniket Chhabra" userId="598e0514-bef3-4e71-b6aa-f2edd6441cff" providerId="ADAL" clId="{D80CB0E3-8ED4-4E1B-83B0-CBE117AF958E}" dt="2022-03-12T05:00:16.706" v="287" actId="9405"/>
          <ac:inkMkLst>
            <pc:docMk/>
            <pc:sldMk cId="1690191124" sldId="280"/>
            <ac:inkMk id="26" creationId="{50FAB777-1983-4A4B-8238-39F3558180BE}"/>
          </ac:inkMkLst>
        </pc:inkChg>
      </pc:sldChg>
      <pc:sldChg chg="addSp mod">
        <pc:chgData name="Aniket Chhabra" userId="598e0514-bef3-4e71-b6aa-f2edd6441cff" providerId="ADAL" clId="{D80CB0E3-8ED4-4E1B-83B0-CBE117AF958E}" dt="2022-03-12T05:01:21.875" v="309"/>
        <pc:sldMkLst>
          <pc:docMk/>
          <pc:sldMk cId="2237981279" sldId="281"/>
        </pc:sldMkLst>
        <pc:picChg chg="add">
          <ac:chgData name="Aniket Chhabra" userId="598e0514-bef3-4e71-b6aa-f2edd6441cff" providerId="ADAL" clId="{D80CB0E3-8ED4-4E1B-83B0-CBE117AF958E}" dt="2022-03-12T05:01:21.875" v="309"/>
          <ac:picMkLst>
            <pc:docMk/>
            <pc:sldMk cId="2237981279" sldId="281"/>
            <ac:picMk id="3" creationId="{A8061123-0206-448C-A68D-51BE0D55C2A6}"/>
          </ac:picMkLst>
        </pc:picChg>
      </pc:sldChg>
      <pc:sldChg chg="addSp delSp modSp mod">
        <pc:chgData name="Aniket Chhabra" userId="598e0514-bef3-4e71-b6aa-f2edd6441cff" providerId="ADAL" clId="{D80CB0E3-8ED4-4E1B-83B0-CBE117AF958E}" dt="2022-03-12T05:03:32.367" v="339"/>
        <pc:sldMkLst>
          <pc:docMk/>
          <pc:sldMk cId="3123321378" sldId="282"/>
        </pc:sldMkLst>
        <pc:grpChg chg="mod">
          <ac:chgData name="Aniket Chhabra" userId="598e0514-bef3-4e71-b6aa-f2edd6441cff" providerId="ADAL" clId="{D80CB0E3-8ED4-4E1B-83B0-CBE117AF958E}" dt="2022-03-12T05:03:28.278" v="330"/>
          <ac:grpSpMkLst>
            <pc:docMk/>
            <pc:sldMk cId="3123321378" sldId="282"/>
            <ac:grpSpMk id="16" creationId="{D62752E3-750A-4926-96EA-80C38B11EB48}"/>
          </ac:grpSpMkLst>
        </pc:grpChg>
        <pc:grpChg chg="mod">
          <ac:chgData name="Aniket Chhabra" userId="598e0514-bef3-4e71-b6aa-f2edd6441cff" providerId="ADAL" clId="{D80CB0E3-8ED4-4E1B-83B0-CBE117AF958E}" dt="2022-03-12T05:03:32.367" v="339"/>
          <ac:grpSpMkLst>
            <pc:docMk/>
            <pc:sldMk cId="3123321378" sldId="282"/>
            <ac:grpSpMk id="25" creationId="{AA8B598E-96C2-4DD6-A445-F66031E1CD74}"/>
          </ac:grpSpMkLst>
        </pc:grpChg>
        <pc:picChg chg="add del">
          <ac:chgData name="Aniket Chhabra" userId="598e0514-bef3-4e71-b6aa-f2edd6441cff" providerId="ADAL" clId="{D80CB0E3-8ED4-4E1B-83B0-CBE117AF958E}" dt="2022-03-12T05:02:53.129" v="312" actId="478"/>
          <ac:picMkLst>
            <pc:docMk/>
            <pc:sldMk cId="3123321378" sldId="282"/>
            <ac:picMk id="3" creationId="{04DB1C21-7C48-4F06-BFFF-24A0EBCE668C}"/>
          </ac:picMkLst>
        </pc:picChg>
        <pc:picChg chg="add">
          <ac:chgData name="Aniket Chhabra" userId="598e0514-bef3-4e71-b6aa-f2edd6441cff" providerId="ADAL" clId="{D80CB0E3-8ED4-4E1B-83B0-CBE117AF958E}" dt="2022-03-12T05:02:53.977" v="314"/>
          <ac:picMkLst>
            <pc:docMk/>
            <pc:sldMk cId="3123321378" sldId="282"/>
            <ac:picMk id="6" creationId="{3201790C-F049-42C9-828C-858CE36048BB}"/>
          </ac:picMkLst>
        </pc:picChg>
        <pc:inkChg chg="add del">
          <ac:chgData name="Aniket Chhabra" userId="598e0514-bef3-4e71-b6aa-f2edd6441cff" providerId="ADAL" clId="{D80CB0E3-8ED4-4E1B-83B0-CBE117AF958E}" dt="2022-03-12T05:03:25.205" v="323"/>
          <ac:inkMkLst>
            <pc:docMk/>
            <pc:sldMk cId="3123321378" sldId="282"/>
            <ac:inkMk id="7" creationId="{C89B45B1-E0CD-4B0A-B3C4-D083DC809C29}"/>
          </ac:inkMkLst>
        </pc:inkChg>
        <pc:inkChg chg="add del">
          <ac:chgData name="Aniket Chhabra" userId="598e0514-bef3-4e71-b6aa-f2edd6441cff" providerId="ADAL" clId="{D80CB0E3-8ED4-4E1B-83B0-CBE117AF958E}" dt="2022-03-12T05:03:25.207" v="324"/>
          <ac:inkMkLst>
            <pc:docMk/>
            <pc:sldMk cId="3123321378" sldId="282"/>
            <ac:inkMk id="8" creationId="{EF142943-9D4D-42AE-A564-2133A9FF6C1B}"/>
          </ac:inkMkLst>
        </pc:inkChg>
        <pc:inkChg chg="add del">
          <ac:chgData name="Aniket Chhabra" userId="598e0514-bef3-4e71-b6aa-f2edd6441cff" providerId="ADAL" clId="{D80CB0E3-8ED4-4E1B-83B0-CBE117AF958E}" dt="2022-03-12T05:03:24.200" v="322"/>
          <ac:inkMkLst>
            <pc:docMk/>
            <pc:sldMk cId="3123321378" sldId="282"/>
            <ac:inkMk id="9" creationId="{79325936-A894-4F28-B805-501A8E51AC86}"/>
          </ac:inkMkLst>
        </pc:inkChg>
        <pc:inkChg chg="add del">
          <ac:chgData name="Aniket Chhabra" userId="598e0514-bef3-4e71-b6aa-f2edd6441cff" providerId="ADAL" clId="{D80CB0E3-8ED4-4E1B-83B0-CBE117AF958E}" dt="2022-03-12T05:03:24.198" v="321"/>
          <ac:inkMkLst>
            <pc:docMk/>
            <pc:sldMk cId="3123321378" sldId="282"/>
            <ac:inkMk id="10" creationId="{8D013C42-9DF6-48D4-9D70-1463563382E0}"/>
          </ac:inkMkLst>
        </pc:inkChg>
        <pc:inkChg chg="add mod">
          <ac:chgData name="Aniket Chhabra" userId="598e0514-bef3-4e71-b6aa-f2edd6441cff" providerId="ADAL" clId="{D80CB0E3-8ED4-4E1B-83B0-CBE117AF958E}" dt="2022-03-12T05:03:28.278" v="330"/>
          <ac:inkMkLst>
            <pc:docMk/>
            <pc:sldMk cId="3123321378" sldId="282"/>
            <ac:inkMk id="11" creationId="{F62BF77A-8568-44A5-BF9B-A7A47F4AC62F}"/>
          </ac:inkMkLst>
        </pc:inkChg>
        <pc:inkChg chg="add mod">
          <ac:chgData name="Aniket Chhabra" userId="598e0514-bef3-4e71-b6aa-f2edd6441cff" providerId="ADAL" clId="{D80CB0E3-8ED4-4E1B-83B0-CBE117AF958E}" dt="2022-03-12T05:03:28.278" v="330"/>
          <ac:inkMkLst>
            <pc:docMk/>
            <pc:sldMk cId="3123321378" sldId="282"/>
            <ac:inkMk id="12" creationId="{A551D754-E8AB-484A-9AC0-7F9E45E01D50}"/>
          </ac:inkMkLst>
        </pc:inkChg>
        <pc:inkChg chg="add mod">
          <ac:chgData name="Aniket Chhabra" userId="598e0514-bef3-4e71-b6aa-f2edd6441cff" providerId="ADAL" clId="{D80CB0E3-8ED4-4E1B-83B0-CBE117AF958E}" dt="2022-03-12T05:03:28.278" v="330"/>
          <ac:inkMkLst>
            <pc:docMk/>
            <pc:sldMk cId="3123321378" sldId="282"/>
            <ac:inkMk id="13" creationId="{968CC531-12AF-48A0-9926-531849A86457}"/>
          </ac:inkMkLst>
        </pc:inkChg>
        <pc:inkChg chg="add mod">
          <ac:chgData name="Aniket Chhabra" userId="598e0514-bef3-4e71-b6aa-f2edd6441cff" providerId="ADAL" clId="{D80CB0E3-8ED4-4E1B-83B0-CBE117AF958E}" dt="2022-03-12T05:03:28.278" v="330"/>
          <ac:inkMkLst>
            <pc:docMk/>
            <pc:sldMk cId="3123321378" sldId="282"/>
            <ac:inkMk id="14" creationId="{B1EBD2BD-D766-46DA-8479-5384245E148B}"/>
          </ac:inkMkLst>
        </pc:inkChg>
        <pc:inkChg chg="add mod">
          <ac:chgData name="Aniket Chhabra" userId="598e0514-bef3-4e71-b6aa-f2edd6441cff" providerId="ADAL" clId="{D80CB0E3-8ED4-4E1B-83B0-CBE117AF958E}" dt="2022-03-12T05:03:28.278" v="330"/>
          <ac:inkMkLst>
            <pc:docMk/>
            <pc:sldMk cId="3123321378" sldId="282"/>
            <ac:inkMk id="15" creationId="{8D41ECF2-D97A-4513-963D-CA905733D308}"/>
          </ac:inkMkLst>
        </pc:inkChg>
        <pc:inkChg chg="add mod">
          <ac:chgData name="Aniket Chhabra" userId="598e0514-bef3-4e71-b6aa-f2edd6441cff" providerId="ADAL" clId="{D80CB0E3-8ED4-4E1B-83B0-CBE117AF958E}" dt="2022-03-12T05:03:32.367" v="339"/>
          <ac:inkMkLst>
            <pc:docMk/>
            <pc:sldMk cId="3123321378" sldId="282"/>
            <ac:inkMk id="17" creationId="{CB9DB3A7-444F-49D1-8E0A-A09E209BF9D3}"/>
          </ac:inkMkLst>
        </pc:inkChg>
        <pc:inkChg chg="add mod">
          <ac:chgData name="Aniket Chhabra" userId="598e0514-bef3-4e71-b6aa-f2edd6441cff" providerId="ADAL" clId="{D80CB0E3-8ED4-4E1B-83B0-CBE117AF958E}" dt="2022-03-12T05:03:32.367" v="339"/>
          <ac:inkMkLst>
            <pc:docMk/>
            <pc:sldMk cId="3123321378" sldId="282"/>
            <ac:inkMk id="18" creationId="{A70FD3E2-3FBD-4A9C-BB5C-832BEE1366FA}"/>
          </ac:inkMkLst>
        </pc:inkChg>
        <pc:inkChg chg="add mod">
          <ac:chgData name="Aniket Chhabra" userId="598e0514-bef3-4e71-b6aa-f2edd6441cff" providerId="ADAL" clId="{D80CB0E3-8ED4-4E1B-83B0-CBE117AF958E}" dt="2022-03-12T05:03:32.367" v="339"/>
          <ac:inkMkLst>
            <pc:docMk/>
            <pc:sldMk cId="3123321378" sldId="282"/>
            <ac:inkMk id="19" creationId="{128EC418-FAE6-4C88-BA42-BD89D28A3DBD}"/>
          </ac:inkMkLst>
        </pc:inkChg>
        <pc:inkChg chg="add mod">
          <ac:chgData name="Aniket Chhabra" userId="598e0514-bef3-4e71-b6aa-f2edd6441cff" providerId="ADAL" clId="{D80CB0E3-8ED4-4E1B-83B0-CBE117AF958E}" dt="2022-03-12T05:03:32.367" v="339"/>
          <ac:inkMkLst>
            <pc:docMk/>
            <pc:sldMk cId="3123321378" sldId="282"/>
            <ac:inkMk id="20" creationId="{2E5223C7-0637-4F34-8E7C-6DE2C2F66C05}"/>
          </ac:inkMkLst>
        </pc:inkChg>
        <pc:inkChg chg="add mod">
          <ac:chgData name="Aniket Chhabra" userId="598e0514-bef3-4e71-b6aa-f2edd6441cff" providerId="ADAL" clId="{D80CB0E3-8ED4-4E1B-83B0-CBE117AF958E}" dt="2022-03-12T05:03:32.367" v="339"/>
          <ac:inkMkLst>
            <pc:docMk/>
            <pc:sldMk cId="3123321378" sldId="282"/>
            <ac:inkMk id="21" creationId="{567A8B26-A119-46E9-B607-A5CC3F513BBB}"/>
          </ac:inkMkLst>
        </pc:inkChg>
        <pc:inkChg chg="add mod">
          <ac:chgData name="Aniket Chhabra" userId="598e0514-bef3-4e71-b6aa-f2edd6441cff" providerId="ADAL" clId="{D80CB0E3-8ED4-4E1B-83B0-CBE117AF958E}" dt="2022-03-12T05:03:32.367" v="339"/>
          <ac:inkMkLst>
            <pc:docMk/>
            <pc:sldMk cId="3123321378" sldId="282"/>
            <ac:inkMk id="22" creationId="{D9602C7C-390B-4244-8A96-F38A4B4F4503}"/>
          </ac:inkMkLst>
        </pc:inkChg>
        <pc:inkChg chg="add mod">
          <ac:chgData name="Aniket Chhabra" userId="598e0514-bef3-4e71-b6aa-f2edd6441cff" providerId="ADAL" clId="{D80CB0E3-8ED4-4E1B-83B0-CBE117AF958E}" dt="2022-03-12T05:03:32.367" v="339"/>
          <ac:inkMkLst>
            <pc:docMk/>
            <pc:sldMk cId="3123321378" sldId="282"/>
            <ac:inkMk id="23" creationId="{9EC7D202-B3EB-4AA9-9324-9679D4DAF88C}"/>
          </ac:inkMkLst>
        </pc:inkChg>
        <pc:inkChg chg="add mod">
          <ac:chgData name="Aniket Chhabra" userId="598e0514-bef3-4e71-b6aa-f2edd6441cff" providerId="ADAL" clId="{D80CB0E3-8ED4-4E1B-83B0-CBE117AF958E}" dt="2022-03-12T05:03:32.367" v="339"/>
          <ac:inkMkLst>
            <pc:docMk/>
            <pc:sldMk cId="3123321378" sldId="282"/>
            <ac:inkMk id="24" creationId="{8BBEAF9D-21D6-4579-AEE5-5DDEFF3FBF0F}"/>
          </ac:inkMkLst>
        </pc:inkChg>
      </pc:sldChg>
      <pc:sldChg chg="addSp delSp modSp mod">
        <pc:chgData name="Aniket Chhabra" userId="598e0514-bef3-4e71-b6aa-f2edd6441cff" providerId="ADAL" clId="{D80CB0E3-8ED4-4E1B-83B0-CBE117AF958E}" dt="2022-03-12T05:04:12.072" v="389"/>
        <pc:sldMkLst>
          <pc:docMk/>
          <pc:sldMk cId="297569572" sldId="283"/>
        </pc:sldMkLst>
        <pc:grpChg chg="mod">
          <ac:chgData name="Aniket Chhabra" userId="598e0514-bef3-4e71-b6aa-f2edd6441cff" providerId="ADAL" clId="{D80CB0E3-8ED4-4E1B-83B0-CBE117AF958E}" dt="2022-03-12T05:03:41.853" v="356"/>
          <ac:grpSpMkLst>
            <pc:docMk/>
            <pc:sldMk cId="297569572" sldId="283"/>
            <ac:grpSpMk id="21" creationId="{F6E41E16-D9F9-470B-807A-CAA55313B703}"/>
          </ac:grpSpMkLst>
        </pc:grpChg>
        <pc:grpChg chg="mod">
          <ac:chgData name="Aniket Chhabra" userId="598e0514-bef3-4e71-b6aa-f2edd6441cff" providerId="ADAL" clId="{D80CB0E3-8ED4-4E1B-83B0-CBE117AF958E}" dt="2022-03-12T05:03:41.853" v="356"/>
          <ac:grpSpMkLst>
            <pc:docMk/>
            <pc:sldMk cId="297569572" sldId="283"/>
            <ac:grpSpMk id="22" creationId="{82C94A94-BE30-46EF-9A76-DCF42BDDBF66}"/>
          </ac:grpSpMkLst>
        </pc:grpChg>
        <pc:grpChg chg="del mod">
          <ac:chgData name="Aniket Chhabra" userId="598e0514-bef3-4e71-b6aa-f2edd6441cff" providerId="ADAL" clId="{D80CB0E3-8ED4-4E1B-83B0-CBE117AF958E}" dt="2022-03-12T05:04:08.048" v="382"/>
          <ac:grpSpMkLst>
            <pc:docMk/>
            <pc:sldMk cId="297569572" sldId="283"/>
            <ac:grpSpMk id="38" creationId="{C0A6727F-8F08-48A7-B5E3-72B528B6430C}"/>
          </ac:grpSpMkLst>
        </pc:grpChg>
        <pc:grpChg chg="mod">
          <ac:chgData name="Aniket Chhabra" userId="598e0514-bef3-4e71-b6aa-f2edd6441cff" providerId="ADAL" clId="{D80CB0E3-8ED4-4E1B-83B0-CBE117AF958E}" dt="2022-03-12T05:04:02.433" v="372"/>
          <ac:grpSpMkLst>
            <pc:docMk/>
            <pc:sldMk cId="297569572" sldId="283"/>
            <ac:grpSpMk id="39" creationId="{55C18F13-DDB2-4EF7-8CFB-F2A36E00C738}"/>
          </ac:grpSpMkLst>
        </pc:grpChg>
        <pc:grpChg chg="mod">
          <ac:chgData name="Aniket Chhabra" userId="598e0514-bef3-4e71-b6aa-f2edd6441cff" providerId="ADAL" clId="{D80CB0E3-8ED4-4E1B-83B0-CBE117AF958E}" dt="2022-03-12T05:04:02.433" v="372"/>
          <ac:grpSpMkLst>
            <pc:docMk/>
            <pc:sldMk cId="297569572" sldId="283"/>
            <ac:grpSpMk id="40" creationId="{3BEB3F40-7B81-4790-83AB-A383F610F209}"/>
          </ac:grpSpMkLst>
        </pc:grpChg>
        <pc:grpChg chg="mod">
          <ac:chgData name="Aniket Chhabra" userId="598e0514-bef3-4e71-b6aa-f2edd6441cff" providerId="ADAL" clId="{D80CB0E3-8ED4-4E1B-83B0-CBE117AF958E}" dt="2022-03-12T05:04:08.048" v="382"/>
          <ac:grpSpMkLst>
            <pc:docMk/>
            <pc:sldMk cId="297569572" sldId="283"/>
            <ac:grpSpMk id="50" creationId="{A7434C20-1C3E-4A4B-9705-8D420688E426}"/>
          </ac:grpSpMkLst>
        </pc:grpChg>
        <pc:grpChg chg="mod">
          <ac:chgData name="Aniket Chhabra" userId="598e0514-bef3-4e71-b6aa-f2edd6441cff" providerId="ADAL" clId="{D80CB0E3-8ED4-4E1B-83B0-CBE117AF958E}" dt="2022-03-12T05:04:12.072" v="389"/>
          <ac:grpSpMkLst>
            <pc:docMk/>
            <pc:sldMk cId="297569572" sldId="283"/>
            <ac:grpSpMk id="57" creationId="{163F8E55-64FE-4707-89D9-95F3A1FB57F8}"/>
          </ac:grpSpMkLst>
        </pc:grpChg>
        <pc:grpChg chg="mod">
          <ac:chgData name="Aniket Chhabra" userId="598e0514-bef3-4e71-b6aa-f2edd6441cff" providerId="ADAL" clId="{D80CB0E3-8ED4-4E1B-83B0-CBE117AF958E}" dt="2022-03-12T05:04:12.072" v="389"/>
          <ac:grpSpMkLst>
            <pc:docMk/>
            <pc:sldMk cId="297569572" sldId="283"/>
            <ac:grpSpMk id="58" creationId="{B9ACDC86-8FFE-4681-B2A6-7503E53D0BDD}"/>
          </ac:grpSpMkLst>
        </pc:grpChg>
        <pc:picChg chg="add">
          <ac:chgData name="Aniket Chhabra" userId="598e0514-bef3-4e71-b6aa-f2edd6441cff" providerId="ADAL" clId="{D80CB0E3-8ED4-4E1B-83B0-CBE117AF958E}" dt="2022-03-12T05:03:15.849" v="316"/>
          <ac:picMkLst>
            <pc:docMk/>
            <pc:sldMk cId="297569572" sldId="283"/>
            <ac:picMk id="3" creationId="{3BA9F411-56CC-4F41-99C2-16B8AED8C70B}"/>
          </ac:picMkLst>
        </pc:pic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5" creationId="{A785E641-B634-4DCF-97E1-3D5D00542F7E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6" creationId="{C68658D9-3249-405D-B5C9-66ABCA790ACA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7" creationId="{D34B93BE-1BC7-4483-AC04-D272764B9957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8" creationId="{B2F90B03-31FE-45F2-B7AA-03C76E845B33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9" creationId="{A4DC2CAB-CEBE-479E-88A2-9ADA39514C6D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10" creationId="{E2B17D4C-9A17-4F7A-B9F9-CB57D84A6E64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11" creationId="{A0F5702D-0300-4B35-922A-9270AA6CEF56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12" creationId="{3B0C24DB-BBCB-4AEA-94EA-B6D9C4BD504F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13" creationId="{334BD5FA-5DDE-4073-8BD6-70F0CD819439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14" creationId="{9840C28E-B391-4D9D-AB64-138EC81D44E4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15" creationId="{9F3D7685-D667-44C8-BA55-823C7AD48618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16" creationId="{879068E7-340F-4785-AD7D-B9E46B8B41F1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17" creationId="{AA1A8FC1-BAEA-4B4F-B8D5-A3CD40B73AE4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18" creationId="{19078317-EA09-4134-BD6B-F48C09F6CB66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19" creationId="{496DDB43-F0D9-4FCC-A856-06B27D420E5E}"/>
          </ac:inkMkLst>
        </pc:inkChg>
        <pc:inkChg chg="add mod">
          <ac:chgData name="Aniket Chhabra" userId="598e0514-bef3-4e71-b6aa-f2edd6441cff" providerId="ADAL" clId="{D80CB0E3-8ED4-4E1B-83B0-CBE117AF958E}" dt="2022-03-12T05:03:41.853" v="356"/>
          <ac:inkMkLst>
            <pc:docMk/>
            <pc:sldMk cId="297569572" sldId="283"/>
            <ac:inkMk id="20" creationId="{1ADD1B3A-EE01-48CE-8414-561BBBB725A8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23" creationId="{8BF395D2-6834-4205-8144-7C02613F02DE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24" creationId="{005BD123-9D71-4260-A5A1-D3DB65EC7362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25" creationId="{A2FAF626-884D-4288-A3D8-8B56BDAB8F3E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26" creationId="{F3E982E8-9573-4F92-9534-A338D8908B72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27" creationId="{03151806-313C-4F8C-AC7E-641FA319543C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28" creationId="{003D152B-C685-47DC-932C-C9C1612DF557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29" creationId="{CDDE455D-EF1A-4E06-A2F4-A882FDAE7D58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30" creationId="{715FBBF5-08D7-4A04-9ED6-DDCDC61A9279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31" creationId="{995D951B-C5D8-49F5-8BE3-439EAD4B7794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32" creationId="{078B5846-0F30-4480-BC1A-11799DCC49AF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33" creationId="{ADE5418B-8240-4EF3-8C9E-49115CD81FE7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34" creationId="{249A9F6A-779D-4FD6-AAB1-005BCA67E4CA}"/>
          </ac:inkMkLst>
        </pc:inkChg>
        <pc:inkChg chg="add mod">
          <ac:chgData name="Aniket Chhabra" userId="598e0514-bef3-4e71-b6aa-f2edd6441cff" providerId="ADAL" clId="{D80CB0E3-8ED4-4E1B-83B0-CBE117AF958E}" dt="2022-03-12T05:04:02.433" v="372"/>
          <ac:inkMkLst>
            <pc:docMk/>
            <pc:sldMk cId="297569572" sldId="283"/>
            <ac:inkMk id="35" creationId="{1AC5BB16-5275-4427-8A11-2BF1C22EB7B3}"/>
          </ac:inkMkLst>
        </pc:inkChg>
        <pc:inkChg chg="add mod">
          <ac:chgData name="Aniket Chhabra" userId="598e0514-bef3-4e71-b6aa-f2edd6441cff" providerId="ADAL" clId="{D80CB0E3-8ED4-4E1B-83B0-CBE117AF958E}" dt="2022-03-12T05:04:08.048" v="382"/>
          <ac:inkMkLst>
            <pc:docMk/>
            <pc:sldMk cId="297569572" sldId="283"/>
            <ac:inkMk id="36" creationId="{765EAEBB-A0A7-43E3-B3C9-5EDF96F8C21F}"/>
          </ac:inkMkLst>
        </pc:inkChg>
        <pc:inkChg chg="add mod">
          <ac:chgData name="Aniket Chhabra" userId="598e0514-bef3-4e71-b6aa-f2edd6441cff" providerId="ADAL" clId="{D80CB0E3-8ED4-4E1B-83B0-CBE117AF958E}" dt="2022-03-12T05:04:08.048" v="382"/>
          <ac:inkMkLst>
            <pc:docMk/>
            <pc:sldMk cId="297569572" sldId="283"/>
            <ac:inkMk id="37" creationId="{D61AE704-E8F0-4FC7-BEC5-35CCE90164CE}"/>
          </ac:inkMkLst>
        </pc:inkChg>
        <pc:inkChg chg="add mod">
          <ac:chgData name="Aniket Chhabra" userId="598e0514-bef3-4e71-b6aa-f2edd6441cff" providerId="ADAL" clId="{D80CB0E3-8ED4-4E1B-83B0-CBE117AF958E}" dt="2022-03-12T05:04:08.048" v="382"/>
          <ac:inkMkLst>
            <pc:docMk/>
            <pc:sldMk cId="297569572" sldId="283"/>
            <ac:inkMk id="41" creationId="{8A1D71CD-AA8E-43F2-9D43-4F9D7AC1FB7B}"/>
          </ac:inkMkLst>
        </pc:inkChg>
        <pc:inkChg chg="add mod">
          <ac:chgData name="Aniket Chhabra" userId="598e0514-bef3-4e71-b6aa-f2edd6441cff" providerId="ADAL" clId="{D80CB0E3-8ED4-4E1B-83B0-CBE117AF958E}" dt="2022-03-12T05:04:08.048" v="382"/>
          <ac:inkMkLst>
            <pc:docMk/>
            <pc:sldMk cId="297569572" sldId="283"/>
            <ac:inkMk id="42" creationId="{E9C83926-2BE6-4FBC-A4B8-8A45A5822A5B}"/>
          </ac:inkMkLst>
        </pc:inkChg>
        <pc:inkChg chg="add mod">
          <ac:chgData name="Aniket Chhabra" userId="598e0514-bef3-4e71-b6aa-f2edd6441cff" providerId="ADAL" clId="{D80CB0E3-8ED4-4E1B-83B0-CBE117AF958E}" dt="2022-03-12T05:04:08.048" v="382"/>
          <ac:inkMkLst>
            <pc:docMk/>
            <pc:sldMk cId="297569572" sldId="283"/>
            <ac:inkMk id="43" creationId="{B1DF064A-231F-41C1-9D5C-D3BCB9366DF9}"/>
          </ac:inkMkLst>
        </pc:inkChg>
        <pc:inkChg chg="add mod">
          <ac:chgData name="Aniket Chhabra" userId="598e0514-bef3-4e71-b6aa-f2edd6441cff" providerId="ADAL" clId="{D80CB0E3-8ED4-4E1B-83B0-CBE117AF958E}" dt="2022-03-12T05:04:08.048" v="382"/>
          <ac:inkMkLst>
            <pc:docMk/>
            <pc:sldMk cId="297569572" sldId="283"/>
            <ac:inkMk id="44" creationId="{F8249358-E716-4EB9-BB0D-8E364DADCCB3}"/>
          </ac:inkMkLst>
        </pc:inkChg>
        <pc:inkChg chg="add mod">
          <ac:chgData name="Aniket Chhabra" userId="598e0514-bef3-4e71-b6aa-f2edd6441cff" providerId="ADAL" clId="{D80CB0E3-8ED4-4E1B-83B0-CBE117AF958E}" dt="2022-03-12T05:04:08.048" v="382"/>
          <ac:inkMkLst>
            <pc:docMk/>
            <pc:sldMk cId="297569572" sldId="283"/>
            <ac:inkMk id="45" creationId="{B0319156-32DB-45A7-9AEA-F7DE4636B295}"/>
          </ac:inkMkLst>
        </pc:inkChg>
        <pc:inkChg chg="add mod">
          <ac:chgData name="Aniket Chhabra" userId="598e0514-bef3-4e71-b6aa-f2edd6441cff" providerId="ADAL" clId="{D80CB0E3-8ED4-4E1B-83B0-CBE117AF958E}" dt="2022-03-12T05:04:08.048" v="382"/>
          <ac:inkMkLst>
            <pc:docMk/>
            <pc:sldMk cId="297569572" sldId="283"/>
            <ac:inkMk id="46" creationId="{867CE8D9-F965-4A93-AB04-81FC3F43C15E}"/>
          </ac:inkMkLst>
        </pc:inkChg>
        <pc:inkChg chg="add mod">
          <ac:chgData name="Aniket Chhabra" userId="598e0514-bef3-4e71-b6aa-f2edd6441cff" providerId="ADAL" clId="{D80CB0E3-8ED4-4E1B-83B0-CBE117AF958E}" dt="2022-03-12T05:04:08.048" v="382"/>
          <ac:inkMkLst>
            <pc:docMk/>
            <pc:sldMk cId="297569572" sldId="283"/>
            <ac:inkMk id="47" creationId="{CED406D3-194C-4CE6-B62F-D2F38F9FFBDA}"/>
          </ac:inkMkLst>
        </pc:inkChg>
        <pc:inkChg chg="add mod">
          <ac:chgData name="Aniket Chhabra" userId="598e0514-bef3-4e71-b6aa-f2edd6441cff" providerId="ADAL" clId="{D80CB0E3-8ED4-4E1B-83B0-CBE117AF958E}" dt="2022-03-12T05:04:08.048" v="382"/>
          <ac:inkMkLst>
            <pc:docMk/>
            <pc:sldMk cId="297569572" sldId="283"/>
            <ac:inkMk id="48" creationId="{C9079A34-1FA0-4420-8A74-5BB175BBF121}"/>
          </ac:inkMkLst>
        </pc:inkChg>
        <pc:inkChg chg="add mod">
          <ac:chgData name="Aniket Chhabra" userId="598e0514-bef3-4e71-b6aa-f2edd6441cff" providerId="ADAL" clId="{D80CB0E3-8ED4-4E1B-83B0-CBE117AF958E}" dt="2022-03-12T05:04:08.048" v="382"/>
          <ac:inkMkLst>
            <pc:docMk/>
            <pc:sldMk cId="297569572" sldId="283"/>
            <ac:inkMk id="49" creationId="{F37F70EA-7DCF-46BD-BC3C-969E67F5DBA4}"/>
          </ac:inkMkLst>
        </pc:inkChg>
        <pc:inkChg chg="add mod">
          <ac:chgData name="Aniket Chhabra" userId="598e0514-bef3-4e71-b6aa-f2edd6441cff" providerId="ADAL" clId="{D80CB0E3-8ED4-4E1B-83B0-CBE117AF958E}" dt="2022-03-12T05:04:12.072" v="389"/>
          <ac:inkMkLst>
            <pc:docMk/>
            <pc:sldMk cId="297569572" sldId="283"/>
            <ac:inkMk id="51" creationId="{665DCB5F-5A90-4333-BDFE-A68B4729695C}"/>
          </ac:inkMkLst>
        </pc:inkChg>
        <pc:inkChg chg="add mod">
          <ac:chgData name="Aniket Chhabra" userId="598e0514-bef3-4e71-b6aa-f2edd6441cff" providerId="ADAL" clId="{D80CB0E3-8ED4-4E1B-83B0-CBE117AF958E}" dt="2022-03-12T05:04:12.072" v="389"/>
          <ac:inkMkLst>
            <pc:docMk/>
            <pc:sldMk cId="297569572" sldId="283"/>
            <ac:inkMk id="52" creationId="{193AFE04-527A-4C5D-B371-B3EEB5D4AD44}"/>
          </ac:inkMkLst>
        </pc:inkChg>
        <pc:inkChg chg="add mod">
          <ac:chgData name="Aniket Chhabra" userId="598e0514-bef3-4e71-b6aa-f2edd6441cff" providerId="ADAL" clId="{D80CB0E3-8ED4-4E1B-83B0-CBE117AF958E}" dt="2022-03-12T05:04:12.072" v="389"/>
          <ac:inkMkLst>
            <pc:docMk/>
            <pc:sldMk cId="297569572" sldId="283"/>
            <ac:inkMk id="53" creationId="{4DF5C401-CFF2-4240-B26B-9A44B081015D}"/>
          </ac:inkMkLst>
        </pc:inkChg>
        <pc:inkChg chg="add mod">
          <ac:chgData name="Aniket Chhabra" userId="598e0514-bef3-4e71-b6aa-f2edd6441cff" providerId="ADAL" clId="{D80CB0E3-8ED4-4E1B-83B0-CBE117AF958E}" dt="2022-03-12T05:04:12.072" v="389"/>
          <ac:inkMkLst>
            <pc:docMk/>
            <pc:sldMk cId="297569572" sldId="283"/>
            <ac:inkMk id="54" creationId="{DA9947B5-66E1-4A31-A5A9-540F1E2387EB}"/>
          </ac:inkMkLst>
        </pc:inkChg>
        <pc:inkChg chg="add mod">
          <ac:chgData name="Aniket Chhabra" userId="598e0514-bef3-4e71-b6aa-f2edd6441cff" providerId="ADAL" clId="{D80CB0E3-8ED4-4E1B-83B0-CBE117AF958E}" dt="2022-03-12T05:04:12.072" v="389"/>
          <ac:inkMkLst>
            <pc:docMk/>
            <pc:sldMk cId="297569572" sldId="283"/>
            <ac:inkMk id="55" creationId="{8714C07C-3816-42C2-B5C9-AF609A915D0F}"/>
          </ac:inkMkLst>
        </pc:inkChg>
        <pc:inkChg chg="add mod">
          <ac:chgData name="Aniket Chhabra" userId="598e0514-bef3-4e71-b6aa-f2edd6441cff" providerId="ADAL" clId="{D80CB0E3-8ED4-4E1B-83B0-CBE117AF958E}" dt="2022-03-12T05:04:12.072" v="389"/>
          <ac:inkMkLst>
            <pc:docMk/>
            <pc:sldMk cId="297569572" sldId="283"/>
            <ac:inkMk id="56" creationId="{44EAD8F5-B453-45D5-ABDC-D6C2D0807EE7}"/>
          </ac:inkMkLst>
        </pc:inkChg>
      </pc:sldChg>
      <pc:sldChg chg="addSp modSp mod">
        <pc:chgData name="Aniket Chhabra" userId="598e0514-bef3-4e71-b6aa-f2edd6441cff" providerId="ADAL" clId="{D80CB0E3-8ED4-4E1B-83B0-CBE117AF958E}" dt="2022-03-12T05:04:45.007" v="410"/>
        <pc:sldMkLst>
          <pc:docMk/>
          <pc:sldMk cId="570822291" sldId="284"/>
        </pc:sldMkLst>
        <pc:grpChg chg="mod">
          <ac:chgData name="Aniket Chhabra" userId="598e0514-bef3-4e71-b6aa-f2edd6441cff" providerId="ADAL" clId="{D80CB0E3-8ED4-4E1B-83B0-CBE117AF958E}" dt="2022-03-12T05:04:41.548" v="402"/>
          <ac:grpSpMkLst>
            <pc:docMk/>
            <pc:sldMk cId="570822291" sldId="284"/>
            <ac:grpSpMk id="15" creationId="{E3A128DB-75F2-41A7-98ED-3B12AA878B53}"/>
          </ac:grpSpMkLst>
        </pc:grpChg>
        <pc:grpChg chg="mod">
          <ac:chgData name="Aniket Chhabra" userId="598e0514-bef3-4e71-b6aa-f2edd6441cff" providerId="ADAL" clId="{D80CB0E3-8ED4-4E1B-83B0-CBE117AF958E}" dt="2022-03-12T05:04:41.548" v="402"/>
          <ac:grpSpMkLst>
            <pc:docMk/>
            <pc:sldMk cId="570822291" sldId="284"/>
            <ac:grpSpMk id="16" creationId="{7F0AB89A-F599-4600-A603-A89CD3999587}"/>
          </ac:grpSpMkLst>
        </pc:grpChg>
        <pc:grpChg chg="mod">
          <ac:chgData name="Aniket Chhabra" userId="598e0514-bef3-4e71-b6aa-f2edd6441cff" providerId="ADAL" clId="{D80CB0E3-8ED4-4E1B-83B0-CBE117AF958E}" dt="2022-03-12T05:04:41.548" v="402"/>
          <ac:grpSpMkLst>
            <pc:docMk/>
            <pc:sldMk cId="570822291" sldId="284"/>
            <ac:grpSpMk id="17" creationId="{FF920CFB-8402-4FD5-8F41-D91CB474193A}"/>
          </ac:grpSpMkLst>
        </pc:grpChg>
        <pc:grpChg chg="mod">
          <ac:chgData name="Aniket Chhabra" userId="598e0514-bef3-4e71-b6aa-f2edd6441cff" providerId="ADAL" clId="{D80CB0E3-8ED4-4E1B-83B0-CBE117AF958E}" dt="2022-03-12T05:04:45.007" v="410"/>
          <ac:grpSpMkLst>
            <pc:docMk/>
            <pc:sldMk cId="570822291" sldId="284"/>
            <ac:grpSpMk id="25" creationId="{AEB7CA8A-7FA9-4D01-A58D-CB582A28FFFF}"/>
          </ac:grpSpMkLst>
        </pc:grpChg>
        <pc:picChg chg="add">
          <ac:chgData name="Aniket Chhabra" userId="598e0514-bef3-4e71-b6aa-f2edd6441cff" providerId="ADAL" clId="{D80CB0E3-8ED4-4E1B-83B0-CBE117AF958E}" dt="2022-03-12T05:04:31.676" v="391"/>
          <ac:picMkLst>
            <pc:docMk/>
            <pc:sldMk cId="570822291" sldId="284"/>
            <ac:picMk id="3" creationId="{A986F1A9-9B8E-4CF0-85F4-D3000C822A0C}"/>
          </ac:picMkLst>
        </pc:picChg>
        <pc:inkChg chg="add mod">
          <ac:chgData name="Aniket Chhabra" userId="598e0514-bef3-4e71-b6aa-f2edd6441cff" providerId="ADAL" clId="{D80CB0E3-8ED4-4E1B-83B0-CBE117AF958E}" dt="2022-03-12T05:04:41.548" v="402"/>
          <ac:inkMkLst>
            <pc:docMk/>
            <pc:sldMk cId="570822291" sldId="284"/>
            <ac:inkMk id="5" creationId="{0522923D-C01F-4195-A962-A153A1F4CD17}"/>
          </ac:inkMkLst>
        </pc:inkChg>
        <pc:inkChg chg="add mod">
          <ac:chgData name="Aniket Chhabra" userId="598e0514-bef3-4e71-b6aa-f2edd6441cff" providerId="ADAL" clId="{D80CB0E3-8ED4-4E1B-83B0-CBE117AF958E}" dt="2022-03-12T05:04:41.548" v="402"/>
          <ac:inkMkLst>
            <pc:docMk/>
            <pc:sldMk cId="570822291" sldId="284"/>
            <ac:inkMk id="6" creationId="{C3BBCE99-03A7-4618-984A-29CEDFAE60F6}"/>
          </ac:inkMkLst>
        </pc:inkChg>
        <pc:inkChg chg="add mod">
          <ac:chgData name="Aniket Chhabra" userId="598e0514-bef3-4e71-b6aa-f2edd6441cff" providerId="ADAL" clId="{D80CB0E3-8ED4-4E1B-83B0-CBE117AF958E}" dt="2022-03-12T05:04:41.548" v="402"/>
          <ac:inkMkLst>
            <pc:docMk/>
            <pc:sldMk cId="570822291" sldId="284"/>
            <ac:inkMk id="7" creationId="{7D7B259D-64BA-4575-9A48-82C5EC976B60}"/>
          </ac:inkMkLst>
        </pc:inkChg>
        <pc:inkChg chg="add mod">
          <ac:chgData name="Aniket Chhabra" userId="598e0514-bef3-4e71-b6aa-f2edd6441cff" providerId="ADAL" clId="{D80CB0E3-8ED4-4E1B-83B0-CBE117AF958E}" dt="2022-03-12T05:04:41.548" v="402"/>
          <ac:inkMkLst>
            <pc:docMk/>
            <pc:sldMk cId="570822291" sldId="284"/>
            <ac:inkMk id="8" creationId="{5EC85809-363A-4C69-BBDC-0687A1F95069}"/>
          </ac:inkMkLst>
        </pc:inkChg>
        <pc:inkChg chg="add mod">
          <ac:chgData name="Aniket Chhabra" userId="598e0514-bef3-4e71-b6aa-f2edd6441cff" providerId="ADAL" clId="{D80CB0E3-8ED4-4E1B-83B0-CBE117AF958E}" dt="2022-03-12T05:04:41.548" v="402"/>
          <ac:inkMkLst>
            <pc:docMk/>
            <pc:sldMk cId="570822291" sldId="284"/>
            <ac:inkMk id="9" creationId="{84DB00CB-2C34-4B21-B943-D34BC7BB8896}"/>
          </ac:inkMkLst>
        </pc:inkChg>
        <pc:inkChg chg="add mod">
          <ac:chgData name="Aniket Chhabra" userId="598e0514-bef3-4e71-b6aa-f2edd6441cff" providerId="ADAL" clId="{D80CB0E3-8ED4-4E1B-83B0-CBE117AF958E}" dt="2022-03-12T05:04:41.548" v="402"/>
          <ac:inkMkLst>
            <pc:docMk/>
            <pc:sldMk cId="570822291" sldId="284"/>
            <ac:inkMk id="10" creationId="{797F39E1-D18B-41BB-A749-673FD3562401}"/>
          </ac:inkMkLst>
        </pc:inkChg>
        <pc:inkChg chg="add mod">
          <ac:chgData name="Aniket Chhabra" userId="598e0514-bef3-4e71-b6aa-f2edd6441cff" providerId="ADAL" clId="{D80CB0E3-8ED4-4E1B-83B0-CBE117AF958E}" dt="2022-03-12T05:04:41.548" v="402"/>
          <ac:inkMkLst>
            <pc:docMk/>
            <pc:sldMk cId="570822291" sldId="284"/>
            <ac:inkMk id="11" creationId="{BB9D70F4-25DB-4D0E-AD24-392169BC9BD0}"/>
          </ac:inkMkLst>
        </pc:inkChg>
        <pc:inkChg chg="add mod">
          <ac:chgData name="Aniket Chhabra" userId="598e0514-bef3-4e71-b6aa-f2edd6441cff" providerId="ADAL" clId="{D80CB0E3-8ED4-4E1B-83B0-CBE117AF958E}" dt="2022-03-12T05:04:41.548" v="402"/>
          <ac:inkMkLst>
            <pc:docMk/>
            <pc:sldMk cId="570822291" sldId="284"/>
            <ac:inkMk id="12" creationId="{5C7D8FBA-1783-45F0-BB60-3063949D8C0F}"/>
          </ac:inkMkLst>
        </pc:inkChg>
        <pc:inkChg chg="add mod">
          <ac:chgData name="Aniket Chhabra" userId="598e0514-bef3-4e71-b6aa-f2edd6441cff" providerId="ADAL" clId="{D80CB0E3-8ED4-4E1B-83B0-CBE117AF958E}" dt="2022-03-12T05:04:41.548" v="402"/>
          <ac:inkMkLst>
            <pc:docMk/>
            <pc:sldMk cId="570822291" sldId="284"/>
            <ac:inkMk id="13" creationId="{321DC640-A9C1-4D60-8120-68F146ED2E7A}"/>
          </ac:inkMkLst>
        </pc:inkChg>
        <pc:inkChg chg="add mod">
          <ac:chgData name="Aniket Chhabra" userId="598e0514-bef3-4e71-b6aa-f2edd6441cff" providerId="ADAL" clId="{D80CB0E3-8ED4-4E1B-83B0-CBE117AF958E}" dt="2022-03-12T05:04:41.548" v="402"/>
          <ac:inkMkLst>
            <pc:docMk/>
            <pc:sldMk cId="570822291" sldId="284"/>
            <ac:inkMk id="14" creationId="{533353DC-213D-4723-A2E5-1C007A38C559}"/>
          </ac:inkMkLst>
        </pc:inkChg>
        <pc:inkChg chg="add mod">
          <ac:chgData name="Aniket Chhabra" userId="598e0514-bef3-4e71-b6aa-f2edd6441cff" providerId="ADAL" clId="{D80CB0E3-8ED4-4E1B-83B0-CBE117AF958E}" dt="2022-03-12T05:04:45.007" v="410"/>
          <ac:inkMkLst>
            <pc:docMk/>
            <pc:sldMk cId="570822291" sldId="284"/>
            <ac:inkMk id="18" creationId="{5DB27B8A-EC92-4D38-8ADD-79991905F3F5}"/>
          </ac:inkMkLst>
        </pc:inkChg>
        <pc:inkChg chg="add mod">
          <ac:chgData name="Aniket Chhabra" userId="598e0514-bef3-4e71-b6aa-f2edd6441cff" providerId="ADAL" clId="{D80CB0E3-8ED4-4E1B-83B0-CBE117AF958E}" dt="2022-03-12T05:04:45.007" v="410"/>
          <ac:inkMkLst>
            <pc:docMk/>
            <pc:sldMk cId="570822291" sldId="284"/>
            <ac:inkMk id="19" creationId="{E259B745-0FA2-4D2C-A660-BBBB500945EF}"/>
          </ac:inkMkLst>
        </pc:inkChg>
        <pc:inkChg chg="add mod">
          <ac:chgData name="Aniket Chhabra" userId="598e0514-bef3-4e71-b6aa-f2edd6441cff" providerId="ADAL" clId="{D80CB0E3-8ED4-4E1B-83B0-CBE117AF958E}" dt="2022-03-12T05:04:45.007" v="410"/>
          <ac:inkMkLst>
            <pc:docMk/>
            <pc:sldMk cId="570822291" sldId="284"/>
            <ac:inkMk id="20" creationId="{575B5714-2690-439F-81B1-6527FAD710F1}"/>
          </ac:inkMkLst>
        </pc:inkChg>
        <pc:inkChg chg="add mod">
          <ac:chgData name="Aniket Chhabra" userId="598e0514-bef3-4e71-b6aa-f2edd6441cff" providerId="ADAL" clId="{D80CB0E3-8ED4-4E1B-83B0-CBE117AF958E}" dt="2022-03-12T05:04:45.007" v="410"/>
          <ac:inkMkLst>
            <pc:docMk/>
            <pc:sldMk cId="570822291" sldId="284"/>
            <ac:inkMk id="21" creationId="{0FA488DE-91C3-4F87-A48D-7B4058596031}"/>
          </ac:inkMkLst>
        </pc:inkChg>
        <pc:inkChg chg="add mod">
          <ac:chgData name="Aniket Chhabra" userId="598e0514-bef3-4e71-b6aa-f2edd6441cff" providerId="ADAL" clId="{D80CB0E3-8ED4-4E1B-83B0-CBE117AF958E}" dt="2022-03-12T05:04:45.007" v="410"/>
          <ac:inkMkLst>
            <pc:docMk/>
            <pc:sldMk cId="570822291" sldId="284"/>
            <ac:inkMk id="22" creationId="{DC469F2A-E259-4221-B984-BB67A913E8BE}"/>
          </ac:inkMkLst>
        </pc:inkChg>
        <pc:inkChg chg="add mod">
          <ac:chgData name="Aniket Chhabra" userId="598e0514-bef3-4e71-b6aa-f2edd6441cff" providerId="ADAL" clId="{D80CB0E3-8ED4-4E1B-83B0-CBE117AF958E}" dt="2022-03-12T05:04:45.007" v="410"/>
          <ac:inkMkLst>
            <pc:docMk/>
            <pc:sldMk cId="570822291" sldId="284"/>
            <ac:inkMk id="23" creationId="{34E3EB59-F2CA-4476-BD6B-62760EAFE74A}"/>
          </ac:inkMkLst>
        </pc:inkChg>
        <pc:inkChg chg="add mod">
          <ac:chgData name="Aniket Chhabra" userId="598e0514-bef3-4e71-b6aa-f2edd6441cff" providerId="ADAL" clId="{D80CB0E3-8ED4-4E1B-83B0-CBE117AF958E}" dt="2022-03-12T05:04:45.007" v="410"/>
          <ac:inkMkLst>
            <pc:docMk/>
            <pc:sldMk cId="570822291" sldId="284"/>
            <ac:inkMk id="24" creationId="{50AE04F1-3B83-410D-A7D0-7B8BF3554493}"/>
          </ac:inkMkLst>
        </pc:inkChg>
      </pc:sldChg>
      <pc:sldChg chg="addSp delSp modSp mod">
        <pc:chgData name="Aniket Chhabra" userId="598e0514-bef3-4e71-b6aa-f2edd6441cff" providerId="ADAL" clId="{D80CB0E3-8ED4-4E1B-83B0-CBE117AF958E}" dt="2022-03-12T05:07:07.989" v="437"/>
        <pc:sldMkLst>
          <pc:docMk/>
          <pc:sldMk cId="3695471028" sldId="285"/>
        </pc:sldMkLst>
        <pc:grpChg chg="del mod">
          <ac:chgData name="Aniket Chhabra" userId="598e0514-bef3-4e71-b6aa-f2edd6441cff" providerId="ADAL" clId="{D80CB0E3-8ED4-4E1B-83B0-CBE117AF958E}" dt="2022-03-12T05:07:01.633" v="428"/>
          <ac:grpSpMkLst>
            <pc:docMk/>
            <pc:sldMk cId="3695471028" sldId="285"/>
            <ac:grpSpMk id="12" creationId="{1A2A5FEF-D4AA-4A2A-A785-0FD4DC05BC59}"/>
          </ac:grpSpMkLst>
        </pc:grpChg>
        <pc:grpChg chg="del mod">
          <ac:chgData name="Aniket Chhabra" userId="598e0514-bef3-4e71-b6aa-f2edd6441cff" providerId="ADAL" clId="{D80CB0E3-8ED4-4E1B-83B0-CBE117AF958E}" dt="2022-03-12T05:07:05.624" v="434"/>
          <ac:grpSpMkLst>
            <pc:docMk/>
            <pc:sldMk cId="3695471028" sldId="285"/>
            <ac:grpSpMk id="15" creationId="{8F2D08B5-1F9C-450B-AE66-EC286A92A1AF}"/>
          </ac:grpSpMkLst>
        </pc:grpChg>
        <pc:grpChg chg="mod">
          <ac:chgData name="Aniket Chhabra" userId="598e0514-bef3-4e71-b6aa-f2edd6441cff" providerId="ADAL" clId="{D80CB0E3-8ED4-4E1B-83B0-CBE117AF958E}" dt="2022-03-12T05:07:05.624" v="434"/>
          <ac:grpSpMkLst>
            <pc:docMk/>
            <pc:sldMk cId="3695471028" sldId="285"/>
            <ac:grpSpMk id="20" creationId="{4FB0E0B3-95D1-422E-8BBF-798256D7F8C8}"/>
          </ac:grpSpMkLst>
        </pc:grpChg>
        <pc:grpChg chg="mod">
          <ac:chgData name="Aniket Chhabra" userId="598e0514-bef3-4e71-b6aa-f2edd6441cff" providerId="ADAL" clId="{D80CB0E3-8ED4-4E1B-83B0-CBE117AF958E}" dt="2022-03-12T05:07:07.989" v="437"/>
          <ac:grpSpMkLst>
            <pc:docMk/>
            <pc:sldMk cId="3695471028" sldId="285"/>
            <ac:grpSpMk id="23" creationId="{DAAA8785-7607-4204-9768-0FB607F917A7}"/>
          </ac:grpSpMkLst>
        </pc:grpChg>
        <pc:picChg chg="add">
          <ac:chgData name="Aniket Chhabra" userId="598e0514-bef3-4e71-b6aa-f2edd6441cff" providerId="ADAL" clId="{D80CB0E3-8ED4-4E1B-83B0-CBE117AF958E}" dt="2022-03-12T05:06:03.405" v="412"/>
          <ac:picMkLst>
            <pc:docMk/>
            <pc:sldMk cId="3695471028" sldId="285"/>
            <ac:picMk id="3" creationId="{DCAB8C72-7CF3-45A8-AF1B-191EE1C3FFCE}"/>
          </ac:picMkLst>
        </pc:picChg>
        <pc:inkChg chg="add mod">
          <ac:chgData name="Aniket Chhabra" userId="598e0514-bef3-4e71-b6aa-f2edd6441cff" providerId="ADAL" clId="{D80CB0E3-8ED4-4E1B-83B0-CBE117AF958E}" dt="2022-03-12T05:07:05.624" v="434"/>
          <ac:inkMkLst>
            <pc:docMk/>
            <pc:sldMk cId="3695471028" sldId="285"/>
            <ac:inkMk id="5" creationId="{F1105B5E-38DA-4901-85AD-779688488EE0}"/>
          </ac:inkMkLst>
        </pc:inkChg>
        <pc:inkChg chg="add mod">
          <ac:chgData name="Aniket Chhabra" userId="598e0514-bef3-4e71-b6aa-f2edd6441cff" providerId="ADAL" clId="{D80CB0E3-8ED4-4E1B-83B0-CBE117AF958E}" dt="2022-03-12T05:07:05.624" v="434"/>
          <ac:inkMkLst>
            <pc:docMk/>
            <pc:sldMk cId="3695471028" sldId="285"/>
            <ac:inkMk id="6" creationId="{7C4F282A-ED76-491B-806E-1B2FA8624CB2}"/>
          </ac:inkMkLst>
        </pc:inkChg>
        <pc:inkChg chg="add del mod">
          <ac:chgData name="Aniket Chhabra" userId="598e0514-bef3-4e71-b6aa-f2edd6441cff" providerId="ADAL" clId="{D80CB0E3-8ED4-4E1B-83B0-CBE117AF958E}" dt="2022-03-12T05:06:59.349" v="421"/>
          <ac:inkMkLst>
            <pc:docMk/>
            <pc:sldMk cId="3695471028" sldId="285"/>
            <ac:inkMk id="7" creationId="{5C039875-DDB8-44F2-9DFE-59CD7E16B636}"/>
          </ac:inkMkLst>
        </pc:inkChg>
        <pc:inkChg chg="add del mod">
          <ac:chgData name="Aniket Chhabra" userId="598e0514-bef3-4e71-b6aa-f2edd6441cff" providerId="ADAL" clId="{D80CB0E3-8ED4-4E1B-83B0-CBE117AF958E}" dt="2022-03-12T05:06:59.353" v="424"/>
          <ac:inkMkLst>
            <pc:docMk/>
            <pc:sldMk cId="3695471028" sldId="285"/>
            <ac:inkMk id="8" creationId="{FD9D9BF7-4B15-484D-9030-4C25584BFDAC}"/>
          </ac:inkMkLst>
        </pc:inkChg>
        <pc:inkChg chg="add del mod">
          <ac:chgData name="Aniket Chhabra" userId="598e0514-bef3-4e71-b6aa-f2edd6441cff" providerId="ADAL" clId="{D80CB0E3-8ED4-4E1B-83B0-CBE117AF958E}" dt="2022-03-12T05:06:59.353" v="425"/>
          <ac:inkMkLst>
            <pc:docMk/>
            <pc:sldMk cId="3695471028" sldId="285"/>
            <ac:inkMk id="9" creationId="{8EAD51A0-5E91-4C3E-BE71-A9893151292C}"/>
          </ac:inkMkLst>
        </pc:inkChg>
        <pc:inkChg chg="add del mod">
          <ac:chgData name="Aniket Chhabra" userId="598e0514-bef3-4e71-b6aa-f2edd6441cff" providerId="ADAL" clId="{D80CB0E3-8ED4-4E1B-83B0-CBE117AF958E}" dt="2022-03-12T05:06:59.351" v="422"/>
          <ac:inkMkLst>
            <pc:docMk/>
            <pc:sldMk cId="3695471028" sldId="285"/>
            <ac:inkMk id="10" creationId="{30FD07F8-44FF-4B74-A08D-36587A31107C}"/>
          </ac:inkMkLst>
        </pc:inkChg>
        <pc:inkChg chg="add del mod">
          <ac:chgData name="Aniket Chhabra" userId="598e0514-bef3-4e71-b6aa-f2edd6441cff" providerId="ADAL" clId="{D80CB0E3-8ED4-4E1B-83B0-CBE117AF958E}" dt="2022-03-12T05:06:59.351" v="423"/>
          <ac:inkMkLst>
            <pc:docMk/>
            <pc:sldMk cId="3695471028" sldId="285"/>
            <ac:inkMk id="11" creationId="{E9DABAD7-90FD-427B-AE4B-91419F4A9955}"/>
          </ac:inkMkLst>
        </pc:inkChg>
        <pc:inkChg chg="add mod">
          <ac:chgData name="Aniket Chhabra" userId="598e0514-bef3-4e71-b6aa-f2edd6441cff" providerId="ADAL" clId="{D80CB0E3-8ED4-4E1B-83B0-CBE117AF958E}" dt="2022-03-12T05:07:05.624" v="434"/>
          <ac:inkMkLst>
            <pc:docMk/>
            <pc:sldMk cId="3695471028" sldId="285"/>
            <ac:inkMk id="13" creationId="{6EA71CC0-0C45-4B07-B163-5E7ED1C5806B}"/>
          </ac:inkMkLst>
        </pc:inkChg>
        <pc:inkChg chg="add mod">
          <ac:chgData name="Aniket Chhabra" userId="598e0514-bef3-4e71-b6aa-f2edd6441cff" providerId="ADAL" clId="{D80CB0E3-8ED4-4E1B-83B0-CBE117AF958E}" dt="2022-03-12T05:07:05.624" v="434"/>
          <ac:inkMkLst>
            <pc:docMk/>
            <pc:sldMk cId="3695471028" sldId="285"/>
            <ac:inkMk id="14" creationId="{6971AB85-1680-4280-A304-F0C46408D395}"/>
          </ac:inkMkLst>
        </pc:inkChg>
        <pc:inkChg chg="add mod">
          <ac:chgData name="Aniket Chhabra" userId="598e0514-bef3-4e71-b6aa-f2edd6441cff" providerId="ADAL" clId="{D80CB0E3-8ED4-4E1B-83B0-CBE117AF958E}" dt="2022-03-12T05:07:05.624" v="434"/>
          <ac:inkMkLst>
            <pc:docMk/>
            <pc:sldMk cId="3695471028" sldId="285"/>
            <ac:inkMk id="16" creationId="{E91C8CBF-7203-4222-9ACD-5F281ACF7604}"/>
          </ac:inkMkLst>
        </pc:inkChg>
        <pc:inkChg chg="add mod">
          <ac:chgData name="Aniket Chhabra" userId="598e0514-bef3-4e71-b6aa-f2edd6441cff" providerId="ADAL" clId="{D80CB0E3-8ED4-4E1B-83B0-CBE117AF958E}" dt="2022-03-12T05:07:05.624" v="434"/>
          <ac:inkMkLst>
            <pc:docMk/>
            <pc:sldMk cId="3695471028" sldId="285"/>
            <ac:inkMk id="17" creationId="{B337C9DF-6CA9-4EB7-9D56-624EE230DD17}"/>
          </ac:inkMkLst>
        </pc:inkChg>
        <pc:inkChg chg="add del">
          <ac:chgData name="Aniket Chhabra" userId="598e0514-bef3-4e71-b6aa-f2edd6441cff" providerId="ADAL" clId="{D80CB0E3-8ED4-4E1B-83B0-CBE117AF958E}" dt="2022-03-12T05:07:03.345" v="432"/>
          <ac:inkMkLst>
            <pc:docMk/>
            <pc:sldMk cId="3695471028" sldId="285"/>
            <ac:inkMk id="18" creationId="{A09CF795-FC6F-4F20-AA03-2E1D547B49D1}"/>
          </ac:inkMkLst>
        </pc:inkChg>
        <pc:inkChg chg="add mod">
          <ac:chgData name="Aniket Chhabra" userId="598e0514-bef3-4e71-b6aa-f2edd6441cff" providerId="ADAL" clId="{D80CB0E3-8ED4-4E1B-83B0-CBE117AF958E}" dt="2022-03-12T05:07:05.624" v="434"/>
          <ac:inkMkLst>
            <pc:docMk/>
            <pc:sldMk cId="3695471028" sldId="285"/>
            <ac:inkMk id="19" creationId="{4BA5B79E-C535-4DC8-9FBC-3F74E941ED67}"/>
          </ac:inkMkLst>
        </pc:inkChg>
        <pc:inkChg chg="add mod">
          <ac:chgData name="Aniket Chhabra" userId="598e0514-bef3-4e71-b6aa-f2edd6441cff" providerId="ADAL" clId="{D80CB0E3-8ED4-4E1B-83B0-CBE117AF958E}" dt="2022-03-12T05:07:07.989" v="437"/>
          <ac:inkMkLst>
            <pc:docMk/>
            <pc:sldMk cId="3695471028" sldId="285"/>
            <ac:inkMk id="21" creationId="{35393E55-B466-4450-B9ED-D277C6557EEB}"/>
          </ac:inkMkLst>
        </pc:inkChg>
        <pc:inkChg chg="add mod">
          <ac:chgData name="Aniket Chhabra" userId="598e0514-bef3-4e71-b6aa-f2edd6441cff" providerId="ADAL" clId="{D80CB0E3-8ED4-4E1B-83B0-CBE117AF958E}" dt="2022-03-12T05:07:07.989" v="437"/>
          <ac:inkMkLst>
            <pc:docMk/>
            <pc:sldMk cId="3695471028" sldId="285"/>
            <ac:inkMk id="22" creationId="{38E6468E-FE67-4B29-802B-88E6A8A66DA9}"/>
          </ac:inkMkLst>
        </pc:inkChg>
      </pc:sldChg>
      <pc:sldChg chg="addSp mod">
        <pc:chgData name="Aniket Chhabra" userId="598e0514-bef3-4e71-b6aa-f2edd6441cff" providerId="ADAL" clId="{D80CB0E3-8ED4-4E1B-83B0-CBE117AF958E}" dt="2022-03-12T05:07:56.325" v="439"/>
        <pc:sldMkLst>
          <pc:docMk/>
          <pc:sldMk cId="2928224557" sldId="286"/>
        </pc:sldMkLst>
        <pc:picChg chg="add">
          <ac:chgData name="Aniket Chhabra" userId="598e0514-bef3-4e71-b6aa-f2edd6441cff" providerId="ADAL" clId="{D80CB0E3-8ED4-4E1B-83B0-CBE117AF958E}" dt="2022-03-12T05:07:56.325" v="439"/>
          <ac:picMkLst>
            <pc:docMk/>
            <pc:sldMk cId="2928224557" sldId="286"/>
            <ac:picMk id="3" creationId="{4836AB1A-89F4-4804-A6DF-76E0BB3E8A27}"/>
          </ac:picMkLst>
        </pc:picChg>
      </pc:sldChg>
      <pc:sldChg chg="addSp delSp modSp mod">
        <pc:chgData name="Aniket Chhabra" userId="598e0514-bef3-4e71-b6aa-f2edd6441cff" providerId="ADAL" clId="{D80CB0E3-8ED4-4E1B-83B0-CBE117AF958E}" dt="2022-03-12T09:35:45.112" v="689"/>
        <pc:sldMkLst>
          <pc:docMk/>
          <pc:sldMk cId="955283802" sldId="287"/>
        </pc:sldMkLst>
        <pc:grpChg chg="del mod">
          <ac:chgData name="Aniket Chhabra" userId="598e0514-bef3-4e71-b6aa-f2edd6441cff" providerId="ADAL" clId="{D80CB0E3-8ED4-4E1B-83B0-CBE117AF958E}" dt="2022-03-12T05:29:10.428" v="458"/>
          <ac:grpSpMkLst>
            <pc:docMk/>
            <pc:sldMk cId="955283802" sldId="287"/>
            <ac:grpSpMk id="10" creationId="{6B2DC7FB-25BF-4938-9F04-FCF2E5D129F7}"/>
          </ac:grpSpMkLst>
        </pc:grpChg>
        <pc:grpChg chg="mod">
          <ac:chgData name="Aniket Chhabra" userId="598e0514-bef3-4e71-b6aa-f2edd6441cff" providerId="ADAL" clId="{D80CB0E3-8ED4-4E1B-83B0-CBE117AF958E}" dt="2022-03-12T05:29:10.428" v="458"/>
          <ac:grpSpMkLst>
            <pc:docMk/>
            <pc:sldMk cId="955283802" sldId="287"/>
            <ac:grpSpMk id="17" creationId="{D8C5E4B8-4BEA-47FC-83BD-36B28C719BAE}"/>
          </ac:grpSpMkLst>
        </pc:grpChg>
        <pc:grpChg chg="mod">
          <ac:chgData name="Aniket Chhabra" userId="598e0514-bef3-4e71-b6aa-f2edd6441cff" providerId="ADAL" clId="{D80CB0E3-8ED4-4E1B-83B0-CBE117AF958E}" dt="2022-03-12T05:29:14.339" v="464"/>
          <ac:grpSpMkLst>
            <pc:docMk/>
            <pc:sldMk cId="955283802" sldId="287"/>
            <ac:grpSpMk id="23" creationId="{B0EBF00D-DE1F-4A7F-B13B-635BBA4535F4}"/>
          </ac:grpSpMkLst>
        </pc:grpChg>
        <pc:grpChg chg="mod">
          <ac:chgData name="Aniket Chhabra" userId="598e0514-bef3-4e71-b6aa-f2edd6441cff" providerId="ADAL" clId="{D80CB0E3-8ED4-4E1B-83B0-CBE117AF958E}" dt="2022-03-12T09:35:32.467" v="667"/>
          <ac:grpSpMkLst>
            <pc:docMk/>
            <pc:sldMk cId="955283802" sldId="287"/>
            <ac:grpSpMk id="28" creationId="{B04FE8F1-1CCD-4252-967C-A095C9C254A0}"/>
          </ac:grpSpMkLst>
        </pc:grpChg>
        <pc:grpChg chg="del mod">
          <ac:chgData name="Aniket Chhabra" userId="598e0514-bef3-4e71-b6aa-f2edd6441cff" providerId="ADAL" clId="{D80CB0E3-8ED4-4E1B-83B0-CBE117AF958E}" dt="2022-03-12T09:35:36.298" v="674"/>
          <ac:grpSpMkLst>
            <pc:docMk/>
            <pc:sldMk cId="955283802" sldId="287"/>
            <ac:grpSpMk id="32" creationId="{D03BB94D-16F5-4AD8-A804-CA574B39AE3A}"/>
          </ac:grpSpMkLst>
        </pc:grpChg>
        <pc:grpChg chg="del mod">
          <ac:chgData name="Aniket Chhabra" userId="598e0514-bef3-4e71-b6aa-f2edd6441cff" providerId="ADAL" clId="{D80CB0E3-8ED4-4E1B-83B0-CBE117AF958E}" dt="2022-03-12T09:35:42.514" v="683"/>
          <ac:grpSpMkLst>
            <pc:docMk/>
            <pc:sldMk cId="955283802" sldId="287"/>
            <ac:grpSpMk id="35" creationId="{BE525241-46DC-4363-A70B-0DD3EBF43AFB}"/>
          </ac:grpSpMkLst>
        </pc:grpChg>
        <pc:grpChg chg="mod">
          <ac:chgData name="Aniket Chhabra" userId="598e0514-bef3-4e71-b6aa-f2edd6441cff" providerId="ADAL" clId="{D80CB0E3-8ED4-4E1B-83B0-CBE117AF958E}" dt="2022-03-12T09:35:42.514" v="683"/>
          <ac:grpSpMkLst>
            <pc:docMk/>
            <pc:sldMk cId="955283802" sldId="287"/>
            <ac:grpSpMk id="44" creationId="{B3B623E2-DB92-4E85-9C2A-F3287A6D7C3F}"/>
          </ac:grpSpMkLst>
        </pc:grpChg>
        <pc:grpChg chg="mod">
          <ac:chgData name="Aniket Chhabra" userId="598e0514-bef3-4e71-b6aa-f2edd6441cff" providerId="ADAL" clId="{D80CB0E3-8ED4-4E1B-83B0-CBE117AF958E}" dt="2022-03-12T09:35:45.112" v="689"/>
          <ac:grpSpMkLst>
            <pc:docMk/>
            <pc:sldMk cId="955283802" sldId="287"/>
            <ac:grpSpMk id="50" creationId="{0B4077BA-CF9F-490E-BBA7-F9BCD66A4618}"/>
          </ac:grpSpMkLst>
        </pc:grpChg>
        <pc:grpChg chg="mod">
          <ac:chgData name="Aniket Chhabra" userId="598e0514-bef3-4e71-b6aa-f2edd6441cff" providerId="ADAL" clId="{D80CB0E3-8ED4-4E1B-83B0-CBE117AF958E}" dt="2022-03-12T09:35:45.112" v="689"/>
          <ac:grpSpMkLst>
            <pc:docMk/>
            <pc:sldMk cId="955283802" sldId="287"/>
            <ac:grpSpMk id="51" creationId="{96F17EDA-5749-442A-8D09-3A7C52F378CE}"/>
          </ac:grpSpMkLst>
        </pc:grpChg>
        <pc:picChg chg="add">
          <ac:chgData name="Aniket Chhabra" userId="598e0514-bef3-4e71-b6aa-f2edd6441cff" providerId="ADAL" clId="{D80CB0E3-8ED4-4E1B-83B0-CBE117AF958E}" dt="2022-03-12T05:28:53.090" v="441"/>
          <ac:picMkLst>
            <pc:docMk/>
            <pc:sldMk cId="955283802" sldId="287"/>
            <ac:picMk id="3" creationId="{9045F7B2-A96D-4710-A17C-63371680DFD6}"/>
          </ac:picMkLst>
        </pc:picChg>
        <pc:picChg chg="add del">
          <ac:chgData name="Aniket Chhabra" userId="598e0514-bef3-4e71-b6aa-f2edd6441cff" providerId="ADAL" clId="{D80CB0E3-8ED4-4E1B-83B0-CBE117AF958E}" dt="2022-03-12T05:32:39.172" v="467" actId="22"/>
          <ac:picMkLst>
            <pc:docMk/>
            <pc:sldMk cId="955283802" sldId="287"/>
            <ac:picMk id="25" creationId="{1333B083-ADD7-4994-AD4E-AA2E6DB95A8C}"/>
          </ac:picMkLst>
        </pc:picChg>
        <pc:inkChg chg="add mod">
          <ac:chgData name="Aniket Chhabra" userId="598e0514-bef3-4e71-b6aa-f2edd6441cff" providerId="ADAL" clId="{D80CB0E3-8ED4-4E1B-83B0-CBE117AF958E}" dt="2022-03-12T05:29:10.428" v="458"/>
          <ac:inkMkLst>
            <pc:docMk/>
            <pc:sldMk cId="955283802" sldId="287"/>
            <ac:inkMk id="5" creationId="{F726FF00-AC71-4A22-8504-10E84709F21E}"/>
          </ac:inkMkLst>
        </pc:inkChg>
        <pc:inkChg chg="add mod">
          <ac:chgData name="Aniket Chhabra" userId="598e0514-bef3-4e71-b6aa-f2edd6441cff" providerId="ADAL" clId="{D80CB0E3-8ED4-4E1B-83B0-CBE117AF958E}" dt="2022-03-12T05:29:10.428" v="458"/>
          <ac:inkMkLst>
            <pc:docMk/>
            <pc:sldMk cId="955283802" sldId="287"/>
            <ac:inkMk id="6" creationId="{424E0AD7-0C1A-4821-9D1B-4D70D0E15300}"/>
          </ac:inkMkLst>
        </pc:inkChg>
        <pc:inkChg chg="add mod">
          <ac:chgData name="Aniket Chhabra" userId="598e0514-bef3-4e71-b6aa-f2edd6441cff" providerId="ADAL" clId="{D80CB0E3-8ED4-4E1B-83B0-CBE117AF958E}" dt="2022-03-12T05:29:10.428" v="458"/>
          <ac:inkMkLst>
            <pc:docMk/>
            <pc:sldMk cId="955283802" sldId="287"/>
            <ac:inkMk id="7" creationId="{E73981EB-B139-4E81-8F50-DF09EF33B8DE}"/>
          </ac:inkMkLst>
        </pc:inkChg>
        <pc:inkChg chg="add mod">
          <ac:chgData name="Aniket Chhabra" userId="598e0514-bef3-4e71-b6aa-f2edd6441cff" providerId="ADAL" clId="{D80CB0E3-8ED4-4E1B-83B0-CBE117AF958E}" dt="2022-03-12T05:29:10.428" v="458"/>
          <ac:inkMkLst>
            <pc:docMk/>
            <pc:sldMk cId="955283802" sldId="287"/>
            <ac:inkMk id="8" creationId="{031DF69E-4314-4E78-9492-12E68563C889}"/>
          </ac:inkMkLst>
        </pc:inkChg>
        <pc:inkChg chg="add mod">
          <ac:chgData name="Aniket Chhabra" userId="598e0514-bef3-4e71-b6aa-f2edd6441cff" providerId="ADAL" clId="{D80CB0E3-8ED4-4E1B-83B0-CBE117AF958E}" dt="2022-03-12T05:29:10.428" v="458"/>
          <ac:inkMkLst>
            <pc:docMk/>
            <pc:sldMk cId="955283802" sldId="287"/>
            <ac:inkMk id="9" creationId="{9A07F0EA-9B01-4D1C-B8A7-792C42174401}"/>
          </ac:inkMkLst>
        </pc:inkChg>
        <pc:inkChg chg="add mod">
          <ac:chgData name="Aniket Chhabra" userId="598e0514-bef3-4e71-b6aa-f2edd6441cff" providerId="ADAL" clId="{D80CB0E3-8ED4-4E1B-83B0-CBE117AF958E}" dt="2022-03-12T05:29:10.428" v="458"/>
          <ac:inkMkLst>
            <pc:docMk/>
            <pc:sldMk cId="955283802" sldId="287"/>
            <ac:inkMk id="11" creationId="{25E607BB-2EB1-4E30-B8E1-ADBD145F1547}"/>
          </ac:inkMkLst>
        </pc:inkChg>
        <pc:inkChg chg="add mod">
          <ac:chgData name="Aniket Chhabra" userId="598e0514-bef3-4e71-b6aa-f2edd6441cff" providerId="ADAL" clId="{D80CB0E3-8ED4-4E1B-83B0-CBE117AF958E}" dt="2022-03-12T05:29:10.428" v="458"/>
          <ac:inkMkLst>
            <pc:docMk/>
            <pc:sldMk cId="955283802" sldId="287"/>
            <ac:inkMk id="12" creationId="{C4CCFA65-F0BE-4E4B-BA81-4CCCD50F275A}"/>
          </ac:inkMkLst>
        </pc:inkChg>
        <pc:inkChg chg="add del">
          <ac:chgData name="Aniket Chhabra" userId="598e0514-bef3-4e71-b6aa-f2edd6441cff" providerId="ADAL" clId="{D80CB0E3-8ED4-4E1B-83B0-CBE117AF958E}" dt="2022-03-12T05:29:10.255" v="457"/>
          <ac:inkMkLst>
            <pc:docMk/>
            <pc:sldMk cId="955283802" sldId="287"/>
            <ac:inkMk id="13" creationId="{BD0CA8F7-CF48-4F15-9A45-95E898471559}"/>
          </ac:inkMkLst>
        </pc:inkChg>
        <pc:inkChg chg="add del">
          <ac:chgData name="Aniket Chhabra" userId="598e0514-bef3-4e71-b6aa-f2edd6441cff" providerId="ADAL" clId="{D80CB0E3-8ED4-4E1B-83B0-CBE117AF958E}" dt="2022-03-12T05:29:10.254" v="456"/>
          <ac:inkMkLst>
            <pc:docMk/>
            <pc:sldMk cId="955283802" sldId="287"/>
            <ac:inkMk id="14" creationId="{30FE1DF2-72DB-406E-9532-DECBDF9D8E0B}"/>
          </ac:inkMkLst>
        </pc:inkChg>
        <pc:inkChg chg="add del">
          <ac:chgData name="Aniket Chhabra" userId="598e0514-bef3-4e71-b6aa-f2edd6441cff" providerId="ADAL" clId="{D80CB0E3-8ED4-4E1B-83B0-CBE117AF958E}" dt="2022-03-12T05:29:10.254" v="455"/>
          <ac:inkMkLst>
            <pc:docMk/>
            <pc:sldMk cId="955283802" sldId="287"/>
            <ac:inkMk id="15" creationId="{E1896EAD-1542-452C-8F2A-0DE4FD64F327}"/>
          </ac:inkMkLst>
        </pc:inkChg>
        <pc:inkChg chg="add mod">
          <ac:chgData name="Aniket Chhabra" userId="598e0514-bef3-4e71-b6aa-f2edd6441cff" providerId="ADAL" clId="{D80CB0E3-8ED4-4E1B-83B0-CBE117AF958E}" dt="2022-03-12T05:29:14.339" v="464"/>
          <ac:inkMkLst>
            <pc:docMk/>
            <pc:sldMk cId="955283802" sldId="287"/>
            <ac:inkMk id="16" creationId="{FB399A93-9FC0-4568-BBB3-DC88E5D3630C}"/>
          </ac:inkMkLst>
        </pc:inkChg>
        <pc:inkChg chg="add mod">
          <ac:chgData name="Aniket Chhabra" userId="598e0514-bef3-4e71-b6aa-f2edd6441cff" providerId="ADAL" clId="{D80CB0E3-8ED4-4E1B-83B0-CBE117AF958E}" dt="2022-03-12T05:29:14.339" v="464"/>
          <ac:inkMkLst>
            <pc:docMk/>
            <pc:sldMk cId="955283802" sldId="287"/>
            <ac:inkMk id="18" creationId="{59FDDB79-3467-420C-9F1E-284523162E11}"/>
          </ac:inkMkLst>
        </pc:inkChg>
        <pc:inkChg chg="add mod">
          <ac:chgData name="Aniket Chhabra" userId="598e0514-bef3-4e71-b6aa-f2edd6441cff" providerId="ADAL" clId="{D80CB0E3-8ED4-4E1B-83B0-CBE117AF958E}" dt="2022-03-12T05:29:14.339" v="464"/>
          <ac:inkMkLst>
            <pc:docMk/>
            <pc:sldMk cId="955283802" sldId="287"/>
            <ac:inkMk id="19" creationId="{EA6F204C-E029-4734-BB81-0E87EC69C186}"/>
          </ac:inkMkLst>
        </pc:inkChg>
        <pc:inkChg chg="add mod">
          <ac:chgData name="Aniket Chhabra" userId="598e0514-bef3-4e71-b6aa-f2edd6441cff" providerId="ADAL" clId="{D80CB0E3-8ED4-4E1B-83B0-CBE117AF958E}" dt="2022-03-12T05:29:14.339" v="464"/>
          <ac:inkMkLst>
            <pc:docMk/>
            <pc:sldMk cId="955283802" sldId="287"/>
            <ac:inkMk id="20" creationId="{E5A2BF8D-1F03-4EE5-9F04-B4F4CE686F9C}"/>
          </ac:inkMkLst>
        </pc:inkChg>
        <pc:inkChg chg="add mod">
          <ac:chgData name="Aniket Chhabra" userId="598e0514-bef3-4e71-b6aa-f2edd6441cff" providerId="ADAL" clId="{D80CB0E3-8ED4-4E1B-83B0-CBE117AF958E}" dt="2022-03-12T05:29:14.339" v="464"/>
          <ac:inkMkLst>
            <pc:docMk/>
            <pc:sldMk cId="955283802" sldId="287"/>
            <ac:inkMk id="21" creationId="{B2BFA344-B4B1-4CB6-B9BC-15024E51E16D}"/>
          </ac:inkMkLst>
        </pc:inkChg>
        <pc:inkChg chg="add mod">
          <ac:chgData name="Aniket Chhabra" userId="598e0514-bef3-4e71-b6aa-f2edd6441cff" providerId="ADAL" clId="{D80CB0E3-8ED4-4E1B-83B0-CBE117AF958E}" dt="2022-03-12T05:29:14.339" v="464"/>
          <ac:inkMkLst>
            <pc:docMk/>
            <pc:sldMk cId="955283802" sldId="287"/>
            <ac:inkMk id="22" creationId="{EF38D62E-3578-47D4-96ED-548CC133CB2C}"/>
          </ac:inkMkLst>
        </pc:inkChg>
        <pc:inkChg chg="add mod">
          <ac:chgData name="Aniket Chhabra" userId="598e0514-bef3-4e71-b6aa-f2edd6441cff" providerId="ADAL" clId="{D80CB0E3-8ED4-4E1B-83B0-CBE117AF958E}" dt="2022-03-12T09:35:32.467" v="667"/>
          <ac:inkMkLst>
            <pc:docMk/>
            <pc:sldMk cId="955283802" sldId="287"/>
            <ac:inkMk id="26" creationId="{F3A29AE5-F330-4565-B6B3-F6A16309FA2D}"/>
          </ac:inkMkLst>
        </pc:inkChg>
        <pc:inkChg chg="add mod">
          <ac:chgData name="Aniket Chhabra" userId="598e0514-bef3-4e71-b6aa-f2edd6441cff" providerId="ADAL" clId="{D80CB0E3-8ED4-4E1B-83B0-CBE117AF958E}" dt="2022-03-12T09:35:32.467" v="667"/>
          <ac:inkMkLst>
            <pc:docMk/>
            <pc:sldMk cId="955283802" sldId="287"/>
            <ac:inkMk id="27" creationId="{1CC30275-EFCA-43E2-833F-5020956A66A6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29" creationId="{A7DC6837-4497-49EA-A9E9-59EF5FB64A2B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30" creationId="{AF6225DE-76BA-4308-BEAD-B28C1EF1E1D1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31" creationId="{085EAEAE-9367-4836-962A-369C0FB90616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33" creationId="{D55BD78A-52D7-4BE7-821C-9C55DE429E93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34" creationId="{878A9B5C-531C-4890-8D2B-6E6950674D03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36" creationId="{5AAF07A6-7208-4167-8499-0C290F3C591A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37" creationId="{74879871-3B94-4F0A-8F43-5334B683BB4D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38" creationId="{117E7A07-6677-455B-9CD4-8A42DDF8606B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39" creationId="{810D8A3F-71BE-47BB-AE56-B85FD3A99804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40" creationId="{98220719-AE61-4646-A08A-C38C2999B032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41" creationId="{5B378A43-F6D8-4952-831E-0C13B868A564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42" creationId="{621971A3-1B5C-4690-8D2C-D71A0D6752AD}"/>
          </ac:inkMkLst>
        </pc:inkChg>
        <pc:inkChg chg="add mod">
          <ac:chgData name="Aniket Chhabra" userId="598e0514-bef3-4e71-b6aa-f2edd6441cff" providerId="ADAL" clId="{D80CB0E3-8ED4-4E1B-83B0-CBE117AF958E}" dt="2022-03-12T09:35:42.514" v="683"/>
          <ac:inkMkLst>
            <pc:docMk/>
            <pc:sldMk cId="955283802" sldId="287"/>
            <ac:inkMk id="43" creationId="{81C06E4F-FACA-416A-8A8F-059B8FC21B1B}"/>
          </ac:inkMkLst>
        </pc:inkChg>
        <pc:inkChg chg="add mod">
          <ac:chgData name="Aniket Chhabra" userId="598e0514-bef3-4e71-b6aa-f2edd6441cff" providerId="ADAL" clId="{D80CB0E3-8ED4-4E1B-83B0-CBE117AF958E}" dt="2022-03-12T09:35:45.112" v="689"/>
          <ac:inkMkLst>
            <pc:docMk/>
            <pc:sldMk cId="955283802" sldId="287"/>
            <ac:inkMk id="45" creationId="{AC384106-4C0B-466F-8ED1-5EE444EB4C05}"/>
          </ac:inkMkLst>
        </pc:inkChg>
        <pc:inkChg chg="add mod">
          <ac:chgData name="Aniket Chhabra" userId="598e0514-bef3-4e71-b6aa-f2edd6441cff" providerId="ADAL" clId="{D80CB0E3-8ED4-4E1B-83B0-CBE117AF958E}" dt="2022-03-12T09:35:45.112" v="689"/>
          <ac:inkMkLst>
            <pc:docMk/>
            <pc:sldMk cId="955283802" sldId="287"/>
            <ac:inkMk id="46" creationId="{0092988C-B207-41E9-A0EF-83B392C2DEF1}"/>
          </ac:inkMkLst>
        </pc:inkChg>
        <pc:inkChg chg="add mod">
          <ac:chgData name="Aniket Chhabra" userId="598e0514-bef3-4e71-b6aa-f2edd6441cff" providerId="ADAL" clId="{D80CB0E3-8ED4-4E1B-83B0-CBE117AF958E}" dt="2022-03-12T09:35:45.112" v="689"/>
          <ac:inkMkLst>
            <pc:docMk/>
            <pc:sldMk cId="955283802" sldId="287"/>
            <ac:inkMk id="47" creationId="{F01FE2BA-3089-41ED-9023-C6C6294B7F5C}"/>
          </ac:inkMkLst>
        </pc:inkChg>
        <pc:inkChg chg="add mod">
          <ac:chgData name="Aniket Chhabra" userId="598e0514-bef3-4e71-b6aa-f2edd6441cff" providerId="ADAL" clId="{D80CB0E3-8ED4-4E1B-83B0-CBE117AF958E}" dt="2022-03-12T09:35:45.112" v="689"/>
          <ac:inkMkLst>
            <pc:docMk/>
            <pc:sldMk cId="955283802" sldId="287"/>
            <ac:inkMk id="48" creationId="{A95BF835-BE03-43DA-91B8-029F65A106B7}"/>
          </ac:inkMkLst>
        </pc:inkChg>
        <pc:inkChg chg="add mod">
          <ac:chgData name="Aniket Chhabra" userId="598e0514-bef3-4e71-b6aa-f2edd6441cff" providerId="ADAL" clId="{D80CB0E3-8ED4-4E1B-83B0-CBE117AF958E}" dt="2022-03-12T09:35:45.112" v="689"/>
          <ac:inkMkLst>
            <pc:docMk/>
            <pc:sldMk cId="955283802" sldId="287"/>
            <ac:inkMk id="49" creationId="{380A9159-D332-4F4C-97A5-E7193DBF9247}"/>
          </ac:inkMkLst>
        </pc:inkChg>
      </pc:sldChg>
      <pc:sldChg chg="addSp delSp modSp new add mod modNotesTx">
        <pc:chgData name="Aniket Chhabra" userId="598e0514-bef3-4e71-b6aa-f2edd6441cff" providerId="ADAL" clId="{D80CB0E3-8ED4-4E1B-83B0-CBE117AF958E}" dt="2022-03-12T09:40:15.045" v="988" actId="20577"/>
        <pc:sldMkLst>
          <pc:docMk/>
          <pc:sldMk cId="2149476529" sldId="288"/>
        </pc:sldMkLst>
        <pc:spChg chg="del">
          <ac:chgData name="Aniket Chhabra" userId="598e0514-bef3-4e71-b6aa-f2edd6441cff" providerId="ADAL" clId="{D80CB0E3-8ED4-4E1B-83B0-CBE117AF958E}" dt="2022-03-12T05:32:45.087" v="476" actId="478"/>
          <ac:spMkLst>
            <pc:docMk/>
            <pc:sldMk cId="2149476529" sldId="288"/>
            <ac:spMk id="2" creationId="{08C5045E-9FC4-4EF0-91AE-0C4488D4119B}"/>
          </ac:spMkLst>
        </pc:spChg>
        <pc:spChg chg="del">
          <ac:chgData name="Aniket Chhabra" userId="598e0514-bef3-4e71-b6aa-f2edd6441cff" providerId="ADAL" clId="{D80CB0E3-8ED4-4E1B-83B0-CBE117AF958E}" dt="2022-03-12T05:32:45.087" v="476" actId="478"/>
          <ac:spMkLst>
            <pc:docMk/>
            <pc:sldMk cId="2149476529" sldId="288"/>
            <ac:spMk id="3" creationId="{A3F326A5-9767-4584-83E6-FFB415D31B0B}"/>
          </ac:spMkLst>
        </pc:spChg>
        <pc:grpChg chg="del mod">
          <ac:chgData name="Aniket Chhabra" userId="598e0514-bef3-4e71-b6aa-f2edd6441cff" providerId="ADAL" clId="{D80CB0E3-8ED4-4E1B-83B0-CBE117AF958E}" dt="2022-03-12T09:36:22.779" v="732"/>
          <ac:grpSpMkLst>
            <pc:docMk/>
            <pc:sldMk cId="2149476529" sldId="288"/>
            <ac:grpSpMk id="18" creationId="{C75CF94A-75B7-45C1-BF9B-BA14173C3CDB}"/>
          </ac:grpSpMkLst>
        </pc:grpChg>
        <pc:grpChg chg="del mod">
          <ac:chgData name="Aniket Chhabra" userId="598e0514-bef3-4e71-b6aa-f2edd6441cff" providerId="ADAL" clId="{D80CB0E3-8ED4-4E1B-83B0-CBE117AF958E}" dt="2022-03-12T09:36:35.604" v="758"/>
          <ac:grpSpMkLst>
            <pc:docMk/>
            <pc:sldMk cId="2149476529" sldId="288"/>
            <ac:grpSpMk id="43" creationId="{1CB135C9-1C1D-4BAD-AA39-BAD0A247B1BA}"/>
          </ac:grpSpMkLst>
        </pc:grpChg>
        <pc:grpChg chg="del mod">
          <ac:chgData name="Aniket Chhabra" userId="598e0514-bef3-4e71-b6aa-f2edd6441cff" providerId="ADAL" clId="{D80CB0E3-8ED4-4E1B-83B0-CBE117AF958E}" dt="2022-03-12T09:36:31.860" v="749"/>
          <ac:grpSpMkLst>
            <pc:docMk/>
            <pc:sldMk cId="2149476529" sldId="288"/>
            <ac:grpSpMk id="53" creationId="{7A294153-4838-4FAE-83AF-6C2944273976}"/>
          </ac:grpSpMkLst>
        </pc:grpChg>
        <pc:grpChg chg="del mod">
          <ac:chgData name="Aniket Chhabra" userId="598e0514-bef3-4e71-b6aa-f2edd6441cff" providerId="ADAL" clId="{D80CB0E3-8ED4-4E1B-83B0-CBE117AF958E}" dt="2022-03-12T09:36:35.604" v="758"/>
          <ac:grpSpMkLst>
            <pc:docMk/>
            <pc:sldMk cId="2149476529" sldId="288"/>
            <ac:grpSpMk id="57" creationId="{59126413-D0B3-4C8E-91CF-5BF2E0018DC5}"/>
          </ac:grpSpMkLst>
        </pc:grpChg>
        <pc:grpChg chg="mod">
          <ac:chgData name="Aniket Chhabra" userId="598e0514-bef3-4e71-b6aa-f2edd6441cff" providerId="ADAL" clId="{D80CB0E3-8ED4-4E1B-83B0-CBE117AF958E}" dt="2022-03-12T09:36:35.604" v="758"/>
          <ac:grpSpMkLst>
            <pc:docMk/>
            <pc:sldMk cId="2149476529" sldId="288"/>
            <ac:grpSpMk id="64" creationId="{4371C95C-CF83-458A-AF0D-A56D8B01AB06}"/>
          </ac:grpSpMkLst>
        </pc:grpChg>
        <pc:grpChg chg="del mod">
          <ac:chgData name="Aniket Chhabra" userId="598e0514-bef3-4e71-b6aa-f2edd6441cff" providerId="ADAL" clId="{D80CB0E3-8ED4-4E1B-83B0-CBE117AF958E}" dt="2022-03-12T09:37:25.846" v="790"/>
          <ac:grpSpMkLst>
            <pc:docMk/>
            <pc:sldMk cId="2149476529" sldId="288"/>
            <ac:grpSpMk id="83" creationId="{3BD3AF85-1FAF-43BB-B44B-58C92DD6CEE7}"/>
          </ac:grpSpMkLst>
        </pc:grpChg>
        <pc:grpChg chg="del mod">
          <ac:chgData name="Aniket Chhabra" userId="598e0514-bef3-4e71-b6aa-f2edd6441cff" providerId="ADAL" clId="{D80CB0E3-8ED4-4E1B-83B0-CBE117AF958E}" dt="2022-03-12T09:37:25.846" v="790"/>
          <ac:grpSpMkLst>
            <pc:docMk/>
            <pc:sldMk cId="2149476529" sldId="288"/>
            <ac:grpSpMk id="84" creationId="{2278E270-B6D0-4F56-82BA-622C9919820D}"/>
          </ac:grpSpMkLst>
        </pc:grpChg>
        <pc:grpChg chg="del mod">
          <ac:chgData name="Aniket Chhabra" userId="598e0514-bef3-4e71-b6aa-f2edd6441cff" providerId="ADAL" clId="{D80CB0E3-8ED4-4E1B-83B0-CBE117AF958E}" dt="2022-03-12T09:37:45.661" v="813"/>
          <ac:grpSpMkLst>
            <pc:docMk/>
            <pc:sldMk cId="2149476529" sldId="288"/>
            <ac:grpSpMk id="95" creationId="{F29671D1-B3EF-489A-92E2-C0EDA3FCAE52}"/>
          </ac:grpSpMkLst>
        </pc:grpChg>
        <pc:grpChg chg="del mod">
          <ac:chgData name="Aniket Chhabra" userId="598e0514-bef3-4e71-b6aa-f2edd6441cff" providerId="ADAL" clId="{D80CB0E3-8ED4-4E1B-83B0-CBE117AF958E}" dt="2022-03-12T09:37:34.061" v="807"/>
          <ac:grpSpMkLst>
            <pc:docMk/>
            <pc:sldMk cId="2149476529" sldId="288"/>
            <ac:grpSpMk id="112" creationId="{4F009431-36E8-4056-A24B-67FC2220DE2B}"/>
          </ac:grpSpMkLst>
        </pc:grpChg>
        <pc:grpChg chg="mod">
          <ac:chgData name="Aniket Chhabra" userId="598e0514-bef3-4e71-b6aa-f2edd6441cff" providerId="ADAL" clId="{D80CB0E3-8ED4-4E1B-83B0-CBE117AF958E}" dt="2022-03-12T09:37:34.061" v="807"/>
          <ac:grpSpMkLst>
            <pc:docMk/>
            <pc:sldMk cId="2149476529" sldId="288"/>
            <ac:grpSpMk id="113" creationId="{9783E223-10C2-4D17-9A69-1BF53825670F}"/>
          </ac:grpSpMkLst>
        </pc:grpChg>
        <pc:grpChg chg="del mod">
          <ac:chgData name="Aniket Chhabra" userId="598e0514-bef3-4e71-b6aa-f2edd6441cff" providerId="ADAL" clId="{D80CB0E3-8ED4-4E1B-83B0-CBE117AF958E}" dt="2022-03-12T09:37:48.502" v="817"/>
          <ac:grpSpMkLst>
            <pc:docMk/>
            <pc:sldMk cId="2149476529" sldId="288"/>
            <ac:grpSpMk id="118" creationId="{FDCDCAA2-5D70-48DC-AC79-A1E84D933C17}"/>
          </ac:grpSpMkLst>
        </pc:grpChg>
        <pc:grpChg chg="mod">
          <ac:chgData name="Aniket Chhabra" userId="598e0514-bef3-4e71-b6aa-f2edd6441cff" providerId="ADAL" clId="{D80CB0E3-8ED4-4E1B-83B0-CBE117AF958E}" dt="2022-03-12T09:37:48.502" v="817"/>
          <ac:grpSpMkLst>
            <pc:docMk/>
            <pc:sldMk cId="2149476529" sldId="288"/>
            <ac:grpSpMk id="122" creationId="{D928FD5B-D1D5-4C2F-BCDA-2E7C652CDD52}"/>
          </ac:grpSpMkLst>
        </pc:grpChg>
        <pc:grpChg chg="mod">
          <ac:chgData name="Aniket Chhabra" userId="598e0514-bef3-4e71-b6aa-f2edd6441cff" providerId="ADAL" clId="{D80CB0E3-8ED4-4E1B-83B0-CBE117AF958E}" dt="2022-03-12T09:37:57.401" v="824"/>
          <ac:grpSpMkLst>
            <pc:docMk/>
            <pc:sldMk cId="2149476529" sldId="288"/>
            <ac:grpSpMk id="129" creationId="{6ED530D9-D982-4F89-BD4D-FBC42A5A44D0}"/>
          </ac:grpSpMkLst>
        </pc:grpChg>
        <pc:grpChg chg="del mod">
          <ac:chgData name="Aniket Chhabra" userId="598e0514-bef3-4e71-b6aa-f2edd6441cff" providerId="ADAL" clId="{D80CB0E3-8ED4-4E1B-83B0-CBE117AF958E}" dt="2022-03-12T09:38:21.983" v="847"/>
          <ac:grpSpMkLst>
            <pc:docMk/>
            <pc:sldMk cId="2149476529" sldId="288"/>
            <ac:grpSpMk id="133" creationId="{A4444576-F301-409E-BBEF-2D0741867335}"/>
          </ac:grpSpMkLst>
        </pc:grpChg>
        <pc:grpChg chg="del mod">
          <ac:chgData name="Aniket Chhabra" userId="598e0514-bef3-4e71-b6aa-f2edd6441cff" providerId="ADAL" clId="{D80CB0E3-8ED4-4E1B-83B0-CBE117AF958E}" dt="2022-03-12T09:38:21.983" v="847"/>
          <ac:grpSpMkLst>
            <pc:docMk/>
            <pc:sldMk cId="2149476529" sldId="288"/>
            <ac:grpSpMk id="151" creationId="{D4711552-C04C-4478-AE5E-35A3251C3E8A}"/>
          </ac:grpSpMkLst>
        </pc:grpChg>
        <pc:grpChg chg="mod">
          <ac:chgData name="Aniket Chhabra" userId="598e0514-bef3-4e71-b6aa-f2edd6441cff" providerId="ADAL" clId="{D80CB0E3-8ED4-4E1B-83B0-CBE117AF958E}" dt="2022-03-12T09:38:21.983" v="847"/>
          <ac:grpSpMkLst>
            <pc:docMk/>
            <pc:sldMk cId="2149476529" sldId="288"/>
            <ac:grpSpMk id="152" creationId="{9376F3EB-7847-4408-B07E-695BB85B8AD4}"/>
          </ac:grpSpMkLst>
        </pc:grpChg>
        <pc:grpChg chg="mod">
          <ac:chgData name="Aniket Chhabra" userId="598e0514-bef3-4e71-b6aa-f2edd6441cff" providerId="ADAL" clId="{D80CB0E3-8ED4-4E1B-83B0-CBE117AF958E}" dt="2022-03-12T09:38:21.983" v="847"/>
          <ac:grpSpMkLst>
            <pc:docMk/>
            <pc:sldMk cId="2149476529" sldId="288"/>
            <ac:grpSpMk id="153" creationId="{1E71EAD6-31E1-4823-9915-9FBDDEAF1319}"/>
          </ac:grpSpMkLst>
        </pc:grpChg>
        <pc:graphicFrameChg chg="add mod ord modVis replST">
          <ac:chgData name="Aniket Chhabra" userId="598e0514-bef3-4e71-b6aa-f2edd6441cff" providerId="ADAL" clId="{D80CB0E3-8ED4-4E1B-83B0-CBE117AF958E}" dt="2022-03-12T05:32:45.707" v="495"/>
          <ac:graphicFrameMkLst>
            <pc:docMk/>
            <pc:sldMk cId="2149476529" sldId="288"/>
            <ac:graphicFrameMk id="6" creationId="{52B6964C-9A78-4362-8CD4-E4EF79200622}"/>
          </ac:graphicFrameMkLst>
        </pc:graphicFrameChg>
        <pc:picChg chg="add">
          <ac:chgData name="Aniket Chhabra" userId="598e0514-bef3-4e71-b6aa-f2edd6441cff" providerId="ADAL" clId="{D80CB0E3-8ED4-4E1B-83B0-CBE117AF958E}" dt="2022-03-12T05:32:45.521" v="478"/>
          <ac:picMkLst>
            <pc:docMk/>
            <pc:sldMk cId="2149476529" sldId="288"/>
            <ac:picMk id="5" creationId="{BA0F5E6E-C74F-4ED5-9FC8-EE62E56AF3EA}"/>
          </ac:picMkLst>
        </pc:picChg>
        <pc:inkChg chg="add del">
          <ac:chgData name="Aniket Chhabra" userId="598e0514-bef3-4e71-b6aa-f2edd6441cff" providerId="ADAL" clId="{D80CB0E3-8ED4-4E1B-83B0-CBE117AF958E}" dt="2022-03-12T09:35:58.001" v="692"/>
          <ac:inkMkLst>
            <pc:docMk/>
            <pc:sldMk cId="2149476529" sldId="288"/>
            <ac:inkMk id="7" creationId="{19DF5066-04FF-4303-8198-D45AD4F58CFB}"/>
          </ac:inkMkLst>
        </pc:inkChg>
        <pc:inkChg chg="add del">
          <ac:chgData name="Aniket Chhabra" userId="598e0514-bef3-4e71-b6aa-f2edd6441cff" providerId="ADAL" clId="{D80CB0E3-8ED4-4E1B-83B0-CBE117AF958E}" dt="2022-03-12T09:36:01.753" v="700"/>
          <ac:inkMkLst>
            <pc:docMk/>
            <pc:sldMk cId="2149476529" sldId="288"/>
            <ac:inkMk id="8" creationId="{BA175E05-B430-468F-A7FC-4827055DA7E1}"/>
          </ac:inkMkLst>
        </pc:inkChg>
        <pc:inkChg chg="add del">
          <ac:chgData name="Aniket Chhabra" userId="598e0514-bef3-4e71-b6aa-f2edd6441cff" providerId="ADAL" clId="{D80CB0E3-8ED4-4E1B-83B0-CBE117AF958E}" dt="2022-03-12T09:36:05.706" v="701"/>
          <ac:inkMkLst>
            <pc:docMk/>
            <pc:sldMk cId="2149476529" sldId="288"/>
            <ac:inkMk id="9" creationId="{18B63895-AD26-4044-9A3C-87A0A0A7B8B4}"/>
          </ac:inkMkLst>
        </pc:inkChg>
        <pc:inkChg chg="add del">
          <ac:chgData name="Aniket Chhabra" userId="598e0514-bef3-4e71-b6aa-f2edd6441cff" providerId="ADAL" clId="{D80CB0E3-8ED4-4E1B-83B0-CBE117AF958E}" dt="2022-03-12T09:36:01.753" v="699"/>
          <ac:inkMkLst>
            <pc:docMk/>
            <pc:sldMk cId="2149476529" sldId="288"/>
            <ac:inkMk id="10" creationId="{96DEB536-DE8E-4A9A-A717-9F9B5C3B5507}"/>
          </ac:inkMkLst>
        </pc:inkChg>
        <pc:inkChg chg="add del">
          <ac:chgData name="Aniket Chhabra" userId="598e0514-bef3-4e71-b6aa-f2edd6441cff" providerId="ADAL" clId="{D80CB0E3-8ED4-4E1B-83B0-CBE117AF958E}" dt="2022-03-12T09:36:01.752" v="698"/>
          <ac:inkMkLst>
            <pc:docMk/>
            <pc:sldMk cId="2149476529" sldId="288"/>
            <ac:inkMk id="11" creationId="{394EB636-03E7-4A0A-937E-42105FB5A0AF}"/>
          </ac:inkMkLst>
        </pc:inkChg>
        <pc:inkChg chg="add del">
          <ac:chgData name="Aniket Chhabra" userId="598e0514-bef3-4e71-b6aa-f2edd6441cff" providerId="ADAL" clId="{D80CB0E3-8ED4-4E1B-83B0-CBE117AF958E}" dt="2022-03-12T09:36:01.751" v="697"/>
          <ac:inkMkLst>
            <pc:docMk/>
            <pc:sldMk cId="2149476529" sldId="288"/>
            <ac:inkMk id="12" creationId="{F25DF086-8CF1-4F50-92F8-9DF9C3A5CEF4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13" creationId="{8F744C68-986F-4FBB-8C6F-7A52B257D2BE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14" creationId="{FCA0D663-D0F6-4652-BBC6-7C3FE4F3F5BD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15" creationId="{B35745C9-2628-48A1-A0FE-7B5E0BB96650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16" creationId="{755C026C-20C4-470D-988F-D0D872CAB6FC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17" creationId="{F3E39561-C94E-4179-BBD8-AA4B40E3FB71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19" creationId="{F9140F92-94DB-4A90-933C-3B271B6FB97A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20" creationId="{F422BF3D-3365-4B8D-B1DE-8F1689B2BBF5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21" creationId="{A67067AB-30F7-42DF-9B6B-151C89A55B70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22" creationId="{4181FE51-968A-4FDB-8AAF-3D2FF428F30F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23" creationId="{66FCF883-8C4A-4BD5-B70D-22AE5052DE9A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24" creationId="{322D409D-F1DB-46C0-A519-7F82BC27BCB7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25" creationId="{AA1FDEE1-8538-4860-85BB-C7BC9CB7D0B0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26" creationId="{B3A8858A-3A53-4716-91D6-EAE276351C90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27" creationId="{4F5ACBE3-F4F7-4D47-BB53-B4380C382A18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28" creationId="{74E1634B-027B-44A6-8110-5F37C54888A9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29" creationId="{E085DF99-0AAE-4EDC-8283-63FF33473957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30" creationId="{A5EB5D57-2D2A-48BB-85AB-B85E5AE6B791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31" creationId="{B621DE0F-CEEF-4DB4-B991-82F64C99ED64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32" creationId="{36336E63-7D3A-46AD-8191-7CAE409CEE1B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33" creationId="{74285A31-54D4-4E79-8E40-3545A1CFFE66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34" creationId="{C4E7C352-4308-434E-91CC-F1653339A3E9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35" creationId="{A2E44ABE-85C5-48C8-A07A-78586B2770D6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36" creationId="{6E922D91-F256-4CC8-90FE-6A537A863436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37" creationId="{ECEABEEA-D65E-4C9D-BAE1-E2D95D51992F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38" creationId="{A5783120-32BA-4D8F-AE07-C48126042908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39" creationId="{FB726D22-E568-465F-975B-B0768EFEC10E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40" creationId="{616A2711-F558-49C1-A8E6-2438E69005EA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41" creationId="{3C97E011-D92B-4310-BA7B-545600B155D8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42" creationId="{5DD3F54F-F226-4C02-8D89-23CA253CAB33}"/>
          </ac:inkMkLst>
        </pc:inkChg>
        <pc:inkChg chg="add del">
          <ac:chgData name="Aniket Chhabra" userId="598e0514-bef3-4e71-b6aa-f2edd6441cff" providerId="ADAL" clId="{D80CB0E3-8ED4-4E1B-83B0-CBE117AF958E}" dt="2022-03-12T09:36:27.151" v="739"/>
          <ac:inkMkLst>
            <pc:docMk/>
            <pc:sldMk cId="2149476529" sldId="288"/>
            <ac:inkMk id="44" creationId="{29EF72BE-A40B-41C1-8E68-6206C8D3D752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45" creationId="{13DB69ED-6D09-4753-BA0A-A7D510D47684}"/>
          </ac:inkMkLst>
        </pc:inkChg>
        <pc:inkChg chg="add del">
          <ac:chgData name="Aniket Chhabra" userId="598e0514-bef3-4e71-b6aa-f2edd6441cff" providerId="ADAL" clId="{D80CB0E3-8ED4-4E1B-83B0-CBE117AF958E}" dt="2022-03-12T09:36:27.150" v="738"/>
          <ac:inkMkLst>
            <pc:docMk/>
            <pc:sldMk cId="2149476529" sldId="288"/>
            <ac:inkMk id="46" creationId="{8AD57669-010E-403F-997C-087A00EBA141}"/>
          </ac:inkMkLst>
        </pc:inkChg>
        <pc:inkChg chg="add del">
          <ac:chgData name="Aniket Chhabra" userId="598e0514-bef3-4e71-b6aa-f2edd6441cff" providerId="ADAL" clId="{D80CB0E3-8ED4-4E1B-83B0-CBE117AF958E}" dt="2022-03-12T09:36:27.149" v="737"/>
          <ac:inkMkLst>
            <pc:docMk/>
            <pc:sldMk cId="2149476529" sldId="288"/>
            <ac:inkMk id="47" creationId="{C17078A7-0404-465B-98A0-9B6DDE01AAE8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48" creationId="{D227D392-DE33-4430-8C61-F77B17581F89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49" creationId="{33B23842-BAB8-4C40-99E9-5058C682B53F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50" creationId="{45BB101A-4ED7-4B41-A66F-24A49DDE02CD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51" creationId="{EF6ECD79-3918-4B3F-ABD6-69BD762ABBDF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52" creationId="{45A90853-A720-4F83-A1B9-311EB5026234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54" creationId="{028A5F26-8488-4CA4-AFAA-4244F7C986FB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55" creationId="{E634C7B4-4D53-43C1-95CE-C56330C3BB90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56" creationId="{D770A047-2BCD-4576-9174-027A6CF763AD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58" creationId="{88C8B184-03CA-4413-A773-00859A58704B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59" creationId="{02062E25-F40F-4A58-ADD4-77CFE232884D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60" creationId="{063C5DAE-C5C9-4ADA-9554-0A6B9E3D26F5}"/>
          </ac:inkMkLst>
        </pc:inkChg>
        <pc:inkChg chg="add mod">
          <ac:chgData name="Aniket Chhabra" userId="598e0514-bef3-4e71-b6aa-f2edd6441cff" providerId="ADAL" clId="{D80CB0E3-8ED4-4E1B-83B0-CBE117AF958E}" dt="2022-03-12T09:36:35.604" v="758"/>
          <ac:inkMkLst>
            <pc:docMk/>
            <pc:sldMk cId="2149476529" sldId="288"/>
            <ac:inkMk id="61" creationId="{93539C44-6B16-47C2-A3A9-776B395F07A5}"/>
          </ac:inkMkLst>
        </pc:inkChg>
        <pc:inkChg chg="add del">
          <ac:chgData name="Aniket Chhabra" userId="598e0514-bef3-4e71-b6aa-f2edd6441cff" providerId="ADAL" clId="{D80CB0E3-8ED4-4E1B-83B0-CBE117AF958E}" dt="2022-03-12T09:36:35.416" v="757"/>
          <ac:inkMkLst>
            <pc:docMk/>
            <pc:sldMk cId="2149476529" sldId="288"/>
            <ac:inkMk id="62" creationId="{FC33859C-9440-4A76-ADA9-C4CE4F24B5E0}"/>
          </ac:inkMkLst>
        </pc:inkChg>
        <pc:inkChg chg="add del">
          <ac:chgData name="Aniket Chhabra" userId="598e0514-bef3-4e71-b6aa-f2edd6441cff" providerId="ADAL" clId="{D80CB0E3-8ED4-4E1B-83B0-CBE117AF958E}" dt="2022-03-12T09:36:35.415" v="756"/>
          <ac:inkMkLst>
            <pc:docMk/>
            <pc:sldMk cId="2149476529" sldId="288"/>
            <ac:inkMk id="63" creationId="{1FB224AF-5B78-4636-BF87-F186226F3D62}"/>
          </ac:inkMkLst>
        </pc:inkChg>
        <pc:inkChg chg="add">
          <ac:chgData name="Aniket Chhabra" userId="598e0514-bef3-4e71-b6aa-f2edd6441cff" providerId="ADAL" clId="{D80CB0E3-8ED4-4E1B-83B0-CBE117AF958E}" dt="2022-03-12T09:36:37.045" v="759" actId="9405"/>
          <ac:inkMkLst>
            <pc:docMk/>
            <pc:sldMk cId="2149476529" sldId="288"/>
            <ac:inkMk id="65" creationId="{013A430C-6213-4FED-A946-E8315C262D7E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66" creationId="{3A8F168A-280C-405D-A991-EE47027F8987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67" creationId="{4BEE4A06-B244-4247-9A5C-26455C652478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68" creationId="{269FA8F2-D5B3-4EBB-94DF-F93680410AD0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69" creationId="{88CE3704-39E1-4B30-BDF1-0C746270ECD5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70" creationId="{8920E68E-64D5-43CF-9C5F-AF1FF0A8979D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71" creationId="{A941736F-0903-4516-A37F-2A001F77C3BC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72" creationId="{E349875A-0275-4532-A8AC-7D218DB7FCA2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73" creationId="{5110B297-526A-4BA1-ACC6-BA6456B1A0D6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74" creationId="{743CDA07-24D9-4E99-9FC9-844F8E7749FF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75" creationId="{BAF5F7FD-81C4-4E87-ADAE-E603468683C9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76" creationId="{4B6AD909-B865-4DA8-B0A4-BF465899C07A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77" creationId="{6FFAEB9F-775B-4299-B946-8A6974F7E166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78" creationId="{4B0856EB-1A74-4A68-A769-A7F526B772A2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79" creationId="{BD2995D6-E780-4271-8091-9C48C0A5D3FA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80" creationId="{EAD72C2B-2695-4BB3-BE02-FB5619CDB88B}"/>
          </ac:inkMkLst>
        </pc:inkChg>
        <pc:inkChg chg="add del">
          <ac:chgData name="Aniket Chhabra" userId="598e0514-bef3-4e71-b6aa-f2edd6441cff" providerId="ADAL" clId="{D80CB0E3-8ED4-4E1B-83B0-CBE117AF958E}" dt="2022-03-12T09:37:18.134" v="778"/>
          <ac:inkMkLst>
            <pc:docMk/>
            <pc:sldMk cId="2149476529" sldId="288"/>
            <ac:inkMk id="81" creationId="{5E8C234A-E10A-476A-90F0-F9F22A7AB108}"/>
          </ac:inkMkLst>
        </pc:inkChg>
        <pc:inkChg chg="add del">
          <ac:chgData name="Aniket Chhabra" userId="598e0514-bef3-4e71-b6aa-f2edd6441cff" providerId="ADAL" clId="{D80CB0E3-8ED4-4E1B-83B0-CBE117AF958E}" dt="2022-03-12T09:37:18.132" v="777"/>
          <ac:inkMkLst>
            <pc:docMk/>
            <pc:sldMk cId="2149476529" sldId="288"/>
            <ac:inkMk id="82" creationId="{F4A4080A-381B-49B9-8AEF-265511775289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85" creationId="{CF31EFC7-EF10-48A0-BEA9-3D0D481A1B39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86" creationId="{B0027E76-1B3D-4C5C-B2E0-D52D00017EF1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87" creationId="{93EE5F2E-F14E-4E66-B210-F8FEC745B797}"/>
          </ac:inkMkLst>
        </pc:inkChg>
        <pc:inkChg chg="add mod">
          <ac:chgData name="Aniket Chhabra" userId="598e0514-bef3-4e71-b6aa-f2edd6441cff" providerId="ADAL" clId="{D80CB0E3-8ED4-4E1B-83B0-CBE117AF958E}" dt="2022-03-12T09:37:45.661" v="813"/>
          <ac:inkMkLst>
            <pc:docMk/>
            <pc:sldMk cId="2149476529" sldId="288"/>
            <ac:inkMk id="88" creationId="{B37DD94B-26C0-4B21-B0D2-AF7231C02351}"/>
          </ac:inkMkLst>
        </pc:inkChg>
        <pc:inkChg chg="add mod">
          <ac:chgData name="Aniket Chhabra" userId="598e0514-bef3-4e71-b6aa-f2edd6441cff" providerId="ADAL" clId="{D80CB0E3-8ED4-4E1B-83B0-CBE117AF958E}" dt="2022-03-12T09:37:45.661" v="813"/>
          <ac:inkMkLst>
            <pc:docMk/>
            <pc:sldMk cId="2149476529" sldId="288"/>
            <ac:inkMk id="89" creationId="{CD1CEB5B-4541-4B76-ACDF-BA25EFBF42BC}"/>
          </ac:inkMkLst>
        </pc:inkChg>
        <pc:inkChg chg="add mod">
          <ac:chgData name="Aniket Chhabra" userId="598e0514-bef3-4e71-b6aa-f2edd6441cff" providerId="ADAL" clId="{D80CB0E3-8ED4-4E1B-83B0-CBE117AF958E}" dt="2022-03-12T09:37:45.661" v="813"/>
          <ac:inkMkLst>
            <pc:docMk/>
            <pc:sldMk cId="2149476529" sldId="288"/>
            <ac:inkMk id="90" creationId="{F037151C-0854-4AEE-8C36-D86E4631B6D4}"/>
          </ac:inkMkLst>
        </pc:inkChg>
        <pc:inkChg chg="add mod">
          <ac:chgData name="Aniket Chhabra" userId="598e0514-bef3-4e71-b6aa-f2edd6441cff" providerId="ADAL" clId="{D80CB0E3-8ED4-4E1B-83B0-CBE117AF958E}" dt="2022-03-12T09:37:45.661" v="813"/>
          <ac:inkMkLst>
            <pc:docMk/>
            <pc:sldMk cId="2149476529" sldId="288"/>
            <ac:inkMk id="91" creationId="{7D338EAF-0ED4-407F-A569-343AC7E1D845}"/>
          </ac:inkMkLst>
        </pc:inkChg>
        <pc:inkChg chg="add mod">
          <ac:chgData name="Aniket Chhabra" userId="598e0514-bef3-4e71-b6aa-f2edd6441cff" providerId="ADAL" clId="{D80CB0E3-8ED4-4E1B-83B0-CBE117AF958E}" dt="2022-03-12T09:37:45.661" v="813"/>
          <ac:inkMkLst>
            <pc:docMk/>
            <pc:sldMk cId="2149476529" sldId="288"/>
            <ac:inkMk id="92" creationId="{F7AF16D0-84A9-4623-9E59-8FF2298AB8E1}"/>
          </ac:inkMkLst>
        </pc:inkChg>
        <pc:inkChg chg="add mod">
          <ac:chgData name="Aniket Chhabra" userId="598e0514-bef3-4e71-b6aa-f2edd6441cff" providerId="ADAL" clId="{D80CB0E3-8ED4-4E1B-83B0-CBE117AF958E}" dt="2022-03-12T09:37:45.661" v="813"/>
          <ac:inkMkLst>
            <pc:docMk/>
            <pc:sldMk cId="2149476529" sldId="288"/>
            <ac:inkMk id="93" creationId="{9BE0FA45-A45C-42C1-B1D7-1B453082FBE6}"/>
          </ac:inkMkLst>
        </pc:inkChg>
        <pc:inkChg chg="add mod">
          <ac:chgData name="Aniket Chhabra" userId="598e0514-bef3-4e71-b6aa-f2edd6441cff" providerId="ADAL" clId="{D80CB0E3-8ED4-4E1B-83B0-CBE117AF958E}" dt="2022-03-12T09:37:45.661" v="813"/>
          <ac:inkMkLst>
            <pc:docMk/>
            <pc:sldMk cId="2149476529" sldId="288"/>
            <ac:inkMk id="94" creationId="{176B3613-9E2E-4B65-ADFD-A493439DAF19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96" creationId="{D05CD45A-4399-4B76-A902-CC59F6578CBB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97" creationId="{3CB681C8-68C1-4521-BA15-D3087BE33435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98" creationId="{E7FFD4A4-E9DD-4366-AD49-8EBF7741E7A9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99" creationId="{5F3F6B73-68D2-4CF2-975A-D9D095C47B73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00" creationId="{EFA4C576-9043-4BCD-98C9-4D6E077D69B4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01" creationId="{EE53ADBB-DB3B-4905-9E1D-B62781B275F0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02" creationId="{3734B2D6-1F9A-49C8-9200-764B05AFDF5C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03" creationId="{1906C3EB-BA8C-44A0-9090-3ACAA54114CA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04" creationId="{DC789B73-1B49-4FC0-B789-55FD51D986E9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05" creationId="{B12B3643-0EB0-43EF-B027-8F71A9EF77F0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06" creationId="{32087CDD-57B3-4671-A3DF-51288E6F76CE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07" creationId="{914D552B-E3C8-410F-9BFB-885A01AD8F05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08" creationId="{DC809DAA-746B-4355-9997-0F70A395C282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09" creationId="{870AB869-7C37-499F-B6F5-F5A5EC53DCB7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10" creationId="{6FA6C3B5-C4A5-4223-8A2B-9CA386B7D6D2}"/>
          </ac:inkMkLst>
        </pc:inkChg>
        <pc:inkChg chg="add mod">
          <ac:chgData name="Aniket Chhabra" userId="598e0514-bef3-4e71-b6aa-f2edd6441cff" providerId="ADAL" clId="{D80CB0E3-8ED4-4E1B-83B0-CBE117AF958E}" dt="2022-03-12T09:37:34.061" v="807"/>
          <ac:inkMkLst>
            <pc:docMk/>
            <pc:sldMk cId="2149476529" sldId="288"/>
            <ac:inkMk id="111" creationId="{3C5C8218-4353-4579-BED9-23299CA12F9A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114" creationId="{19D9C52F-233A-4709-83C0-CA1C103FEF7A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115" creationId="{2D31B38C-E2A4-4B94-B79B-5739CF97627F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116" creationId="{2A7A92E4-8E0C-4E59-8065-916170D08B61}"/>
          </ac:inkMkLst>
        </pc:inkChg>
        <pc:inkChg chg="add del">
          <ac:chgData name="Aniket Chhabra" userId="598e0514-bef3-4e71-b6aa-f2edd6441cff" providerId="ADAL" clId="{D80CB0E3-8ED4-4E1B-83B0-CBE117AF958E}" dt="2022-03-12T09:37:45.567" v="812"/>
          <ac:inkMkLst>
            <pc:docMk/>
            <pc:sldMk cId="2149476529" sldId="288"/>
            <ac:inkMk id="117" creationId="{3A3F0122-A90F-4582-AF84-B5480400276E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119" creationId="{D9CF69FB-B466-463F-B5EA-3B8BAA7200B5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120" creationId="{F7068AA8-8A45-45A9-A7EB-87E3A15B90C2}"/>
          </ac:inkMkLst>
        </pc:inkChg>
        <pc:inkChg chg="add mod">
          <ac:chgData name="Aniket Chhabra" userId="598e0514-bef3-4e71-b6aa-f2edd6441cff" providerId="ADAL" clId="{D80CB0E3-8ED4-4E1B-83B0-CBE117AF958E}" dt="2022-03-12T09:37:48.502" v="817"/>
          <ac:inkMkLst>
            <pc:docMk/>
            <pc:sldMk cId="2149476529" sldId="288"/>
            <ac:inkMk id="121" creationId="{BDDEA3BF-A04A-482B-9A8C-C5397165A300}"/>
          </ac:inkMkLst>
        </pc:inkChg>
        <pc:inkChg chg="add mod">
          <ac:chgData name="Aniket Chhabra" userId="598e0514-bef3-4e71-b6aa-f2edd6441cff" providerId="ADAL" clId="{D80CB0E3-8ED4-4E1B-83B0-CBE117AF958E}" dt="2022-03-12T09:37:57.401" v="824"/>
          <ac:inkMkLst>
            <pc:docMk/>
            <pc:sldMk cId="2149476529" sldId="288"/>
            <ac:inkMk id="123" creationId="{2FDBDB32-DBEA-4875-8CDB-9B6166CBBA49}"/>
          </ac:inkMkLst>
        </pc:inkChg>
        <pc:inkChg chg="add mod">
          <ac:chgData name="Aniket Chhabra" userId="598e0514-bef3-4e71-b6aa-f2edd6441cff" providerId="ADAL" clId="{D80CB0E3-8ED4-4E1B-83B0-CBE117AF958E}" dt="2022-03-12T09:37:57.401" v="824"/>
          <ac:inkMkLst>
            <pc:docMk/>
            <pc:sldMk cId="2149476529" sldId="288"/>
            <ac:inkMk id="124" creationId="{EE74A362-51B0-4977-8F37-299F2558C056}"/>
          </ac:inkMkLst>
        </pc:inkChg>
        <pc:inkChg chg="add mod">
          <ac:chgData name="Aniket Chhabra" userId="598e0514-bef3-4e71-b6aa-f2edd6441cff" providerId="ADAL" clId="{D80CB0E3-8ED4-4E1B-83B0-CBE117AF958E}" dt="2022-03-12T09:37:57.401" v="824"/>
          <ac:inkMkLst>
            <pc:docMk/>
            <pc:sldMk cId="2149476529" sldId="288"/>
            <ac:inkMk id="125" creationId="{2D6EF52B-9390-45DF-BC20-9C5AF099C593}"/>
          </ac:inkMkLst>
        </pc:inkChg>
        <pc:inkChg chg="add mod">
          <ac:chgData name="Aniket Chhabra" userId="598e0514-bef3-4e71-b6aa-f2edd6441cff" providerId="ADAL" clId="{D80CB0E3-8ED4-4E1B-83B0-CBE117AF958E}" dt="2022-03-12T09:37:57.401" v="824"/>
          <ac:inkMkLst>
            <pc:docMk/>
            <pc:sldMk cId="2149476529" sldId="288"/>
            <ac:inkMk id="126" creationId="{56B75BFB-1507-4F16-9B05-D162B5BB7FE7}"/>
          </ac:inkMkLst>
        </pc:inkChg>
        <pc:inkChg chg="add mod">
          <ac:chgData name="Aniket Chhabra" userId="598e0514-bef3-4e71-b6aa-f2edd6441cff" providerId="ADAL" clId="{D80CB0E3-8ED4-4E1B-83B0-CBE117AF958E}" dt="2022-03-12T09:37:57.401" v="824"/>
          <ac:inkMkLst>
            <pc:docMk/>
            <pc:sldMk cId="2149476529" sldId="288"/>
            <ac:inkMk id="127" creationId="{BF40DB94-D973-430A-AB20-F4468276B968}"/>
          </ac:inkMkLst>
        </pc:inkChg>
        <pc:inkChg chg="add mod">
          <ac:chgData name="Aniket Chhabra" userId="598e0514-bef3-4e71-b6aa-f2edd6441cff" providerId="ADAL" clId="{D80CB0E3-8ED4-4E1B-83B0-CBE117AF958E}" dt="2022-03-12T09:37:57.401" v="824"/>
          <ac:inkMkLst>
            <pc:docMk/>
            <pc:sldMk cId="2149476529" sldId="288"/>
            <ac:inkMk id="128" creationId="{AC73F1F9-6539-4AE5-BAE1-6F3D7AD8449B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30" creationId="{7BC9F624-0461-4C4B-8C37-DFB8407DB0EE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31" creationId="{E061BE2F-6B82-40D6-BCFB-DB1F90B73E81}"/>
          </ac:inkMkLst>
        </pc:inkChg>
        <pc:inkChg chg="add del">
          <ac:chgData name="Aniket Chhabra" userId="598e0514-bef3-4e71-b6aa-f2edd6441cff" providerId="ADAL" clId="{D80CB0E3-8ED4-4E1B-83B0-CBE117AF958E}" dt="2022-03-12T09:38:09.160" v="828"/>
          <ac:inkMkLst>
            <pc:docMk/>
            <pc:sldMk cId="2149476529" sldId="288"/>
            <ac:inkMk id="132" creationId="{06096141-18CE-4E21-AF77-032C25C5FF6E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34" creationId="{9E83EB62-450B-47ED-AD83-CA570F0B69D5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35" creationId="{05087D04-0F7A-4735-AB0E-DBB458A67165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36" creationId="{F3F64F1D-8AC6-49E2-A8F6-6664EA336DA1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37" creationId="{A827E1CB-EE8A-4F11-AF8B-F7A69C06A21A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38" creationId="{6F1AA76F-31A1-440F-8757-CDD4BB1B8F42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39" creationId="{4B92FC00-6227-4F83-8628-8305044BF76B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40" creationId="{8DD491F0-63B4-4F23-8F30-3028D6E9DC2C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41" creationId="{2B5EAF25-1C0D-4379-80C2-0F53B42F05AC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42" creationId="{78B45508-66C4-49D4-850F-81B7BCE8C7FA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43" creationId="{E72EBEF1-0F2C-4F46-A9E4-1271C1E23E3B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44" creationId="{421C0E86-9E9C-4C05-9A0A-030C90F358F4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45" creationId="{9D17792A-37AB-441A-960A-7E82B00257D6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46" creationId="{A46D9D5A-8932-46C8-971D-A6A92301A347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47" creationId="{7C29E515-1A56-4B02-8E71-F9D6A20C509A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48" creationId="{03D215E9-7B44-44D8-8A47-474BC5808F7E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49" creationId="{B610B012-46EF-456A-A5FB-06D057A8117C}"/>
          </ac:inkMkLst>
        </pc:inkChg>
        <pc:inkChg chg="add mod">
          <ac:chgData name="Aniket Chhabra" userId="598e0514-bef3-4e71-b6aa-f2edd6441cff" providerId="ADAL" clId="{D80CB0E3-8ED4-4E1B-83B0-CBE117AF958E}" dt="2022-03-12T09:38:21.983" v="847"/>
          <ac:inkMkLst>
            <pc:docMk/>
            <pc:sldMk cId="2149476529" sldId="288"/>
            <ac:inkMk id="150" creationId="{10DEBE4F-12CE-4DE6-A749-D7E88290FB92}"/>
          </ac:inkMkLst>
        </pc:inkChg>
        <pc:inkChg chg="add del">
          <ac:chgData name="Aniket Chhabra" userId="598e0514-bef3-4e71-b6aa-f2edd6441cff" providerId="ADAL" clId="{D80CB0E3-8ED4-4E1B-83B0-CBE117AF958E}" dt="2022-03-12T09:39:16.657" v="849"/>
          <ac:inkMkLst>
            <pc:docMk/>
            <pc:sldMk cId="2149476529" sldId="288"/>
            <ac:inkMk id="154" creationId="{DC656AA6-3CB2-4221-94DB-99909E707319}"/>
          </ac:inkMkLst>
        </pc:inkChg>
        <pc:inkChg chg="add">
          <ac:chgData name="Aniket Chhabra" userId="598e0514-bef3-4e71-b6aa-f2edd6441cff" providerId="ADAL" clId="{D80CB0E3-8ED4-4E1B-83B0-CBE117AF958E}" dt="2022-03-12T09:39:17.359" v="850" actId="9405"/>
          <ac:inkMkLst>
            <pc:docMk/>
            <pc:sldMk cId="2149476529" sldId="288"/>
            <ac:inkMk id="155" creationId="{C3570CE3-77A9-44BE-B003-1CA56DBF0D9D}"/>
          </ac:inkMkLst>
        </pc:inkChg>
        <pc:inkChg chg="add del">
          <ac:chgData name="Aniket Chhabra" userId="598e0514-bef3-4e71-b6aa-f2edd6441cff" providerId="ADAL" clId="{D80CB0E3-8ED4-4E1B-83B0-CBE117AF958E}" dt="2022-03-12T09:39:20.795" v="852"/>
          <ac:inkMkLst>
            <pc:docMk/>
            <pc:sldMk cId="2149476529" sldId="288"/>
            <ac:inkMk id="156" creationId="{AEBF5314-36A8-406B-AA7F-89AB40827FFE}"/>
          </ac:inkMkLst>
        </pc:inkChg>
      </pc:sldChg>
      <pc:sldChg chg="addSp delSp modSp new add mod">
        <pc:chgData name="Aniket Chhabra" userId="598e0514-bef3-4e71-b6aa-f2edd6441cff" providerId="ADAL" clId="{D80CB0E3-8ED4-4E1B-83B0-CBE117AF958E}" dt="2022-03-12T05:34:11.436" v="537"/>
        <pc:sldMkLst>
          <pc:docMk/>
          <pc:sldMk cId="1057156293" sldId="289"/>
        </pc:sldMkLst>
        <pc:spChg chg="del">
          <ac:chgData name="Aniket Chhabra" userId="598e0514-bef3-4e71-b6aa-f2edd6441cff" providerId="ADAL" clId="{D80CB0E3-8ED4-4E1B-83B0-CBE117AF958E}" dt="2022-03-12T05:32:54.370" v="496" actId="478"/>
          <ac:spMkLst>
            <pc:docMk/>
            <pc:sldMk cId="1057156293" sldId="289"/>
            <ac:spMk id="2" creationId="{3F9148C6-E4FB-4C86-998C-6558982EC4CE}"/>
          </ac:spMkLst>
        </pc:spChg>
        <pc:spChg chg="del">
          <ac:chgData name="Aniket Chhabra" userId="598e0514-bef3-4e71-b6aa-f2edd6441cff" providerId="ADAL" clId="{D80CB0E3-8ED4-4E1B-83B0-CBE117AF958E}" dt="2022-03-12T05:32:54.370" v="496" actId="478"/>
          <ac:spMkLst>
            <pc:docMk/>
            <pc:sldMk cId="1057156293" sldId="289"/>
            <ac:spMk id="3" creationId="{48FB7BAB-349E-485A-82BE-265D5365FD43}"/>
          </ac:spMkLst>
        </pc:spChg>
        <pc:graphicFrameChg chg="add mod modVis replST">
          <ac:chgData name="Aniket Chhabra" userId="598e0514-bef3-4e71-b6aa-f2edd6441cff" providerId="ADAL" clId="{D80CB0E3-8ED4-4E1B-83B0-CBE117AF958E}" dt="2022-03-12T05:32:54.913" v="511"/>
          <ac:graphicFrameMkLst>
            <pc:docMk/>
            <pc:sldMk cId="1057156293" sldId="289"/>
            <ac:graphicFrameMk id="4" creationId="{E05CAC71-4DFB-43BC-A759-026CF88A9B16}"/>
          </ac:graphicFrameMkLst>
        </pc:graphicFrameChg>
        <pc:picChg chg="add">
          <ac:chgData name="Aniket Chhabra" userId="598e0514-bef3-4e71-b6aa-f2edd6441cff" providerId="ADAL" clId="{D80CB0E3-8ED4-4E1B-83B0-CBE117AF958E}" dt="2022-03-12T05:34:11.436" v="537"/>
          <ac:picMkLst>
            <pc:docMk/>
            <pc:sldMk cId="1057156293" sldId="289"/>
            <ac:picMk id="6" creationId="{A44F86D1-EC45-4445-ABC8-AECD60B64273}"/>
          </ac:picMkLst>
        </pc:picChg>
      </pc:sldChg>
      <pc:sldChg chg="new add del">
        <pc:chgData name="Aniket Chhabra" userId="598e0514-bef3-4e71-b6aa-f2edd6441cff" providerId="ADAL" clId="{D80CB0E3-8ED4-4E1B-83B0-CBE117AF958E}" dt="2022-03-12T05:33:00.740" v="512" actId="47"/>
        <pc:sldMkLst>
          <pc:docMk/>
          <pc:sldMk cId="1288763776" sldId="290"/>
        </pc:sldMkLst>
      </pc:sldChg>
      <pc:sldChg chg="addSp add mod">
        <pc:chgData name="Aniket Chhabra" userId="598e0514-bef3-4e71-b6aa-f2edd6441cff" providerId="ADAL" clId="{D80CB0E3-8ED4-4E1B-83B0-CBE117AF958E}" dt="2022-03-12T05:36:23.890" v="539"/>
        <pc:sldMkLst>
          <pc:docMk/>
          <pc:sldMk cId="2367417136" sldId="290"/>
        </pc:sldMkLst>
        <pc:picChg chg="add">
          <ac:chgData name="Aniket Chhabra" userId="598e0514-bef3-4e71-b6aa-f2edd6441cff" providerId="ADAL" clId="{D80CB0E3-8ED4-4E1B-83B0-CBE117AF958E}" dt="2022-03-12T05:36:23.890" v="539"/>
          <ac:picMkLst>
            <pc:docMk/>
            <pc:sldMk cId="2367417136" sldId="290"/>
            <ac:picMk id="3" creationId="{3FB8FAA7-C0BB-4BC7-B553-F1F1AD3E7208}"/>
          </ac:picMkLst>
        </pc:picChg>
      </pc:sldChg>
      <pc:sldChg chg="addSp add mod">
        <pc:chgData name="Aniket Chhabra" userId="598e0514-bef3-4e71-b6aa-f2edd6441cff" providerId="ADAL" clId="{D80CB0E3-8ED4-4E1B-83B0-CBE117AF958E}" dt="2022-03-12T09:22:02.128" v="541"/>
        <pc:sldMkLst>
          <pc:docMk/>
          <pc:sldMk cId="948460659" sldId="291"/>
        </pc:sldMkLst>
        <pc:picChg chg="add">
          <ac:chgData name="Aniket Chhabra" userId="598e0514-bef3-4e71-b6aa-f2edd6441cff" providerId="ADAL" clId="{D80CB0E3-8ED4-4E1B-83B0-CBE117AF958E}" dt="2022-03-12T09:22:02.128" v="541"/>
          <ac:picMkLst>
            <pc:docMk/>
            <pc:sldMk cId="948460659" sldId="291"/>
            <ac:picMk id="3" creationId="{F54E475D-A98B-46C3-9526-C5DF297F5BC5}"/>
          </ac:picMkLst>
        </pc:picChg>
      </pc:sldChg>
      <pc:sldChg chg="new add del">
        <pc:chgData name="Aniket Chhabra" userId="598e0514-bef3-4e71-b6aa-f2edd6441cff" providerId="ADAL" clId="{D80CB0E3-8ED4-4E1B-83B0-CBE117AF958E}" dt="2022-03-12T05:33:00.740" v="512" actId="47"/>
        <pc:sldMkLst>
          <pc:docMk/>
          <pc:sldMk cId="2213460616" sldId="291"/>
        </pc:sldMkLst>
      </pc:sldChg>
      <pc:sldChg chg="addSp add mod">
        <pc:chgData name="Aniket Chhabra" userId="598e0514-bef3-4e71-b6aa-f2edd6441cff" providerId="ADAL" clId="{D80CB0E3-8ED4-4E1B-83B0-CBE117AF958E}" dt="2022-03-12T09:23:35.277" v="543"/>
        <pc:sldMkLst>
          <pc:docMk/>
          <pc:sldMk cId="3536885765" sldId="292"/>
        </pc:sldMkLst>
        <pc:picChg chg="add">
          <ac:chgData name="Aniket Chhabra" userId="598e0514-bef3-4e71-b6aa-f2edd6441cff" providerId="ADAL" clId="{D80CB0E3-8ED4-4E1B-83B0-CBE117AF958E}" dt="2022-03-12T09:23:35.277" v="543"/>
          <ac:picMkLst>
            <pc:docMk/>
            <pc:sldMk cId="3536885765" sldId="292"/>
            <ac:picMk id="3" creationId="{79025D30-D31D-4F1A-9413-AB675BEE5AFE}"/>
          </ac:picMkLst>
        </pc:picChg>
      </pc:sldChg>
      <pc:sldChg chg="addSp add mod">
        <pc:chgData name="Aniket Chhabra" userId="598e0514-bef3-4e71-b6aa-f2edd6441cff" providerId="ADAL" clId="{D80CB0E3-8ED4-4E1B-83B0-CBE117AF958E}" dt="2022-03-12T09:23:50.879" v="545"/>
        <pc:sldMkLst>
          <pc:docMk/>
          <pc:sldMk cId="4271530262" sldId="293"/>
        </pc:sldMkLst>
        <pc:picChg chg="add">
          <ac:chgData name="Aniket Chhabra" userId="598e0514-bef3-4e71-b6aa-f2edd6441cff" providerId="ADAL" clId="{D80CB0E3-8ED4-4E1B-83B0-CBE117AF958E}" dt="2022-03-12T09:23:50.879" v="545"/>
          <ac:picMkLst>
            <pc:docMk/>
            <pc:sldMk cId="4271530262" sldId="293"/>
            <ac:picMk id="3" creationId="{854B6F87-7207-48A4-B475-5DAE60D11F3B}"/>
          </ac:picMkLst>
        </pc:picChg>
      </pc:sldChg>
      <pc:sldChg chg="addSp add mod">
        <pc:chgData name="Aniket Chhabra" userId="598e0514-bef3-4e71-b6aa-f2edd6441cff" providerId="ADAL" clId="{D80CB0E3-8ED4-4E1B-83B0-CBE117AF958E}" dt="2022-03-12T09:25:02.176" v="547"/>
        <pc:sldMkLst>
          <pc:docMk/>
          <pc:sldMk cId="1193274153" sldId="294"/>
        </pc:sldMkLst>
        <pc:picChg chg="add">
          <ac:chgData name="Aniket Chhabra" userId="598e0514-bef3-4e71-b6aa-f2edd6441cff" providerId="ADAL" clId="{D80CB0E3-8ED4-4E1B-83B0-CBE117AF958E}" dt="2022-03-12T09:25:02.176" v="547"/>
          <ac:picMkLst>
            <pc:docMk/>
            <pc:sldMk cId="1193274153" sldId="294"/>
            <ac:picMk id="3" creationId="{F55D4A92-0923-4616-90A2-BC40A09F08A9}"/>
          </ac:picMkLst>
        </pc:picChg>
      </pc:sldChg>
      <pc:sldChg chg="addSp add mod">
        <pc:chgData name="Aniket Chhabra" userId="598e0514-bef3-4e71-b6aa-f2edd6441cff" providerId="ADAL" clId="{D80CB0E3-8ED4-4E1B-83B0-CBE117AF958E}" dt="2022-03-12T09:25:16.519" v="549"/>
        <pc:sldMkLst>
          <pc:docMk/>
          <pc:sldMk cId="667033910" sldId="295"/>
        </pc:sldMkLst>
        <pc:picChg chg="add">
          <ac:chgData name="Aniket Chhabra" userId="598e0514-bef3-4e71-b6aa-f2edd6441cff" providerId="ADAL" clId="{D80CB0E3-8ED4-4E1B-83B0-CBE117AF958E}" dt="2022-03-12T09:25:16.519" v="549"/>
          <ac:picMkLst>
            <pc:docMk/>
            <pc:sldMk cId="667033910" sldId="295"/>
            <ac:picMk id="3" creationId="{B336DE69-AEF5-496D-B271-B995CEE7F45B}"/>
          </ac:picMkLst>
        </pc:picChg>
      </pc:sldChg>
      <pc:sldChg chg="addSp delSp modSp add mod">
        <pc:chgData name="Aniket Chhabra" userId="598e0514-bef3-4e71-b6aa-f2edd6441cff" providerId="ADAL" clId="{D80CB0E3-8ED4-4E1B-83B0-CBE117AF958E}" dt="2022-03-12T09:27:18.546" v="624"/>
        <pc:sldMkLst>
          <pc:docMk/>
          <pc:sldMk cId="3273250036" sldId="296"/>
        </pc:sldMkLst>
        <pc:grpChg chg="del mod">
          <ac:chgData name="Aniket Chhabra" userId="598e0514-bef3-4e71-b6aa-f2edd6441cff" providerId="ADAL" clId="{D80CB0E3-8ED4-4E1B-83B0-CBE117AF958E}" dt="2022-03-12T09:26:52.371" v="573"/>
          <ac:grpSpMkLst>
            <pc:docMk/>
            <pc:sldMk cId="3273250036" sldId="296"/>
            <ac:grpSpMk id="24" creationId="{A6AA59F7-E16B-43EE-8DB3-9DED7912D90D}"/>
          </ac:grpSpMkLst>
        </pc:grpChg>
        <pc:grpChg chg="del mod">
          <ac:chgData name="Aniket Chhabra" userId="598e0514-bef3-4e71-b6aa-f2edd6441cff" providerId="ADAL" clId="{D80CB0E3-8ED4-4E1B-83B0-CBE117AF958E}" dt="2022-03-12T09:27:04.390" v="599"/>
          <ac:grpSpMkLst>
            <pc:docMk/>
            <pc:sldMk cId="3273250036" sldId="296"/>
            <ac:grpSpMk id="25" creationId="{1CD7877E-9B11-4157-ACFF-E7E565493B87}"/>
          </ac:grpSpMkLst>
        </pc:grpChg>
        <pc:grpChg chg="del mod">
          <ac:chgData name="Aniket Chhabra" userId="598e0514-bef3-4e71-b6aa-f2edd6441cff" providerId="ADAL" clId="{D80CB0E3-8ED4-4E1B-83B0-CBE117AF958E}" dt="2022-03-12T09:27:04.388" v="594"/>
          <ac:grpSpMkLst>
            <pc:docMk/>
            <pc:sldMk cId="3273250036" sldId="296"/>
            <ac:grpSpMk id="28" creationId="{600D1680-6F2F-4AC7-8CCD-CF9B326B2A1F}"/>
          </ac:grpSpMkLst>
        </pc:grpChg>
        <pc:grpChg chg="del mod">
          <ac:chgData name="Aniket Chhabra" userId="598e0514-bef3-4e71-b6aa-f2edd6441cff" providerId="ADAL" clId="{D80CB0E3-8ED4-4E1B-83B0-CBE117AF958E}" dt="2022-03-12T09:27:18.546" v="624"/>
          <ac:grpSpMkLst>
            <pc:docMk/>
            <pc:sldMk cId="3273250036" sldId="296"/>
            <ac:grpSpMk id="55" creationId="{D7933A2F-0249-4CD9-ABAC-4362D8F93A9A}"/>
          </ac:grpSpMkLst>
        </pc:grpChg>
        <pc:grpChg chg="mod">
          <ac:chgData name="Aniket Chhabra" userId="598e0514-bef3-4e71-b6aa-f2edd6441cff" providerId="ADAL" clId="{D80CB0E3-8ED4-4E1B-83B0-CBE117AF958E}" dt="2022-03-12T09:27:18.546" v="624"/>
          <ac:grpSpMkLst>
            <pc:docMk/>
            <pc:sldMk cId="3273250036" sldId="296"/>
            <ac:grpSpMk id="56" creationId="{7B449DF7-0782-4321-A027-2A68DB64A3F4}"/>
          </ac:grpSpMkLst>
        </pc:grpChg>
        <pc:picChg chg="add del">
          <ac:chgData name="Aniket Chhabra" userId="598e0514-bef3-4e71-b6aa-f2edd6441cff" providerId="ADAL" clId="{D80CB0E3-8ED4-4E1B-83B0-CBE117AF958E}" dt="2022-03-12T09:26:18.152" v="552" actId="478"/>
          <ac:picMkLst>
            <pc:docMk/>
            <pc:sldMk cId="3273250036" sldId="296"/>
            <ac:picMk id="3" creationId="{A79F7D83-536A-46FD-98E7-CEDF759CD431}"/>
          </ac:picMkLst>
        </pc:picChg>
        <pc:picChg chg="add">
          <ac:chgData name="Aniket Chhabra" userId="598e0514-bef3-4e71-b6aa-f2edd6441cff" providerId="ADAL" clId="{D80CB0E3-8ED4-4E1B-83B0-CBE117AF958E}" dt="2022-03-12T09:26:18.613" v="554"/>
          <ac:picMkLst>
            <pc:docMk/>
            <pc:sldMk cId="3273250036" sldId="296"/>
            <ac:picMk id="6" creationId="{184465A5-A4A9-4EE1-8BDE-5CD7A013DBE5}"/>
          </ac:picMkLst>
        </pc:picChg>
        <pc:inkChg chg="add">
          <ac:chgData name="Aniket Chhabra" userId="598e0514-bef3-4e71-b6aa-f2edd6441cff" providerId="ADAL" clId="{D80CB0E3-8ED4-4E1B-83B0-CBE117AF958E}" dt="2022-03-12T09:26:35.103" v="555" actId="9405"/>
          <ac:inkMkLst>
            <pc:docMk/>
            <pc:sldMk cId="3273250036" sldId="296"/>
            <ac:inkMk id="7" creationId="{E1FEEF73-873A-41B4-8952-C8B66904DE15}"/>
          </ac:inkMkLst>
        </pc:inkChg>
        <pc:inkChg chg="add del">
          <ac:chgData name="Aniket Chhabra" userId="598e0514-bef3-4e71-b6aa-f2edd6441cff" providerId="ADAL" clId="{D80CB0E3-8ED4-4E1B-83B0-CBE117AF958E}" dt="2022-03-12T09:26:37.566" v="557"/>
          <ac:inkMkLst>
            <pc:docMk/>
            <pc:sldMk cId="3273250036" sldId="296"/>
            <ac:inkMk id="8" creationId="{CF56A3E1-B622-44AF-A6E9-ED99A7EFABA2}"/>
          </ac:inkMkLst>
        </pc:inkChg>
        <pc:inkChg chg="add del mod">
          <ac:chgData name="Aniket Chhabra" userId="598e0514-bef3-4e71-b6aa-f2edd6441cff" providerId="ADAL" clId="{D80CB0E3-8ED4-4E1B-83B0-CBE117AF958E}" dt="2022-03-12T09:27:04.386" v="589"/>
          <ac:inkMkLst>
            <pc:docMk/>
            <pc:sldMk cId="3273250036" sldId="296"/>
            <ac:inkMk id="9" creationId="{4B396626-D0CE-4D1B-805F-C24A5620DF72}"/>
          </ac:inkMkLst>
        </pc:inkChg>
        <pc:inkChg chg="add del mod">
          <ac:chgData name="Aniket Chhabra" userId="598e0514-bef3-4e71-b6aa-f2edd6441cff" providerId="ADAL" clId="{D80CB0E3-8ED4-4E1B-83B0-CBE117AF958E}" dt="2022-03-12T09:27:04.391" v="600"/>
          <ac:inkMkLst>
            <pc:docMk/>
            <pc:sldMk cId="3273250036" sldId="296"/>
            <ac:inkMk id="10" creationId="{09C9142F-3F0E-4117-846E-FDC37CE14FB5}"/>
          </ac:inkMkLst>
        </pc:inkChg>
        <pc:inkChg chg="add del mod">
          <ac:chgData name="Aniket Chhabra" userId="598e0514-bef3-4e71-b6aa-f2edd6441cff" providerId="ADAL" clId="{D80CB0E3-8ED4-4E1B-83B0-CBE117AF958E}" dt="2022-03-12T09:27:04.387" v="591"/>
          <ac:inkMkLst>
            <pc:docMk/>
            <pc:sldMk cId="3273250036" sldId="296"/>
            <ac:inkMk id="11" creationId="{3AB10884-D7CF-4082-A998-E83BA40EC6D7}"/>
          </ac:inkMkLst>
        </pc:inkChg>
        <pc:inkChg chg="add del mod">
          <ac:chgData name="Aniket Chhabra" userId="598e0514-bef3-4e71-b6aa-f2edd6441cff" providerId="ADAL" clId="{D80CB0E3-8ED4-4E1B-83B0-CBE117AF958E}" dt="2022-03-12T09:27:04.385" v="587"/>
          <ac:inkMkLst>
            <pc:docMk/>
            <pc:sldMk cId="3273250036" sldId="296"/>
            <ac:inkMk id="12" creationId="{7C73A666-89A2-4104-BADF-B1821A9FEB85}"/>
          </ac:inkMkLst>
        </pc:inkChg>
        <pc:inkChg chg="add del mod">
          <ac:chgData name="Aniket Chhabra" userId="598e0514-bef3-4e71-b6aa-f2edd6441cff" providerId="ADAL" clId="{D80CB0E3-8ED4-4E1B-83B0-CBE117AF958E}" dt="2022-03-12T09:27:04.386" v="590"/>
          <ac:inkMkLst>
            <pc:docMk/>
            <pc:sldMk cId="3273250036" sldId="296"/>
            <ac:inkMk id="13" creationId="{410DE626-56EE-4EEC-8210-91C71A88D9A0}"/>
          </ac:inkMkLst>
        </pc:inkChg>
        <pc:inkChg chg="add del mod">
          <ac:chgData name="Aniket Chhabra" userId="598e0514-bef3-4e71-b6aa-f2edd6441cff" providerId="ADAL" clId="{D80CB0E3-8ED4-4E1B-83B0-CBE117AF958E}" dt="2022-03-12T09:27:04.389" v="596"/>
          <ac:inkMkLst>
            <pc:docMk/>
            <pc:sldMk cId="3273250036" sldId="296"/>
            <ac:inkMk id="14" creationId="{DB5DADDE-129C-4725-9391-E2A6F665F54F}"/>
          </ac:inkMkLst>
        </pc:inkChg>
        <pc:inkChg chg="add del mod">
          <ac:chgData name="Aniket Chhabra" userId="598e0514-bef3-4e71-b6aa-f2edd6441cff" providerId="ADAL" clId="{D80CB0E3-8ED4-4E1B-83B0-CBE117AF958E}" dt="2022-03-12T09:27:04.390" v="597"/>
          <ac:inkMkLst>
            <pc:docMk/>
            <pc:sldMk cId="3273250036" sldId="296"/>
            <ac:inkMk id="15" creationId="{F1803CD2-B6E1-483F-95FE-06D2AFF37B90}"/>
          </ac:inkMkLst>
        </pc:inkChg>
        <pc:inkChg chg="add del mod">
          <ac:chgData name="Aniket Chhabra" userId="598e0514-bef3-4e71-b6aa-f2edd6441cff" providerId="ADAL" clId="{D80CB0E3-8ED4-4E1B-83B0-CBE117AF958E}" dt="2022-03-12T09:26:54.849" v="576"/>
          <ac:inkMkLst>
            <pc:docMk/>
            <pc:sldMk cId="3273250036" sldId="296"/>
            <ac:inkMk id="16" creationId="{F38BC2F0-DFB5-45D5-8129-A0DF76DFAAF0}"/>
          </ac:inkMkLst>
        </pc:inkChg>
        <pc:inkChg chg="add del mod">
          <ac:chgData name="Aniket Chhabra" userId="598e0514-bef3-4e71-b6aa-f2edd6441cff" providerId="ADAL" clId="{D80CB0E3-8ED4-4E1B-83B0-CBE117AF958E}" dt="2022-03-12T09:26:54.847" v="574"/>
          <ac:inkMkLst>
            <pc:docMk/>
            <pc:sldMk cId="3273250036" sldId="296"/>
            <ac:inkMk id="17" creationId="{20CB3479-FD92-4C77-813D-02AF75A34078}"/>
          </ac:inkMkLst>
        </pc:inkChg>
        <pc:inkChg chg="add del mod">
          <ac:chgData name="Aniket Chhabra" userId="598e0514-bef3-4e71-b6aa-f2edd6441cff" providerId="ADAL" clId="{D80CB0E3-8ED4-4E1B-83B0-CBE117AF958E}" dt="2022-03-12T09:26:54.848" v="575"/>
          <ac:inkMkLst>
            <pc:docMk/>
            <pc:sldMk cId="3273250036" sldId="296"/>
            <ac:inkMk id="18" creationId="{3FB38C6C-336C-4AB7-BE6F-E0F88E6A659B}"/>
          </ac:inkMkLst>
        </pc:inkChg>
        <pc:inkChg chg="add del mod">
          <ac:chgData name="Aniket Chhabra" userId="598e0514-bef3-4e71-b6aa-f2edd6441cff" providerId="ADAL" clId="{D80CB0E3-8ED4-4E1B-83B0-CBE117AF958E}" dt="2022-03-12T09:26:57.993" v="581"/>
          <ac:inkMkLst>
            <pc:docMk/>
            <pc:sldMk cId="3273250036" sldId="296"/>
            <ac:inkMk id="19" creationId="{E1584A36-04BE-4784-97EE-52331A0F2B48}"/>
          </ac:inkMkLst>
        </pc:inkChg>
        <pc:inkChg chg="add del mod">
          <ac:chgData name="Aniket Chhabra" userId="598e0514-bef3-4e71-b6aa-f2edd6441cff" providerId="ADAL" clId="{D80CB0E3-8ED4-4E1B-83B0-CBE117AF958E}" dt="2022-03-12T09:26:57.223" v="580"/>
          <ac:inkMkLst>
            <pc:docMk/>
            <pc:sldMk cId="3273250036" sldId="296"/>
            <ac:inkMk id="20" creationId="{3BA38556-5EE7-413E-97DB-70DB4DC39F9B}"/>
          </ac:inkMkLst>
        </pc:inkChg>
        <pc:inkChg chg="add del mod">
          <ac:chgData name="Aniket Chhabra" userId="598e0514-bef3-4e71-b6aa-f2edd6441cff" providerId="ADAL" clId="{D80CB0E3-8ED4-4E1B-83B0-CBE117AF958E}" dt="2022-03-12T09:27:04.390" v="599"/>
          <ac:inkMkLst>
            <pc:docMk/>
            <pc:sldMk cId="3273250036" sldId="296"/>
            <ac:inkMk id="21" creationId="{F17B6037-11DD-4835-82ED-65CB959E71FE}"/>
          </ac:inkMkLst>
        </pc:inkChg>
        <pc:inkChg chg="add del mod">
          <ac:chgData name="Aniket Chhabra" userId="598e0514-bef3-4e71-b6aa-f2edd6441cff" providerId="ADAL" clId="{D80CB0E3-8ED4-4E1B-83B0-CBE117AF958E}" dt="2022-03-12T09:27:04.387" v="592"/>
          <ac:inkMkLst>
            <pc:docMk/>
            <pc:sldMk cId="3273250036" sldId="296"/>
            <ac:inkMk id="22" creationId="{D29A5F22-1557-498B-A369-707D06030ADB}"/>
          </ac:inkMkLst>
        </pc:inkChg>
        <pc:inkChg chg="add del mod">
          <ac:chgData name="Aniket Chhabra" userId="598e0514-bef3-4e71-b6aa-f2edd6441cff" providerId="ADAL" clId="{D80CB0E3-8ED4-4E1B-83B0-CBE117AF958E}" dt="2022-03-12T09:27:04.385" v="588"/>
          <ac:inkMkLst>
            <pc:docMk/>
            <pc:sldMk cId="3273250036" sldId="296"/>
            <ac:inkMk id="23" creationId="{2163499F-B9A0-4BA0-9977-F61D50849AF6}"/>
          </ac:inkMkLst>
        </pc:inkChg>
        <pc:inkChg chg="add del mod">
          <ac:chgData name="Aniket Chhabra" userId="598e0514-bef3-4e71-b6aa-f2edd6441cff" providerId="ADAL" clId="{D80CB0E3-8ED4-4E1B-83B0-CBE117AF958E}" dt="2022-03-12T09:27:04.389" v="595"/>
          <ac:inkMkLst>
            <pc:docMk/>
            <pc:sldMk cId="3273250036" sldId="296"/>
            <ac:inkMk id="26" creationId="{97086947-02B8-4053-8B0A-222DA409B6D0}"/>
          </ac:inkMkLst>
        </pc:inkChg>
        <pc:inkChg chg="add del mod">
          <ac:chgData name="Aniket Chhabra" userId="598e0514-bef3-4e71-b6aa-f2edd6441cff" providerId="ADAL" clId="{D80CB0E3-8ED4-4E1B-83B0-CBE117AF958E}" dt="2022-03-12T09:27:04.388" v="594"/>
          <ac:inkMkLst>
            <pc:docMk/>
            <pc:sldMk cId="3273250036" sldId="296"/>
            <ac:inkMk id="27" creationId="{76A12599-90B8-4272-A154-A15706749D58}"/>
          </ac:inkMkLst>
        </pc:inkChg>
        <pc:inkChg chg="add del">
          <ac:chgData name="Aniket Chhabra" userId="598e0514-bef3-4e71-b6aa-f2edd6441cff" providerId="ADAL" clId="{D80CB0E3-8ED4-4E1B-83B0-CBE117AF958E}" dt="2022-03-12T09:27:04.391" v="601"/>
          <ac:inkMkLst>
            <pc:docMk/>
            <pc:sldMk cId="3273250036" sldId="296"/>
            <ac:inkMk id="29" creationId="{AE6B6841-406E-44CB-9446-F90120E58D48}"/>
          </ac:inkMkLst>
        </pc:inkChg>
        <pc:inkChg chg="add del">
          <ac:chgData name="Aniket Chhabra" userId="598e0514-bef3-4e71-b6aa-f2edd6441cff" providerId="ADAL" clId="{D80CB0E3-8ED4-4E1B-83B0-CBE117AF958E}" dt="2022-03-12T09:27:04.390" v="598"/>
          <ac:inkMkLst>
            <pc:docMk/>
            <pc:sldMk cId="3273250036" sldId="296"/>
            <ac:inkMk id="30" creationId="{82BF0A00-0A36-402C-A219-0D85FC9B7A98}"/>
          </ac:inkMkLst>
        </pc:inkChg>
        <pc:inkChg chg="add del">
          <ac:chgData name="Aniket Chhabra" userId="598e0514-bef3-4e71-b6aa-f2edd6441cff" providerId="ADAL" clId="{D80CB0E3-8ED4-4E1B-83B0-CBE117AF958E}" dt="2022-03-12T09:27:04.388" v="593"/>
          <ac:inkMkLst>
            <pc:docMk/>
            <pc:sldMk cId="3273250036" sldId="296"/>
            <ac:inkMk id="31" creationId="{3F973116-6118-4F27-8D02-1E5C22A01DD6}"/>
          </ac:inkMkLst>
        </pc:inkChg>
        <pc:inkChg chg="add del">
          <ac:chgData name="Aniket Chhabra" userId="598e0514-bef3-4e71-b6aa-f2edd6441cff" providerId="ADAL" clId="{D80CB0E3-8ED4-4E1B-83B0-CBE117AF958E}" dt="2022-03-12T09:27:04.384" v="586"/>
          <ac:inkMkLst>
            <pc:docMk/>
            <pc:sldMk cId="3273250036" sldId="296"/>
            <ac:inkMk id="32" creationId="{E2008F45-6B0A-4DD5-867B-973B9FEF3B20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33" creationId="{6ABC58B6-7239-4925-B0F1-A83337577403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34" creationId="{EE137A70-E0D3-4B39-84C9-07600AB9E510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35" creationId="{85E62A72-5A3B-4855-A2FB-AC1BFA352319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36" creationId="{E29265F7-7CE4-4643-9982-8FF1CB008421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37" creationId="{9F9E1EEB-60BD-4BF2-BC45-BB8D10CC4C95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38" creationId="{69136294-6C0A-4FCE-8A01-8DC321DDA11D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39" creationId="{8EB45171-DC0E-4A9B-BA98-DA1F176618DF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40" creationId="{D7D5EAE0-D3E5-4542-8663-8F69B59225DF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41" creationId="{4927CF0D-6DAE-4B7A-BCA0-73C645175E14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42" creationId="{1F76A84F-53E5-4CD0-A6FF-F4A95DDD8C45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43" creationId="{8FDF125F-384D-472B-AB26-3E71C33029DC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44" creationId="{8391A51B-BD4D-4540-A57C-54DC465CAF71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45" creationId="{B70E429E-FCE4-4439-8A50-23213E31BB6A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46" creationId="{13A54336-D28F-4CB1-B588-96503E3AFE73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47" creationId="{66D860BD-41B0-40F6-A987-49E14082B502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48" creationId="{23F2E0E4-D79E-4B80-BB58-2BCFD2BE7D98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49" creationId="{DC8A4CD5-515A-4DAF-8B76-C6B6C64C8556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50" creationId="{702F2630-8EF7-4D8D-A0A7-CAFAC965CD41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51" creationId="{77649267-EC74-4CA5-AD80-52DEF14A6C74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52" creationId="{9236D37D-FAB5-464B-A85E-18F668624D6E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53" creationId="{4AEFED92-7AD3-448F-9BCB-00193B6B3559}"/>
          </ac:inkMkLst>
        </pc:inkChg>
        <pc:inkChg chg="add mod">
          <ac:chgData name="Aniket Chhabra" userId="598e0514-bef3-4e71-b6aa-f2edd6441cff" providerId="ADAL" clId="{D80CB0E3-8ED4-4E1B-83B0-CBE117AF958E}" dt="2022-03-12T09:27:18.546" v="624"/>
          <ac:inkMkLst>
            <pc:docMk/>
            <pc:sldMk cId="3273250036" sldId="296"/>
            <ac:inkMk id="54" creationId="{49144CD1-BEDB-4024-91D5-50AE24C2BA06}"/>
          </ac:inkMkLst>
        </pc:inkChg>
      </pc:sldChg>
      <pc:sldChg chg="addSp add mod">
        <pc:chgData name="Aniket Chhabra" userId="598e0514-bef3-4e71-b6aa-f2edd6441cff" providerId="ADAL" clId="{D80CB0E3-8ED4-4E1B-83B0-CBE117AF958E}" dt="2022-03-12T09:28:27.688" v="626"/>
        <pc:sldMkLst>
          <pc:docMk/>
          <pc:sldMk cId="2835118715" sldId="297"/>
        </pc:sldMkLst>
        <pc:picChg chg="add">
          <ac:chgData name="Aniket Chhabra" userId="598e0514-bef3-4e71-b6aa-f2edd6441cff" providerId="ADAL" clId="{D80CB0E3-8ED4-4E1B-83B0-CBE117AF958E}" dt="2022-03-12T09:28:27.688" v="626"/>
          <ac:picMkLst>
            <pc:docMk/>
            <pc:sldMk cId="2835118715" sldId="297"/>
            <ac:picMk id="3" creationId="{FC27DB9C-3A78-418E-A1B2-03D4CCAAB4C4}"/>
          </ac:picMkLst>
        </pc:picChg>
      </pc:sldChg>
      <pc:sldChg chg="addSp delSp modSp add mod">
        <pc:chgData name="Aniket Chhabra" userId="598e0514-bef3-4e71-b6aa-f2edd6441cff" providerId="ADAL" clId="{D80CB0E3-8ED4-4E1B-83B0-CBE117AF958E}" dt="2022-03-12T09:29:55.623" v="649"/>
        <pc:sldMkLst>
          <pc:docMk/>
          <pc:sldMk cId="3638936398" sldId="298"/>
        </pc:sldMkLst>
        <pc:grpChg chg="mod">
          <ac:chgData name="Aniket Chhabra" userId="598e0514-bef3-4e71-b6aa-f2edd6441cff" providerId="ADAL" clId="{D80CB0E3-8ED4-4E1B-83B0-CBE117AF958E}" dt="2022-03-12T09:29:55.623" v="649"/>
          <ac:grpSpMkLst>
            <pc:docMk/>
            <pc:sldMk cId="3638936398" sldId="298"/>
            <ac:grpSpMk id="24" creationId="{C5DEE912-8B5C-4C71-A95D-0B5E3CAE6A86}"/>
          </ac:grpSpMkLst>
        </pc:grpChg>
        <pc:grpChg chg="mod">
          <ac:chgData name="Aniket Chhabra" userId="598e0514-bef3-4e71-b6aa-f2edd6441cff" providerId="ADAL" clId="{D80CB0E3-8ED4-4E1B-83B0-CBE117AF958E}" dt="2022-03-12T09:29:55.623" v="649"/>
          <ac:grpSpMkLst>
            <pc:docMk/>
            <pc:sldMk cId="3638936398" sldId="298"/>
            <ac:grpSpMk id="25" creationId="{73C09D25-6B8F-4F4A-B7A3-8A56C91D46F6}"/>
          </ac:grpSpMkLst>
        </pc:grpChg>
        <pc:grpChg chg="mod">
          <ac:chgData name="Aniket Chhabra" userId="598e0514-bef3-4e71-b6aa-f2edd6441cff" providerId="ADAL" clId="{D80CB0E3-8ED4-4E1B-83B0-CBE117AF958E}" dt="2022-03-12T09:29:55.623" v="649"/>
          <ac:grpSpMkLst>
            <pc:docMk/>
            <pc:sldMk cId="3638936398" sldId="298"/>
            <ac:grpSpMk id="26" creationId="{97BB347C-35F7-4A90-BB84-199CCBC31F4C}"/>
          </ac:grpSpMkLst>
        </pc:grpChg>
        <pc:picChg chg="add del">
          <ac:chgData name="Aniket Chhabra" userId="598e0514-bef3-4e71-b6aa-f2edd6441cff" providerId="ADAL" clId="{D80CB0E3-8ED4-4E1B-83B0-CBE117AF958E}" dt="2022-03-12T09:29:43.452" v="629" actId="478"/>
          <ac:picMkLst>
            <pc:docMk/>
            <pc:sldMk cId="3638936398" sldId="298"/>
            <ac:picMk id="3" creationId="{6D8B39B9-ABB4-43AF-AB87-07B050C90AC3}"/>
          </ac:picMkLst>
        </pc:picChg>
        <pc:picChg chg="add">
          <ac:chgData name="Aniket Chhabra" userId="598e0514-bef3-4e71-b6aa-f2edd6441cff" providerId="ADAL" clId="{D80CB0E3-8ED4-4E1B-83B0-CBE117AF958E}" dt="2022-03-12T09:29:43.938" v="631"/>
          <ac:picMkLst>
            <pc:docMk/>
            <pc:sldMk cId="3638936398" sldId="298"/>
            <ac:picMk id="6" creationId="{91A0E211-B64D-49FE-8DBA-AE852EFCA269}"/>
          </ac:picMkLst>
        </pc:pic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7" creationId="{6C08CC1B-2731-433A-A094-F50991003CBE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8" creationId="{E166F25E-753D-4055-A798-A62C195B1A0C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9" creationId="{5A25E3FE-9D8F-452C-98A1-105291D551CE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10" creationId="{DF2180C5-CA9D-47A9-8C47-A434DC19FEA0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11" creationId="{737A4E85-37BF-4E45-A47E-837597FFC4AD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12" creationId="{D8C03EFB-2D49-4267-9831-15E9C4E020E4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13" creationId="{C4AE21C9-6790-45C9-8F4E-BDC804A77D4A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14" creationId="{B9F2D447-C816-4B4D-8B9E-5216B37CEF17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15" creationId="{58C9EB0B-89AB-4AC5-9CF2-5736D8469BAE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16" creationId="{49B2870D-0C8A-423B-B785-70D7A5C3F994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17" creationId="{6E0D078C-6AC2-4B31-82B5-1409121F2BA7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18" creationId="{CB3E727C-CE98-4D93-96BC-8429E8BA306B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19" creationId="{FFA8F559-C059-4EF5-938C-DE9467E64CC3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20" creationId="{4029657F-E170-47C1-BDF0-83527BC72E46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21" creationId="{61F8E27A-B3C1-4225-A80E-DB54A7EEFA17}"/>
          </ac:inkMkLst>
        </pc:inkChg>
        <pc:inkChg chg="add">
          <ac:chgData name="Aniket Chhabra" userId="598e0514-bef3-4e71-b6aa-f2edd6441cff" providerId="ADAL" clId="{D80CB0E3-8ED4-4E1B-83B0-CBE117AF958E}" dt="2022-03-12T09:29:54.553" v="647" actId="9405"/>
          <ac:inkMkLst>
            <pc:docMk/>
            <pc:sldMk cId="3638936398" sldId="298"/>
            <ac:inkMk id="22" creationId="{3D7C37C3-5465-41F1-B014-41030926942E}"/>
          </ac:inkMkLst>
        </pc:inkChg>
        <pc:inkChg chg="add mod">
          <ac:chgData name="Aniket Chhabra" userId="598e0514-bef3-4e71-b6aa-f2edd6441cff" providerId="ADAL" clId="{D80CB0E3-8ED4-4E1B-83B0-CBE117AF958E}" dt="2022-03-12T09:29:55.623" v="649"/>
          <ac:inkMkLst>
            <pc:docMk/>
            <pc:sldMk cId="3638936398" sldId="298"/>
            <ac:inkMk id="23" creationId="{4776377B-CF5A-4504-B0A2-F8323482FF0E}"/>
          </ac:inkMkLst>
        </pc:inkChg>
      </pc:sldChg>
      <pc:sldChg chg="addSp modSp add mod">
        <pc:chgData name="Aniket Chhabra" userId="598e0514-bef3-4e71-b6aa-f2edd6441cff" providerId="ADAL" clId="{D80CB0E3-8ED4-4E1B-83B0-CBE117AF958E}" dt="2022-03-12T09:31:11.848" v="655"/>
        <pc:sldMkLst>
          <pc:docMk/>
          <pc:sldMk cId="951601180" sldId="299"/>
        </pc:sldMkLst>
        <pc:grpChg chg="mod">
          <ac:chgData name="Aniket Chhabra" userId="598e0514-bef3-4e71-b6aa-f2edd6441cff" providerId="ADAL" clId="{D80CB0E3-8ED4-4E1B-83B0-CBE117AF958E}" dt="2022-03-12T09:31:11.848" v="655"/>
          <ac:grpSpMkLst>
            <pc:docMk/>
            <pc:sldMk cId="951601180" sldId="299"/>
            <ac:grpSpMk id="8" creationId="{21AD01A9-8C9A-47C1-A33B-45602D5BA62F}"/>
          </ac:grpSpMkLst>
        </pc:grpChg>
        <pc:picChg chg="add">
          <ac:chgData name="Aniket Chhabra" userId="598e0514-bef3-4e71-b6aa-f2edd6441cff" providerId="ADAL" clId="{D80CB0E3-8ED4-4E1B-83B0-CBE117AF958E}" dt="2022-03-12T09:31:04.184" v="651"/>
          <ac:picMkLst>
            <pc:docMk/>
            <pc:sldMk cId="951601180" sldId="299"/>
            <ac:picMk id="3" creationId="{F4F471DB-C3C5-4D0F-BD04-B98257EE23C3}"/>
          </ac:picMkLst>
        </pc:picChg>
        <pc:inkChg chg="add mod">
          <ac:chgData name="Aniket Chhabra" userId="598e0514-bef3-4e71-b6aa-f2edd6441cff" providerId="ADAL" clId="{D80CB0E3-8ED4-4E1B-83B0-CBE117AF958E}" dt="2022-03-12T09:31:11.848" v="655"/>
          <ac:inkMkLst>
            <pc:docMk/>
            <pc:sldMk cId="951601180" sldId="299"/>
            <ac:inkMk id="5" creationId="{D274ABB5-F101-446F-9C11-BB84FF69F159}"/>
          </ac:inkMkLst>
        </pc:inkChg>
        <pc:inkChg chg="add mod">
          <ac:chgData name="Aniket Chhabra" userId="598e0514-bef3-4e71-b6aa-f2edd6441cff" providerId="ADAL" clId="{D80CB0E3-8ED4-4E1B-83B0-CBE117AF958E}" dt="2022-03-12T09:31:11.848" v="655"/>
          <ac:inkMkLst>
            <pc:docMk/>
            <pc:sldMk cId="951601180" sldId="299"/>
            <ac:inkMk id="6" creationId="{84846FF3-3DB0-4393-8AA5-D554D046685E}"/>
          </ac:inkMkLst>
        </pc:inkChg>
        <pc:inkChg chg="add mod">
          <ac:chgData name="Aniket Chhabra" userId="598e0514-bef3-4e71-b6aa-f2edd6441cff" providerId="ADAL" clId="{D80CB0E3-8ED4-4E1B-83B0-CBE117AF958E}" dt="2022-03-12T09:31:11.848" v="655"/>
          <ac:inkMkLst>
            <pc:docMk/>
            <pc:sldMk cId="951601180" sldId="299"/>
            <ac:inkMk id="7" creationId="{83FC79A9-2F70-406E-9942-4196D2CD48B4}"/>
          </ac:inkMkLst>
        </pc:inkChg>
      </pc:sldChg>
      <pc:sldChg chg="addSp add mod">
        <pc:chgData name="Aniket Chhabra" userId="598e0514-bef3-4e71-b6aa-f2edd6441cff" providerId="ADAL" clId="{D80CB0E3-8ED4-4E1B-83B0-CBE117AF958E}" dt="2022-03-12T09:31:22.764" v="657"/>
        <pc:sldMkLst>
          <pc:docMk/>
          <pc:sldMk cId="1005446986" sldId="300"/>
        </pc:sldMkLst>
        <pc:picChg chg="add">
          <ac:chgData name="Aniket Chhabra" userId="598e0514-bef3-4e71-b6aa-f2edd6441cff" providerId="ADAL" clId="{D80CB0E3-8ED4-4E1B-83B0-CBE117AF958E}" dt="2022-03-12T09:31:22.764" v="657"/>
          <ac:picMkLst>
            <pc:docMk/>
            <pc:sldMk cId="1005446986" sldId="300"/>
            <ac:picMk id="3" creationId="{FDA3AFC2-FCB7-496F-8451-30D8E7D6AF3E}"/>
          </ac:picMkLst>
        </pc:picChg>
      </pc:sldChg>
      <pc:sldChg chg="addSp modSp add mod">
        <pc:chgData name="Aniket Chhabra" userId="598e0514-bef3-4e71-b6aa-f2edd6441cff" providerId="ADAL" clId="{D80CB0E3-8ED4-4E1B-83B0-CBE117AF958E}" dt="2022-03-12T09:33:59.735" v="660" actId="1036"/>
        <pc:sldMkLst>
          <pc:docMk/>
          <pc:sldMk cId="2629007949" sldId="301"/>
        </pc:sldMkLst>
        <pc:picChg chg="add mod">
          <ac:chgData name="Aniket Chhabra" userId="598e0514-bef3-4e71-b6aa-f2edd6441cff" providerId="ADAL" clId="{D80CB0E3-8ED4-4E1B-83B0-CBE117AF958E}" dt="2022-03-12T09:33:59.735" v="660" actId="1036"/>
          <ac:picMkLst>
            <pc:docMk/>
            <pc:sldMk cId="2629007949" sldId="301"/>
            <ac:picMk id="3" creationId="{CC780EEB-4CF7-43FB-A4BA-B9E4125E1F97}"/>
          </ac:picMkLst>
        </pc:picChg>
      </pc:sldChg>
      <pc:sldChg chg="addSp add mod">
        <pc:chgData name="Aniket Chhabra" userId="598e0514-bef3-4e71-b6aa-f2edd6441cff" providerId="ADAL" clId="{D80CB0E3-8ED4-4E1B-83B0-CBE117AF958E}" dt="2022-03-12T09:34:02.741" v="662"/>
        <pc:sldMkLst>
          <pc:docMk/>
          <pc:sldMk cId="935659643" sldId="302"/>
        </pc:sldMkLst>
        <pc:picChg chg="add">
          <ac:chgData name="Aniket Chhabra" userId="598e0514-bef3-4e71-b6aa-f2edd6441cff" providerId="ADAL" clId="{D80CB0E3-8ED4-4E1B-83B0-CBE117AF958E}" dt="2022-03-12T09:34:02.741" v="662"/>
          <ac:picMkLst>
            <pc:docMk/>
            <pc:sldMk cId="935659643" sldId="302"/>
            <ac:picMk id="3" creationId="{28475D65-EFB4-44D9-9A0A-B2BA3D89BAFD}"/>
          </ac:picMkLst>
        </pc:picChg>
      </pc:sldChg>
      <pc:sldChg chg="addSp add mod">
        <pc:chgData name="Aniket Chhabra" userId="598e0514-bef3-4e71-b6aa-f2edd6441cff" providerId="ADAL" clId="{D80CB0E3-8ED4-4E1B-83B0-CBE117AF958E}" dt="2022-03-12T09:34:26.625" v="664"/>
        <pc:sldMkLst>
          <pc:docMk/>
          <pc:sldMk cId="2243009146" sldId="303"/>
        </pc:sldMkLst>
        <pc:picChg chg="add">
          <ac:chgData name="Aniket Chhabra" userId="598e0514-bef3-4e71-b6aa-f2edd6441cff" providerId="ADAL" clId="{D80CB0E3-8ED4-4E1B-83B0-CBE117AF958E}" dt="2022-03-12T09:34:26.625" v="664"/>
          <ac:picMkLst>
            <pc:docMk/>
            <pc:sldMk cId="2243009146" sldId="303"/>
            <ac:picMk id="3" creationId="{B46BBBBD-4ADD-4AB4-A3BD-CC18020380A0}"/>
          </ac:picMkLst>
        </pc:picChg>
      </pc:sldChg>
      <pc:sldChg chg="addSp modSp add mod">
        <pc:chgData name="Aniket Chhabra" userId="598e0514-bef3-4e71-b6aa-f2edd6441cff" providerId="ADAL" clId="{D80CB0E3-8ED4-4E1B-83B0-CBE117AF958E}" dt="2022-03-13T17:00:38.691" v="1796" actId="20577"/>
        <pc:sldMkLst>
          <pc:docMk/>
          <pc:sldMk cId="4208915100" sldId="304"/>
        </pc:sldMkLst>
        <pc:spChg chg="add mod">
          <ac:chgData name="Aniket Chhabra" userId="598e0514-bef3-4e71-b6aa-f2edd6441cff" providerId="ADAL" clId="{D80CB0E3-8ED4-4E1B-83B0-CBE117AF958E}" dt="2022-03-13T17:00:38.691" v="1796" actId="20577"/>
          <ac:spMkLst>
            <pc:docMk/>
            <pc:sldMk cId="4208915100" sldId="304"/>
            <ac:spMk id="5" creationId="{7557E5D7-9B5D-4E5B-BEAB-5CCE4878E471}"/>
          </ac:spMkLst>
        </pc:spChg>
      </pc:sldChg>
      <pc:sldChg chg="add del">
        <pc:chgData name="Aniket Chhabra" userId="598e0514-bef3-4e71-b6aa-f2edd6441cff" providerId="ADAL" clId="{D80CB0E3-8ED4-4E1B-83B0-CBE117AF958E}" dt="2022-03-13T17:01:10.583" v="1797" actId="2696"/>
        <pc:sldMkLst>
          <pc:docMk/>
          <pc:sldMk cId="1355545454" sldId="305"/>
        </pc:sldMkLst>
      </pc:sldChg>
      <pc:sldChg chg="add del">
        <pc:chgData name="Aniket Chhabra" userId="598e0514-bef3-4e71-b6aa-f2edd6441cff" providerId="ADAL" clId="{D80CB0E3-8ED4-4E1B-83B0-CBE117AF958E}" dt="2022-03-13T17:01:10.583" v="1797" actId="2696"/>
        <pc:sldMkLst>
          <pc:docMk/>
          <pc:sldMk cId="806280415" sldId="306"/>
        </pc:sldMkLst>
      </pc:sldChg>
      <pc:sldChg chg="add del">
        <pc:chgData name="Aniket Chhabra" userId="598e0514-bef3-4e71-b6aa-f2edd6441cff" providerId="ADAL" clId="{D80CB0E3-8ED4-4E1B-83B0-CBE117AF958E}" dt="2022-03-13T17:01:10.583" v="1797" actId="2696"/>
        <pc:sldMkLst>
          <pc:docMk/>
          <pc:sldMk cId="4013311303" sldId="307"/>
        </pc:sldMkLst>
      </pc:sldChg>
      <pc:sldChg chg="add del">
        <pc:chgData name="Aniket Chhabra" userId="598e0514-bef3-4e71-b6aa-f2edd6441cff" providerId="ADAL" clId="{D80CB0E3-8ED4-4E1B-83B0-CBE117AF958E}" dt="2022-03-13T17:01:10.583" v="1797" actId="2696"/>
        <pc:sldMkLst>
          <pc:docMk/>
          <pc:sldMk cId="3469318182" sldId="308"/>
        </pc:sldMkLst>
      </pc:sldChg>
      <pc:sldChg chg="add del">
        <pc:chgData name="Aniket Chhabra" userId="598e0514-bef3-4e71-b6aa-f2edd6441cff" providerId="ADAL" clId="{D80CB0E3-8ED4-4E1B-83B0-CBE117AF958E}" dt="2022-03-13T17:01:10.583" v="1797" actId="2696"/>
        <pc:sldMkLst>
          <pc:docMk/>
          <pc:sldMk cId="669010986" sldId="309"/>
        </pc:sldMkLst>
      </pc:sldChg>
      <pc:sldChg chg="add del">
        <pc:chgData name="Aniket Chhabra" userId="598e0514-bef3-4e71-b6aa-f2edd6441cff" providerId="ADAL" clId="{D80CB0E3-8ED4-4E1B-83B0-CBE117AF958E}" dt="2022-03-13T17:01:10.583" v="1797" actId="2696"/>
        <pc:sldMkLst>
          <pc:docMk/>
          <pc:sldMk cId="4103480719" sldId="310"/>
        </pc:sldMkLst>
      </pc:sldChg>
      <pc:sldChg chg="add del">
        <pc:chgData name="Aniket Chhabra" userId="598e0514-bef3-4e71-b6aa-f2edd6441cff" providerId="ADAL" clId="{D80CB0E3-8ED4-4E1B-83B0-CBE117AF958E}" dt="2022-03-13T17:01:10.583" v="1797" actId="2696"/>
        <pc:sldMkLst>
          <pc:docMk/>
          <pc:sldMk cId="2535923111" sldId="311"/>
        </pc:sldMkLst>
      </pc:sldChg>
      <pc:sldChg chg="add del">
        <pc:chgData name="Aniket Chhabra" userId="598e0514-bef3-4e71-b6aa-f2edd6441cff" providerId="ADAL" clId="{D80CB0E3-8ED4-4E1B-83B0-CBE117AF958E}" dt="2022-03-13T17:01:10.583" v="1797" actId="2696"/>
        <pc:sldMkLst>
          <pc:docMk/>
          <pc:sldMk cId="2204727375" sldId="312"/>
        </pc:sldMkLst>
      </pc:sldChg>
      <pc:sldChg chg="addSp delSp modSp new add del mod ord">
        <pc:chgData name="Aniket Chhabra" userId="598e0514-bef3-4e71-b6aa-f2edd6441cff" providerId="ADAL" clId="{D80CB0E3-8ED4-4E1B-83B0-CBE117AF958E}" dt="2022-03-12T09:42:21.902" v="1017" actId="2696"/>
        <pc:sldMkLst>
          <pc:docMk/>
          <pc:sldMk cId="705876011" sldId="313"/>
        </pc:sldMkLst>
        <pc:spChg chg="del">
          <ac:chgData name="Aniket Chhabra" userId="598e0514-bef3-4e71-b6aa-f2edd6441cff" providerId="ADAL" clId="{D80CB0E3-8ED4-4E1B-83B0-CBE117AF958E}" dt="2022-03-12T09:41:24.981" v="993" actId="478"/>
          <ac:spMkLst>
            <pc:docMk/>
            <pc:sldMk cId="705876011" sldId="313"/>
            <ac:spMk id="2" creationId="{F4F83C27-0DB4-4990-BAE8-0FEFD2DE007B}"/>
          </ac:spMkLst>
        </pc:spChg>
        <pc:spChg chg="del">
          <ac:chgData name="Aniket Chhabra" userId="598e0514-bef3-4e71-b6aa-f2edd6441cff" providerId="ADAL" clId="{D80CB0E3-8ED4-4E1B-83B0-CBE117AF958E}" dt="2022-03-12T09:41:24.981" v="993" actId="478"/>
          <ac:spMkLst>
            <pc:docMk/>
            <pc:sldMk cId="705876011" sldId="313"/>
            <ac:spMk id="3" creationId="{267B4F75-0902-4381-985D-45633ADD66B9}"/>
          </ac:spMkLst>
        </pc:spChg>
        <pc:graphicFrameChg chg="add mod ord modVis replST">
          <ac:chgData name="Aniket Chhabra" userId="598e0514-bef3-4e71-b6aa-f2edd6441cff" providerId="ADAL" clId="{D80CB0E3-8ED4-4E1B-83B0-CBE117AF958E}" dt="2022-03-12T09:41:25.619" v="1012"/>
          <ac:graphicFrameMkLst>
            <pc:docMk/>
            <pc:sldMk cId="705876011" sldId="313"/>
            <ac:graphicFrameMk id="6" creationId="{DB2669CE-50BF-46C0-BFF4-AC541DE70438}"/>
          </ac:graphicFrameMkLst>
        </pc:graphicFrameChg>
        <pc:picChg chg="add del">
          <ac:chgData name="Aniket Chhabra" userId="598e0514-bef3-4e71-b6aa-f2edd6441cff" providerId="ADAL" clId="{D80CB0E3-8ED4-4E1B-83B0-CBE117AF958E}" dt="2022-03-12T09:41:46.393" v="1013" actId="478"/>
          <ac:picMkLst>
            <pc:docMk/>
            <pc:sldMk cId="705876011" sldId="313"/>
            <ac:picMk id="5" creationId="{AD249D11-8237-48A0-823F-7B5E6549F8DD}"/>
          </ac:picMkLst>
        </pc:picChg>
        <pc:picChg chg="add">
          <ac:chgData name="Aniket Chhabra" userId="598e0514-bef3-4e71-b6aa-f2edd6441cff" providerId="ADAL" clId="{D80CB0E3-8ED4-4E1B-83B0-CBE117AF958E}" dt="2022-03-12T09:41:47.107" v="1015"/>
          <ac:picMkLst>
            <pc:docMk/>
            <pc:sldMk cId="705876011" sldId="313"/>
            <ac:picMk id="8" creationId="{0A63BE17-2BB0-4173-B12C-8C96816F9689}"/>
          </ac:picMkLst>
        </pc:picChg>
      </pc:sldChg>
      <pc:sldChg chg="addSp delSp modSp add mod">
        <pc:chgData name="Aniket Chhabra" userId="598e0514-bef3-4e71-b6aa-f2edd6441cff" providerId="ADAL" clId="{D80CB0E3-8ED4-4E1B-83B0-CBE117AF958E}" dt="2022-03-12T09:43:30.724" v="1092"/>
        <pc:sldMkLst>
          <pc:docMk/>
          <pc:sldMk cId="3909501186" sldId="313"/>
        </pc:sldMkLst>
        <pc:grpChg chg="mod">
          <ac:chgData name="Aniket Chhabra" userId="598e0514-bef3-4e71-b6aa-f2edd6441cff" providerId="ADAL" clId="{D80CB0E3-8ED4-4E1B-83B0-CBE117AF958E}" dt="2022-03-12T09:43:13.848" v="1057"/>
          <ac:grpSpMkLst>
            <pc:docMk/>
            <pc:sldMk cId="3909501186" sldId="313"/>
            <ac:grpSpMk id="22" creationId="{2A5B6B93-5013-435D-A2BA-1CB9E84B7951}"/>
          </ac:grpSpMkLst>
        </pc:grpChg>
        <pc:grpChg chg="mod">
          <ac:chgData name="Aniket Chhabra" userId="598e0514-bef3-4e71-b6aa-f2edd6441cff" providerId="ADAL" clId="{D80CB0E3-8ED4-4E1B-83B0-CBE117AF958E}" dt="2022-03-12T09:43:22.939" v="1074"/>
          <ac:grpSpMkLst>
            <pc:docMk/>
            <pc:sldMk cId="3909501186" sldId="313"/>
            <ac:grpSpMk id="38" creationId="{D3AF3D48-44E6-4B88-A1FB-FB81A6DD44FD}"/>
          </ac:grpSpMkLst>
        </pc:grpChg>
        <pc:grpChg chg="mod">
          <ac:chgData name="Aniket Chhabra" userId="598e0514-bef3-4e71-b6aa-f2edd6441cff" providerId="ADAL" clId="{D80CB0E3-8ED4-4E1B-83B0-CBE117AF958E}" dt="2022-03-12T09:43:22.939" v="1074"/>
          <ac:grpSpMkLst>
            <pc:docMk/>
            <pc:sldMk cId="3909501186" sldId="313"/>
            <ac:grpSpMk id="39" creationId="{A11D1B46-732C-4C1D-9B6F-5AC61AC779DD}"/>
          </ac:grpSpMkLst>
        </pc:grpChg>
        <pc:grpChg chg="mod">
          <ac:chgData name="Aniket Chhabra" userId="598e0514-bef3-4e71-b6aa-f2edd6441cff" providerId="ADAL" clId="{D80CB0E3-8ED4-4E1B-83B0-CBE117AF958E}" dt="2022-03-12T09:43:30.724" v="1092"/>
          <ac:grpSpMkLst>
            <pc:docMk/>
            <pc:sldMk cId="3909501186" sldId="313"/>
            <ac:grpSpMk id="53" creationId="{A1F4F0B0-CF29-4A18-B19C-E5336439F10B}"/>
          </ac:grpSpMkLst>
        </pc:grpChg>
        <pc:inkChg chg="add del">
          <ac:chgData name="Aniket Chhabra" userId="598e0514-bef3-4e71-b6aa-f2edd6441cff" providerId="ADAL" clId="{D80CB0E3-8ED4-4E1B-83B0-CBE117AF958E}" dt="2022-03-12T09:42:57.948" v="1040"/>
          <ac:inkMkLst>
            <pc:docMk/>
            <pc:sldMk cId="3909501186" sldId="313"/>
            <ac:inkMk id="2" creationId="{20351826-BB75-4956-86BA-4B7BA87485AE}"/>
          </ac:inkMkLst>
        </pc:inkChg>
        <pc:inkChg chg="add del">
          <ac:chgData name="Aniket Chhabra" userId="598e0514-bef3-4e71-b6aa-f2edd6441cff" providerId="ADAL" clId="{D80CB0E3-8ED4-4E1B-83B0-CBE117AF958E}" dt="2022-03-12T09:42:57.948" v="1039"/>
          <ac:inkMkLst>
            <pc:docMk/>
            <pc:sldMk cId="3909501186" sldId="313"/>
            <ac:inkMk id="3" creationId="{7A5561DD-249C-4AB3-BCBD-6A00A43BACE5}"/>
          </ac:inkMkLst>
        </pc:inkChg>
        <pc:inkChg chg="add del">
          <ac:chgData name="Aniket Chhabra" userId="598e0514-bef3-4e71-b6aa-f2edd6441cff" providerId="ADAL" clId="{D80CB0E3-8ED4-4E1B-83B0-CBE117AF958E}" dt="2022-03-12T09:43:01.014" v="1041"/>
          <ac:inkMkLst>
            <pc:docMk/>
            <pc:sldMk cId="3909501186" sldId="313"/>
            <ac:inkMk id="4" creationId="{58A61BBF-D93D-41E2-9594-F8049C07AEF1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5" creationId="{5EB40449-7D75-4967-AFC9-8C4D45C394FA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7" creationId="{B0AECDF0-C54C-47B3-B44B-BDDCE6B0411B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9" creationId="{2FE5D702-2F66-4C0D-89DE-7152401ED0A1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10" creationId="{482A9AC0-612B-4452-A029-AD1352004545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11" creationId="{87AD5E6E-CD3C-4CB6-A1EB-B614CA69424B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12" creationId="{6858F0C3-2786-41DD-83F1-AF1E3643CE0E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13" creationId="{B8E4ECDB-DDF2-44C8-82E7-C44AADF03F7F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14" creationId="{04859DF4-4526-4C34-8C7F-5FB5B1E4D935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15" creationId="{3D24FE65-49D7-4657-873F-BB33CF916D33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16" creationId="{19C32BB0-ED93-42BC-98AC-A381AC506E96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17" creationId="{82DF6B4E-59DF-4DA7-B788-DDD46D2A75BD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18" creationId="{6DB5DE5F-7414-4108-A32E-C556A7983656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19" creationId="{6A066A83-581A-48D5-898E-D24BC75F4985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20" creationId="{FE277B71-822C-4038-BFA1-58330312AADF}"/>
          </ac:inkMkLst>
        </pc:inkChg>
        <pc:inkChg chg="add mod">
          <ac:chgData name="Aniket Chhabra" userId="598e0514-bef3-4e71-b6aa-f2edd6441cff" providerId="ADAL" clId="{D80CB0E3-8ED4-4E1B-83B0-CBE117AF958E}" dt="2022-03-12T09:43:13.848" v="1057"/>
          <ac:inkMkLst>
            <pc:docMk/>
            <pc:sldMk cId="3909501186" sldId="313"/>
            <ac:inkMk id="21" creationId="{24F709F6-9D15-4682-B020-F63B1BA3D0AC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23" creationId="{7A4BF571-1D49-4BD2-A1D7-48DCB321C26F}"/>
          </ac:inkMkLst>
        </pc:inkChg>
        <pc:inkChg chg="add del">
          <ac:chgData name="Aniket Chhabra" userId="598e0514-bef3-4e71-b6aa-f2edd6441cff" providerId="ADAL" clId="{D80CB0E3-8ED4-4E1B-83B0-CBE117AF958E}" dt="2022-03-12T09:43:16.074" v="1060"/>
          <ac:inkMkLst>
            <pc:docMk/>
            <pc:sldMk cId="3909501186" sldId="313"/>
            <ac:inkMk id="24" creationId="{70555AB4-208A-46A7-9BEE-8868484E1B4A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25" creationId="{17D60396-95E9-4186-92B2-69F6E4578C21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26" creationId="{E03EA3AE-5D2A-4149-886C-9AA2ACDE300A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27" creationId="{3651B082-899A-4FB0-B2FC-BE6A99F187EF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28" creationId="{182E23F3-3172-4B57-B71E-A2FA5F456C82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29" creationId="{FE7862A7-73A4-4E34-A8F7-616766165A2B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30" creationId="{3E0A4EBD-1CCE-45FE-8336-4D8379097407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31" creationId="{262ABE97-7EF3-4507-A909-0B6E5750625B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32" creationId="{7B7DC33D-5935-435A-84A8-52DC601B46F8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33" creationId="{91D3C5A0-42BC-4BE6-A1C4-43E358534ED6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34" creationId="{854C141B-011A-47B0-8DC9-CF3972261ED7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35" creationId="{43FEAF93-BC16-44B5-B265-5724FE12D4F0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36" creationId="{61C553E1-41BF-4086-A890-693E0CFD84AF}"/>
          </ac:inkMkLst>
        </pc:inkChg>
        <pc:inkChg chg="add mod">
          <ac:chgData name="Aniket Chhabra" userId="598e0514-bef3-4e71-b6aa-f2edd6441cff" providerId="ADAL" clId="{D80CB0E3-8ED4-4E1B-83B0-CBE117AF958E}" dt="2022-03-12T09:43:22.939" v="1074"/>
          <ac:inkMkLst>
            <pc:docMk/>
            <pc:sldMk cId="3909501186" sldId="313"/>
            <ac:inkMk id="37" creationId="{6DB39A62-F61C-4867-A00E-7643005DA824}"/>
          </ac:inkMkLst>
        </pc:inkChg>
        <pc:inkChg chg="add mod">
          <ac:chgData name="Aniket Chhabra" userId="598e0514-bef3-4e71-b6aa-f2edd6441cff" providerId="ADAL" clId="{D80CB0E3-8ED4-4E1B-83B0-CBE117AF958E}" dt="2022-03-12T09:43:30.724" v="1092"/>
          <ac:inkMkLst>
            <pc:docMk/>
            <pc:sldMk cId="3909501186" sldId="313"/>
            <ac:inkMk id="40" creationId="{41059CE4-3DDA-450F-8EA7-18AA83620455}"/>
          </ac:inkMkLst>
        </pc:inkChg>
        <pc:inkChg chg="add mod">
          <ac:chgData name="Aniket Chhabra" userId="598e0514-bef3-4e71-b6aa-f2edd6441cff" providerId="ADAL" clId="{D80CB0E3-8ED4-4E1B-83B0-CBE117AF958E}" dt="2022-03-12T09:43:30.724" v="1092"/>
          <ac:inkMkLst>
            <pc:docMk/>
            <pc:sldMk cId="3909501186" sldId="313"/>
            <ac:inkMk id="41" creationId="{2599EB09-2F83-4095-95E5-9FD9DFE95BC0}"/>
          </ac:inkMkLst>
        </pc:inkChg>
        <pc:inkChg chg="add mod">
          <ac:chgData name="Aniket Chhabra" userId="598e0514-bef3-4e71-b6aa-f2edd6441cff" providerId="ADAL" clId="{D80CB0E3-8ED4-4E1B-83B0-CBE117AF958E}" dt="2022-03-12T09:43:30.724" v="1092"/>
          <ac:inkMkLst>
            <pc:docMk/>
            <pc:sldMk cId="3909501186" sldId="313"/>
            <ac:inkMk id="42" creationId="{CAC7A827-90DD-446E-AD76-03565146C801}"/>
          </ac:inkMkLst>
        </pc:inkChg>
        <pc:inkChg chg="add mod">
          <ac:chgData name="Aniket Chhabra" userId="598e0514-bef3-4e71-b6aa-f2edd6441cff" providerId="ADAL" clId="{D80CB0E3-8ED4-4E1B-83B0-CBE117AF958E}" dt="2022-03-12T09:43:30.724" v="1092"/>
          <ac:inkMkLst>
            <pc:docMk/>
            <pc:sldMk cId="3909501186" sldId="313"/>
            <ac:inkMk id="43" creationId="{1DCC754D-DA07-4810-AAEC-F81218EFB335}"/>
          </ac:inkMkLst>
        </pc:inkChg>
        <pc:inkChg chg="add mod">
          <ac:chgData name="Aniket Chhabra" userId="598e0514-bef3-4e71-b6aa-f2edd6441cff" providerId="ADAL" clId="{D80CB0E3-8ED4-4E1B-83B0-CBE117AF958E}" dt="2022-03-12T09:43:30.724" v="1092"/>
          <ac:inkMkLst>
            <pc:docMk/>
            <pc:sldMk cId="3909501186" sldId="313"/>
            <ac:inkMk id="44" creationId="{CC634762-062D-490E-B1B8-512613ED9FAB}"/>
          </ac:inkMkLst>
        </pc:inkChg>
        <pc:inkChg chg="add del">
          <ac:chgData name="Aniket Chhabra" userId="598e0514-bef3-4e71-b6aa-f2edd6441cff" providerId="ADAL" clId="{D80CB0E3-8ED4-4E1B-83B0-CBE117AF958E}" dt="2022-03-12T09:43:27.849" v="1084"/>
          <ac:inkMkLst>
            <pc:docMk/>
            <pc:sldMk cId="3909501186" sldId="313"/>
            <ac:inkMk id="45" creationId="{EB7C6208-590C-4E35-B545-14D30251A554}"/>
          </ac:inkMkLst>
        </pc:inkChg>
        <pc:inkChg chg="add del">
          <ac:chgData name="Aniket Chhabra" userId="598e0514-bef3-4e71-b6aa-f2edd6441cff" providerId="ADAL" clId="{D80CB0E3-8ED4-4E1B-83B0-CBE117AF958E}" dt="2022-03-12T09:43:27.852" v="1086"/>
          <ac:inkMkLst>
            <pc:docMk/>
            <pc:sldMk cId="3909501186" sldId="313"/>
            <ac:inkMk id="46" creationId="{1278A01F-C102-4678-8BC3-A5851F38C854}"/>
          </ac:inkMkLst>
        </pc:inkChg>
        <pc:inkChg chg="add del">
          <ac:chgData name="Aniket Chhabra" userId="598e0514-bef3-4e71-b6aa-f2edd6441cff" providerId="ADAL" clId="{D80CB0E3-8ED4-4E1B-83B0-CBE117AF958E}" dt="2022-03-12T09:43:27.851" v="1085"/>
          <ac:inkMkLst>
            <pc:docMk/>
            <pc:sldMk cId="3909501186" sldId="313"/>
            <ac:inkMk id="47" creationId="{0422FDBC-95CE-4008-A4E1-BB87326B1DD8}"/>
          </ac:inkMkLst>
        </pc:inkChg>
        <pc:inkChg chg="add del">
          <ac:chgData name="Aniket Chhabra" userId="598e0514-bef3-4e71-b6aa-f2edd6441cff" providerId="ADAL" clId="{D80CB0E3-8ED4-4E1B-83B0-CBE117AF958E}" dt="2022-03-12T09:43:27.852" v="1087"/>
          <ac:inkMkLst>
            <pc:docMk/>
            <pc:sldMk cId="3909501186" sldId="313"/>
            <ac:inkMk id="48" creationId="{68AFDE42-B03C-4FEA-BBF7-C9F1DE7918F6}"/>
          </ac:inkMkLst>
        </pc:inkChg>
        <pc:inkChg chg="add mod">
          <ac:chgData name="Aniket Chhabra" userId="598e0514-bef3-4e71-b6aa-f2edd6441cff" providerId="ADAL" clId="{D80CB0E3-8ED4-4E1B-83B0-CBE117AF958E}" dt="2022-03-12T09:43:30.724" v="1092"/>
          <ac:inkMkLst>
            <pc:docMk/>
            <pc:sldMk cId="3909501186" sldId="313"/>
            <ac:inkMk id="49" creationId="{9FCCEDD4-07B3-41A5-A1D4-891E6E1632DD}"/>
          </ac:inkMkLst>
        </pc:inkChg>
        <pc:inkChg chg="add mod">
          <ac:chgData name="Aniket Chhabra" userId="598e0514-bef3-4e71-b6aa-f2edd6441cff" providerId="ADAL" clId="{D80CB0E3-8ED4-4E1B-83B0-CBE117AF958E}" dt="2022-03-12T09:43:30.724" v="1092"/>
          <ac:inkMkLst>
            <pc:docMk/>
            <pc:sldMk cId="3909501186" sldId="313"/>
            <ac:inkMk id="50" creationId="{B4BAD6CA-4693-406B-9EFA-72144F5F941A}"/>
          </ac:inkMkLst>
        </pc:inkChg>
        <pc:inkChg chg="add mod">
          <ac:chgData name="Aniket Chhabra" userId="598e0514-bef3-4e71-b6aa-f2edd6441cff" providerId="ADAL" clId="{D80CB0E3-8ED4-4E1B-83B0-CBE117AF958E}" dt="2022-03-12T09:43:30.724" v="1092"/>
          <ac:inkMkLst>
            <pc:docMk/>
            <pc:sldMk cId="3909501186" sldId="313"/>
            <ac:inkMk id="51" creationId="{22D12EE3-7BA7-4F9D-8B53-A37B84674BB8}"/>
          </ac:inkMkLst>
        </pc:inkChg>
        <pc:inkChg chg="add mod">
          <ac:chgData name="Aniket Chhabra" userId="598e0514-bef3-4e71-b6aa-f2edd6441cff" providerId="ADAL" clId="{D80CB0E3-8ED4-4E1B-83B0-CBE117AF958E}" dt="2022-03-12T09:43:30.724" v="1092"/>
          <ac:inkMkLst>
            <pc:docMk/>
            <pc:sldMk cId="3909501186" sldId="313"/>
            <ac:inkMk id="52" creationId="{F2B9F485-A225-489B-BE3F-84607A20C5B8}"/>
          </ac:inkMkLst>
        </pc:inkChg>
      </pc:sldChg>
      <pc:sldChg chg="addSp modSp add mod">
        <pc:chgData name="Aniket Chhabra" userId="598e0514-bef3-4e71-b6aa-f2edd6441cff" providerId="ADAL" clId="{D80CB0E3-8ED4-4E1B-83B0-CBE117AF958E}" dt="2022-03-12T09:44:10.432" v="1134"/>
        <pc:sldMkLst>
          <pc:docMk/>
          <pc:sldMk cId="901262222" sldId="314"/>
        </pc:sldMkLst>
        <pc:spChg chg="mod">
          <ac:chgData name="Aniket Chhabra" userId="598e0514-bef3-4e71-b6aa-f2edd6441cff" providerId="ADAL" clId="{D80CB0E3-8ED4-4E1B-83B0-CBE117AF958E}" dt="2022-03-12T09:42:33.456" v="1035" actId="20577"/>
          <ac:spMkLst>
            <pc:docMk/>
            <pc:sldMk cId="901262222" sldId="314"/>
            <ac:spMk id="2" creationId="{8630A558-2BC1-40DC-8D5F-DBE39ACC15C2}"/>
          </ac:spMkLst>
        </pc:spChg>
        <pc:grpChg chg="mod">
          <ac:chgData name="Aniket Chhabra" userId="598e0514-bef3-4e71-b6aa-f2edd6441cff" providerId="ADAL" clId="{D80CB0E3-8ED4-4E1B-83B0-CBE117AF958E}" dt="2022-03-12T09:44:06.484" v="1126"/>
          <ac:grpSpMkLst>
            <pc:docMk/>
            <pc:sldMk cId="901262222" sldId="314"/>
            <ac:grpSpMk id="37" creationId="{8EE7C03C-E959-4D67-BB0B-12A6F5037301}"/>
          </ac:grpSpMkLst>
        </pc:grpChg>
        <pc:grpChg chg="mod">
          <ac:chgData name="Aniket Chhabra" userId="598e0514-bef3-4e71-b6aa-f2edd6441cff" providerId="ADAL" clId="{D80CB0E3-8ED4-4E1B-83B0-CBE117AF958E}" dt="2022-03-12T09:44:06.484" v="1126"/>
          <ac:grpSpMkLst>
            <pc:docMk/>
            <pc:sldMk cId="901262222" sldId="314"/>
            <ac:grpSpMk id="38" creationId="{820EC213-2C9A-45A1-9DCB-DF30C5B5D9EB}"/>
          </ac:grpSpMkLst>
        </pc:grpChg>
        <pc:grpChg chg="mod">
          <ac:chgData name="Aniket Chhabra" userId="598e0514-bef3-4e71-b6aa-f2edd6441cff" providerId="ADAL" clId="{D80CB0E3-8ED4-4E1B-83B0-CBE117AF958E}" dt="2022-03-12T09:44:06.484" v="1126"/>
          <ac:grpSpMkLst>
            <pc:docMk/>
            <pc:sldMk cId="901262222" sldId="314"/>
            <ac:grpSpMk id="39" creationId="{2BCE2DD0-B9A6-406B-BDB8-A592642AD192}"/>
          </ac:grpSpMkLst>
        </pc:grpChg>
        <pc:grpChg chg="mod">
          <ac:chgData name="Aniket Chhabra" userId="598e0514-bef3-4e71-b6aa-f2edd6441cff" providerId="ADAL" clId="{D80CB0E3-8ED4-4E1B-83B0-CBE117AF958E}" dt="2022-03-12T09:44:10.432" v="1134"/>
          <ac:grpSpMkLst>
            <pc:docMk/>
            <pc:sldMk cId="901262222" sldId="314"/>
            <ac:grpSpMk id="47" creationId="{36369D4F-BB24-4ABE-8027-13A253153517}"/>
          </ac:grpSpMkLst>
        </pc:grp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3" creationId="{856292DB-8319-4CF5-91C5-A1428458033D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5" creationId="{30D4D7C1-3B7D-4ED6-B81F-434CD9A39EDA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6" creationId="{2FDF5D93-EF58-417F-B49C-43345F6B371E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7" creationId="{0507DD52-F847-4621-B58D-D438807DD42D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8" creationId="{8C97F335-8D2F-445B-A8DB-EA50F1039949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9" creationId="{7B02374A-0615-4BC6-8B4B-A8B92A9DBB55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10" creationId="{63A8C0B4-5DFA-4908-834C-6467F4D54F03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11" creationId="{5021BD15-5724-463B-B1C8-09B468D4A174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12" creationId="{A2FF294D-7CF3-4B3D-AEC2-5ED6F5F37CFA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13" creationId="{53E38B9D-A683-40CC-8146-32838C6B7234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14" creationId="{5AC13BC2-6DEB-4FB8-A6B4-3A2FBEBD0C4E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15" creationId="{49B7E219-1C32-47FA-ACBA-A2E3FCE03C56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16" creationId="{E2EA04F9-CE02-4112-90ED-2E9B521C580E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17" creationId="{62C1D0EA-9406-409C-8BD3-C7B309C72FED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18" creationId="{25BCED88-6B93-4E08-8502-910CA7BC5D04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19" creationId="{94DAB3CA-D27B-4B07-A081-FF2D5BC7B956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20" creationId="{B40A276A-B558-46FA-87B0-3403B21919BA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21" creationId="{B17D7DF0-4BD0-4529-8C45-6762A2EE3FDE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22" creationId="{526AE71C-B092-4093-8B73-ECB43CEC3719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23" creationId="{46E23C54-AAA1-4773-9DEB-3315BB54486F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24" creationId="{01545B25-C14B-46AF-A0D2-AAC31E358C59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25" creationId="{F73F531E-55D8-42DB-8C55-18D245719521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26" creationId="{C68B949B-8452-4048-94AA-4047F8772C3B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27" creationId="{2AEC81D9-B318-4F63-AB51-C1E8C183D2C6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28" creationId="{750633A0-1C86-40DE-B328-24CDFFA70A2A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29" creationId="{1A7C4699-1F62-4366-BD44-D23B58E7195B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30" creationId="{565D1A10-3FB2-4F6F-AD68-44D2E83E2F2D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31" creationId="{DE5C3C8A-08A8-4A13-8352-554321845F46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32" creationId="{88679A18-7B17-49F4-ADF9-5C818D0A39C3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33" creationId="{89F4E960-4FD3-4E39-AF23-1BC5F121EA56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34" creationId="{0876EEE4-7D11-425C-B47B-9D98211039BB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35" creationId="{E1DD0C27-5AB3-4F9F-964C-4427B9631AA9}"/>
          </ac:inkMkLst>
        </pc:inkChg>
        <pc:inkChg chg="add mod">
          <ac:chgData name="Aniket Chhabra" userId="598e0514-bef3-4e71-b6aa-f2edd6441cff" providerId="ADAL" clId="{D80CB0E3-8ED4-4E1B-83B0-CBE117AF958E}" dt="2022-03-12T09:44:06.484" v="1126"/>
          <ac:inkMkLst>
            <pc:docMk/>
            <pc:sldMk cId="901262222" sldId="314"/>
            <ac:inkMk id="36" creationId="{75AD8D77-B789-411B-8DC6-6B6C5C7EE4FF}"/>
          </ac:inkMkLst>
        </pc:inkChg>
        <pc:inkChg chg="add mod">
          <ac:chgData name="Aniket Chhabra" userId="598e0514-bef3-4e71-b6aa-f2edd6441cff" providerId="ADAL" clId="{D80CB0E3-8ED4-4E1B-83B0-CBE117AF958E}" dt="2022-03-12T09:44:10.432" v="1134"/>
          <ac:inkMkLst>
            <pc:docMk/>
            <pc:sldMk cId="901262222" sldId="314"/>
            <ac:inkMk id="40" creationId="{D701B659-27C1-4ADD-BCC4-5355C8E2FD6A}"/>
          </ac:inkMkLst>
        </pc:inkChg>
        <pc:inkChg chg="add mod">
          <ac:chgData name="Aniket Chhabra" userId="598e0514-bef3-4e71-b6aa-f2edd6441cff" providerId="ADAL" clId="{D80CB0E3-8ED4-4E1B-83B0-CBE117AF958E}" dt="2022-03-12T09:44:10.432" v="1134"/>
          <ac:inkMkLst>
            <pc:docMk/>
            <pc:sldMk cId="901262222" sldId="314"/>
            <ac:inkMk id="41" creationId="{CF92B410-9E7B-4051-A7DD-8287B8FE107E}"/>
          </ac:inkMkLst>
        </pc:inkChg>
        <pc:inkChg chg="add mod">
          <ac:chgData name="Aniket Chhabra" userId="598e0514-bef3-4e71-b6aa-f2edd6441cff" providerId="ADAL" clId="{D80CB0E3-8ED4-4E1B-83B0-CBE117AF958E}" dt="2022-03-12T09:44:10.432" v="1134"/>
          <ac:inkMkLst>
            <pc:docMk/>
            <pc:sldMk cId="901262222" sldId="314"/>
            <ac:inkMk id="42" creationId="{D40604FB-7BD5-4147-9056-52C1856E1412}"/>
          </ac:inkMkLst>
        </pc:inkChg>
        <pc:inkChg chg="add mod">
          <ac:chgData name="Aniket Chhabra" userId="598e0514-bef3-4e71-b6aa-f2edd6441cff" providerId="ADAL" clId="{D80CB0E3-8ED4-4E1B-83B0-CBE117AF958E}" dt="2022-03-12T09:44:10.432" v="1134"/>
          <ac:inkMkLst>
            <pc:docMk/>
            <pc:sldMk cId="901262222" sldId="314"/>
            <ac:inkMk id="43" creationId="{40442313-CC7E-488F-AD0D-E3A9084558FC}"/>
          </ac:inkMkLst>
        </pc:inkChg>
        <pc:inkChg chg="add mod">
          <ac:chgData name="Aniket Chhabra" userId="598e0514-bef3-4e71-b6aa-f2edd6441cff" providerId="ADAL" clId="{D80CB0E3-8ED4-4E1B-83B0-CBE117AF958E}" dt="2022-03-12T09:44:10.432" v="1134"/>
          <ac:inkMkLst>
            <pc:docMk/>
            <pc:sldMk cId="901262222" sldId="314"/>
            <ac:inkMk id="44" creationId="{579A6907-A81D-4B31-B371-17065F9182DE}"/>
          </ac:inkMkLst>
        </pc:inkChg>
        <pc:inkChg chg="add mod">
          <ac:chgData name="Aniket Chhabra" userId="598e0514-bef3-4e71-b6aa-f2edd6441cff" providerId="ADAL" clId="{D80CB0E3-8ED4-4E1B-83B0-CBE117AF958E}" dt="2022-03-12T09:44:10.432" v="1134"/>
          <ac:inkMkLst>
            <pc:docMk/>
            <pc:sldMk cId="901262222" sldId="314"/>
            <ac:inkMk id="45" creationId="{6EA7F54E-1E99-49EC-922A-911FF797E86D}"/>
          </ac:inkMkLst>
        </pc:inkChg>
        <pc:inkChg chg="add">
          <ac:chgData name="Aniket Chhabra" userId="598e0514-bef3-4e71-b6aa-f2edd6441cff" providerId="ADAL" clId="{D80CB0E3-8ED4-4E1B-83B0-CBE117AF958E}" dt="2022-03-12T09:44:09.750" v="1133" actId="9405"/>
          <ac:inkMkLst>
            <pc:docMk/>
            <pc:sldMk cId="901262222" sldId="314"/>
            <ac:inkMk id="46" creationId="{03BE6C46-F4F6-4960-98E3-66DD0BC86E02}"/>
          </ac:inkMkLst>
        </pc:inkChg>
      </pc:sldChg>
      <pc:sldChg chg="addSp delSp modSp new add mod">
        <pc:chgData name="Aniket Chhabra" userId="598e0514-bef3-4e71-b6aa-f2edd6441cff" providerId="ADAL" clId="{D80CB0E3-8ED4-4E1B-83B0-CBE117AF958E}" dt="2022-03-12T10:47:44.240" v="1670"/>
        <pc:sldMkLst>
          <pc:docMk/>
          <pc:sldMk cId="2883320444" sldId="315"/>
        </pc:sldMkLst>
        <pc:spChg chg="del">
          <ac:chgData name="Aniket Chhabra" userId="598e0514-bef3-4e71-b6aa-f2edd6441cff" providerId="ADAL" clId="{D80CB0E3-8ED4-4E1B-83B0-CBE117AF958E}" dt="2022-03-12T10:46:47.189" v="1592" actId="478"/>
          <ac:spMkLst>
            <pc:docMk/>
            <pc:sldMk cId="2883320444" sldId="315"/>
            <ac:spMk id="2" creationId="{C453E2DD-95A4-4330-A4FD-EF62490F52D6}"/>
          </ac:spMkLst>
        </pc:spChg>
        <pc:spChg chg="del">
          <ac:chgData name="Aniket Chhabra" userId="598e0514-bef3-4e71-b6aa-f2edd6441cff" providerId="ADAL" clId="{D80CB0E3-8ED4-4E1B-83B0-CBE117AF958E}" dt="2022-03-12T10:46:47.189" v="1592" actId="478"/>
          <ac:spMkLst>
            <pc:docMk/>
            <pc:sldMk cId="2883320444" sldId="315"/>
            <ac:spMk id="3" creationId="{902093A5-42FF-40C6-A10D-FA25B3E5E380}"/>
          </ac:spMkLst>
        </pc:spChg>
        <pc:grpChg chg="mod">
          <ac:chgData name="Aniket Chhabra" userId="598e0514-bef3-4e71-b6aa-f2edd6441cff" providerId="ADAL" clId="{D80CB0E3-8ED4-4E1B-83B0-CBE117AF958E}" dt="2022-03-12T10:47:15.377" v="1630"/>
          <ac:grpSpMkLst>
            <pc:docMk/>
            <pc:sldMk cId="2883320444" sldId="315"/>
            <ac:grpSpMk id="17" creationId="{9164D179-7F50-4EFD-8C37-DFBEB1F0D9B8}"/>
          </ac:grpSpMkLst>
        </pc:grpChg>
        <pc:grpChg chg="mod">
          <ac:chgData name="Aniket Chhabra" userId="598e0514-bef3-4e71-b6aa-f2edd6441cff" providerId="ADAL" clId="{D80CB0E3-8ED4-4E1B-83B0-CBE117AF958E}" dt="2022-03-12T10:47:18.582" v="1637"/>
          <ac:grpSpMkLst>
            <pc:docMk/>
            <pc:sldMk cId="2883320444" sldId="315"/>
            <ac:grpSpMk id="24" creationId="{9998743C-39D6-437C-9C51-50B24D79EAA8}"/>
          </ac:grpSpMkLst>
        </pc:grpChg>
        <pc:grpChg chg="mod">
          <ac:chgData name="Aniket Chhabra" userId="598e0514-bef3-4e71-b6aa-f2edd6441cff" providerId="ADAL" clId="{D80CB0E3-8ED4-4E1B-83B0-CBE117AF958E}" dt="2022-03-12T10:47:18.582" v="1637"/>
          <ac:grpSpMkLst>
            <pc:docMk/>
            <pc:sldMk cId="2883320444" sldId="315"/>
            <ac:grpSpMk id="25" creationId="{19ABF825-F0FB-4B7D-8370-484AA0E422B9}"/>
          </ac:grpSpMkLst>
        </pc:grpChg>
        <pc:grpChg chg="mod">
          <ac:chgData name="Aniket Chhabra" userId="598e0514-bef3-4e71-b6aa-f2edd6441cff" providerId="ADAL" clId="{D80CB0E3-8ED4-4E1B-83B0-CBE117AF958E}" dt="2022-03-12T10:47:44.240" v="1670"/>
          <ac:grpSpMkLst>
            <pc:docMk/>
            <pc:sldMk cId="2883320444" sldId="315"/>
            <ac:grpSpMk id="56" creationId="{B904C74B-0361-4E22-AD0E-D93E7CA383FD}"/>
          </ac:grpSpMkLst>
        </pc:grpChg>
        <pc:graphicFrameChg chg="add mod ord modVis replST">
          <ac:chgData name="Aniket Chhabra" userId="598e0514-bef3-4e71-b6aa-f2edd6441cff" providerId="ADAL" clId="{D80CB0E3-8ED4-4E1B-83B0-CBE117AF958E}" dt="2022-03-12T10:46:48.037" v="1611"/>
          <ac:graphicFrameMkLst>
            <pc:docMk/>
            <pc:sldMk cId="2883320444" sldId="315"/>
            <ac:graphicFrameMk id="6" creationId="{7F89674A-F3BC-4A24-834E-7C4812AD565F}"/>
          </ac:graphicFrameMkLst>
        </pc:graphicFrameChg>
        <pc:picChg chg="add">
          <ac:chgData name="Aniket Chhabra" userId="598e0514-bef3-4e71-b6aa-f2edd6441cff" providerId="ADAL" clId="{D80CB0E3-8ED4-4E1B-83B0-CBE117AF958E}" dt="2022-03-12T10:46:47.681" v="1594"/>
          <ac:picMkLst>
            <pc:docMk/>
            <pc:sldMk cId="2883320444" sldId="315"/>
            <ac:picMk id="5" creationId="{90200655-0C02-4873-A2D3-A42A1DE62738}"/>
          </ac:picMkLst>
        </pc:picChg>
        <pc:inkChg chg="add del">
          <ac:chgData name="Aniket Chhabra" userId="598e0514-bef3-4e71-b6aa-f2edd6441cff" providerId="ADAL" clId="{D80CB0E3-8ED4-4E1B-83B0-CBE117AF958E}" dt="2022-03-12T10:46:57.920" v="1616"/>
          <ac:inkMkLst>
            <pc:docMk/>
            <pc:sldMk cId="2883320444" sldId="315"/>
            <ac:inkMk id="7" creationId="{CA72F6F9-C9F9-47E4-805D-B3BD0D79F5F8}"/>
          </ac:inkMkLst>
        </pc:inkChg>
        <pc:inkChg chg="add del">
          <ac:chgData name="Aniket Chhabra" userId="598e0514-bef3-4e71-b6aa-f2edd6441cff" providerId="ADAL" clId="{D80CB0E3-8ED4-4E1B-83B0-CBE117AF958E}" dt="2022-03-12T10:46:57.922" v="1617"/>
          <ac:inkMkLst>
            <pc:docMk/>
            <pc:sldMk cId="2883320444" sldId="315"/>
            <ac:inkMk id="8" creationId="{2CE284C3-CCD6-4056-87B1-80D74639551B}"/>
          </ac:inkMkLst>
        </pc:inkChg>
        <pc:inkChg chg="add del">
          <ac:chgData name="Aniket Chhabra" userId="598e0514-bef3-4e71-b6aa-f2edd6441cff" providerId="ADAL" clId="{D80CB0E3-8ED4-4E1B-83B0-CBE117AF958E}" dt="2022-03-12T10:46:57.923" v="1618"/>
          <ac:inkMkLst>
            <pc:docMk/>
            <pc:sldMk cId="2883320444" sldId="315"/>
            <ac:inkMk id="9" creationId="{BE12E3A8-3DB7-4B74-A5BF-4552DF62AF00}"/>
          </ac:inkMkLst>
        </pc:inkChg>
        <pc:inkChg chg="add del">
          <ac:chgData name="Aniket Chhabra" userId="598e0514-bef3-4e71-b6aa-f2edd6441cff" providerId="ADAL" clId="{D80CB0E3-8ED4-4E1B-83B0-CBE117AF958E}" dt="2022-03-12T10:47:12.552" v="1624"/>
          <ac:inkMkLst>
            <pc:docMk/>
            <pc:sldMk cId="2883320444" sldId="315"/>
            <ac:inkMk id="10" creationId="{5A9B3E92-EB9E-4A0F-A6A5-9499D4D4FB26}"/>
          </ac:inkMkLst>
        </pc:inkChg>
        <pc:inkChg chg="add del">
          <ac:chgData name="Aniket Chhabra" userId="598e0514-bef3-4e71-b6aa-f2edd6441cff" providerId="ADAL" clId="{D80CB0E3-8ED4-4E1B-83B0-CBE117AF958E}" dt="2022-03-12T10:47:12.550" v="1623"/>
          <ac:inkMkLst>
            <pc:docMk/>
            <pc:sldMk cId="2883320444" sldId="315"/>
            <ac:inkMk id="11" creationId="{28BE8FBC-7FBD-4DF3-870D-715F796A2B75}"/>
          </ac:inkMkLst>
        </pc:inkChg>
        <pc:inkChg chg="add del">
          <ac:chgData name="Aniket Chhabra" userId="598e0514-bef3-4e71-b6aa-f2edd6441cff" providerId="ADAL" clId="{D80CB0E3-8ED4-4E1B-83B0-CBE117AF958E}" dt="2022-03-12T10:47:12.553" v="1625"/>
          <ac:inkMkLst>
            <pc:docMk/>
            <pc:sldMk cId="2883320444" sldId="315"/>
            <ac:inkMk id="12" creationId="{B3A380A4-F22A-4D0A-BA99-7F8E6B6CC9CB}"/>
          </ac:inkMkLst>
        </pc:inkChg>
        <pc:inkChg chg="add del mod">
          <ac:chgData name="Aniket Chhabra" userId="598e0514-bef3-4e71-b6aa-f2edd6441cff" providerId="ADAL" clId="{D80CB0E3-8ED4-4E1B-83B0-CBE117AF958E}" dt="2022-03-12T10:47:12.554" v="1626"/>
          <ac:inkMkLst>
            <pc:docMk/>
            <pc:sldMk cId="2883320444" sldId="315"/>
            <ac:inkMk id="13" creationId="{40AD34E4-C2E5-4336-B958-24E333F5F02C}"/>
          </ac:inkMkLst>
        </pc:inkChg>
        <pc:inkChg chg="add mod">
          <ac:chgData name="Aniket Chhabra" userId="598e0514-bef3-4e71-b6aa-f2edd6441cff" providerId="ADAL" clId="{D80CB0E3-8ED4-4E1B-83B0-CBE117AF958E}" dt="2022-03-12T10:47:15.377" v="1630"/>
          <ac:inkMkLst>
            <pc:docMk/>
            <pc:sldMk cId="2883320444" sldId="315"/>
            <ac:inkMk id="14" creationId="{142503D5-07CF-4D5D-A3AE-BA2B535314EB}"/>
          </ac:inkMkLst>
        </pc:inkChg>
        <pc:inkChg chg="add mod">
          <ac:chgData name="Aniket Chhabra" userId="598e0514-bef3-4e71-b6aa-f2edd6441cff" providerId="ADAL" clId="{D80CB0E3-8ED4-4E1B-83B0-CBE117AF958E}" dt="2022-03-12T10:47:15.377" v="1630"/>
          <ac:inkMkLst>
            <pc:docMk/>
            <pc:sldMk cId="2883320444" sldId="315"/>
            <ac:inkMk id="15" creationId="{56F60B2A-F449-44EE-80A0-2C3C56534869}"/>
          </ac:inkMkLst>
        </pc:inkChg>
        <pc:inkChg chg="add mod">
          <ac:chgData name="Aniket Chhabra" userId="598e0514-bef3-4e71-b6aa-f2edd6441cff" providerId="ADAL" clId="{D80CB0E3-8ED4-4E1B-83B0-CBE117AF958E}" dt="2022-03-12T10:47:15.377" v="1630"/>
          <ac:inkMkLst>
            <pc:docMk/>
            <pc:sldMk cId="2883320444" sldId="315"/>
            <ac:inkMk id="16" creationId="{82D90018-4847-40F0-850C-61FC27C5FC31}"/>
          </ac:inkMkLst>
        </pc:inkChg>
        <pc:inkChg chg="add mod">
          <ac:chgData name="Aniket Chhabra" userId="598e0514-bef3-4e71-b6aa-f2edd6441cff" providerId="ADAL" clId="{D80CB0E3-8ED4-4E1B-83B0-CBE117AF958E}" dt="2022-03-12T10:47:18.582" v="1637"/>
          <ac:inkMkLst>
            <pc:docMk/>
            <pc:sldMk cId="2883320444" sldId="315"/>
            <ac:inkMk id="18" creationId="{2E318A07-8066-407D-A642-99CEBE5885E8}"/>
          </ac:inkMkLst>
        </pc:inkChg>
        <pc:inkChg chg="add mod">
          <ac:chgData name="Aniket Chhabra" userId="598e0514-bef3-4e71-b6aa-f2edd6441cff" providerId="ADAL" clId="{D80CB0E3-8ED4-4E1B-83B0-CBE117AF958E}" dt="2022-03-12T10:47:18.582" v="1637"/>
          <ac:inkMkLst>
            <pc:docMk/>
            <pc:sldMk cId="2883320444" sldId="315"/>
            <ac:inkMk id="19" creationId="{151E14F0-2AD6-4713-ADB3-492569ED47F2}"/>
          </ac:inkMkLst>
        </pc:inkChg>
        <pc:inkChg chg="add mod">
          <ac:chgData name="Aniket Chhabra" userId="598e0514-bef3-4e71-b6aa-f2edd6441cff" providerId="ADAL" clId="{D80CB0E3-8ED4-4E1B-83B0-CBE117AF958E}" dt="2022-03-12T10:47:18.582" v="1637"/>
          <ac:inkMkLst>
            <pc:docMk/>
            <pc:sldMk cId="2883320444" sldId="315"/>
            <ac:inkMk id="20" creationId="{3FAEDE52-8CD0-49A6-BA1A-F36F592F9544}"/>
          </ac:inkMkLst>
        </pc:inkChg>
        <pc:inkChg chg="add mod">
          <ac:chgData name="Aniket Chhabra" userId="598e0514-bef3-4e71-b6aa-f2edd6441cff" providerId="ADAL" clId="{D80CB0E3-8ED4-4E1B-83B0-CBE117AF958E}" dt="2022-03-12T10:47:18.582" v="1637"/>
          <ac:inkMkLst>
            <pc:docMk/>
            <pc:sldMk cId="2883320444" sldId="315"/>
            <ac:inkMk id="21" creationId="{61060038-7AC3-4F55-90E1-71BFAF4DE56A}"/>
          </ac:inkMkLst>
        </pc:inkChg>
        <pc:inkChg chg="add mod">
          <ac:chgData name="Aniket Chhabra" userId="598e0514-bef3-4e71-b6aa-f2edd6441cff" providerId="ADAL" clId="{D80CB0E3-8ED4-4E1B-83B0-CBE117AF958E}" dt="2022-03-12T10:47:18.582" v="1637"/>
          <ac:inkMkLst>
            <pc:docMk/>
            <pc:sldMk cId="2883320444" sldId="315"/>
            <ac:inkMk id="22" creationId="{A8F667F1-BEBC-4DE1-AAE7-6B1182910436}"/>
          </ac:inkMkLst>
        </pc:inkChg>
        <pc:inkChg chg="add mod">
          <ac:chgData name="Aniket Chhabra" userId="598e0514-bef3-4e71-b6aa-f2edd6441cff" providerId="ADAL" clId="{D80CB0E3-8ED4-4E1B-83B0-CBE117AF958E}" dt="2022-03-12T10:47:18.582" v="1637"/>
          <ac:inkMkLst>
            <pc:docMk/>
            <pc:sldMk cId="2883320444" sldId="315"/>
            <ac:inkMk id="23" creationId="{DB4B51DC-4699-4F80-84A4-1F0F0406C408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26" creationId="{3A32ACD9-2B76-4663-BA15-2E0A5F06C99F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27" creationId="{9A6B25BF-AE13-4564-A4A9-BE2837B9D733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28" creationId="{56FB4135-D7EA-440F-8DA9-079F36BBEEB5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29" creationId="{928CCB9E-C1C6-4F75-BB0F-E3529DB7D6F7}"/>
          </ac:inkMkLst>
        </pc:inkChg>
        <pc:inkChg chg="add del">
          <ac:chgData name="Aniket Chhabra" userId="598e0514-bef3-4e71-b6aa-f2edd6441cff" providerId="ADAL" clId="{D80CB0E3-8ED4-4E1B-83B0-CBE117AF958E}" dt="2022-03-12T10:47:30.953" v="1645"/>
          <ac:inkMkLst>
            <pc:docMk/>
            <pc:sldMk cId="2883320444" sldId="315"/>
            <ac:inkMk id="30" creationId="{DF3258D4-6792-49FF-A7D4-9F01FCAE4BD9}"/>
          </ac:inkMkLst>
        </pc:inkChg>
        <pc:inkChg chg="add del">
          <ac:chgData name="Aniket Chhabra" userId="598e0514-bef3-4e71-b6aa-f2edd6441cff" providerId="ADAL" clId="{D80CB0E3-8ED4-4E1B-83B0-CBE117AF958E}" dt="2022-03-12T10:47:30.951" v="1644"/>
          <ac:inkMkLst>
            <pc:docMk/>
            <pc:sldMk cId="2883320444" sldId="315"/>
            <ac:inkMk id="31" creationId="{670632A8-06A5-4075-A35D-5A2E11F3A6E1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32" creationId="{9200FBCC-E7EF-4EA2-B0D9-6117BF093EFA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33" creationId="{84AF0158-F779-4CE3-AA45-4F2B506A63C5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34" creationId="{AC54B102-3D39-42BC-ADD9-531CB254F4E2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35" creationId="{3809F404-92A1-4FBB-813A-116C4B19406B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36" creationId="{C02F8BCE-B319-4210-8701-CC36D1B26424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37" creationId="{D6C883B3-26FB-43F2-B9D8-A4418D842394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38" creationId="{0E5C991E-C785-4B4D-BD9B-42FDD4792516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39" creationId="{A4FDF0B5-7D2C-4F98-B240-A35E0FBD8F1B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40" creationId="{A598139E-1383-4EE2-A2BD-E43A75AC7E52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41" creationId="{C1CA2145-1FA3-4CA6-983A-176087CBB553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42" creationId="{D2757915-61B7-43B2-A257-6644DFEA4526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43" creationId="{EC4B555E-C634-48CD-9134-4D0466FE7689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44" creationId="{0D4B9E3A-FF54-4CAC-A078-B08B5F55153B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45" creationId="{95D61892-B923-4C7E-A9CE-5947F83FC357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46" creationId="{D37B7572-A101-4C0A-B9ED-2EECB0E26370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47" creationId="{18D0C475-BF2E-4647-81D0-6A740A4DD748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48" creationId="{BEAAC99A-00B8-4CF7-9BD1-7B65EBAABCCF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49" creationId="{A4649E08-1814-46E3-9505-BCDCF9B99071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50" creationId="{F23827C6-D76F-428C-9644-C4C42C9AE2BD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51" creationId="{7D3FB768-708D-4627-8683-528E7E6EB91B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52" creationId="{0CF759D2-4C06-477A-B2A0-2DF313316B59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53" creationId="{8EFA6F08-1831-4A8B-86A7-C574E81C1859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54" creationId="{E722C004-B581-4528-B133-923C14D2F548}"/>
          </ac:inkMkLst>
        </pc:inkChg>
        <pc:inkChg chg="add mod">
          <ac:chgData name="Aniket Chhabra" userId="598e0514-bef3-4e71-b6aa-f2edd6441cff" providerId="ADAL" clId="{D80CB0E3-8ED4-4E1B-83B0-CBE117AF958E}" dt="2022-03-12T10:47:44.240" v="1670"/>
          <ac:inkMkLst>
            <pc:docMk/>
            <pc:sldMk cId="2883320444" sldId="315"/>
            <ac:inkMk id="55" creationId="{AC851C9F-28B0-4406-933D-9F31A77A04BC}"/>
          </ac:inkMkLst>
        </pc:inkChg>
      </pc:sldChg>
      <pc:sldChg chg="modSp add mod">
        <pc:chgData name="Aniket Chhabra" userId="598e0514-bef3-4e71-b6aa-f2edd6441cff" providerId="ADAL" clId="{D80CB0E3-8ED4-4E1B-83B0-CBE117AF958E}" dt="2022-03-12T10:57:25.727" v="1704" actId="1076"/>
        <pc:sldMkLst>
          <pc:docMk/>
          <pc:sldMk cId="836758476" sldId="316"/>
        </pc:sldMkLst>
        <pc:spChg chg="mod">
          <ac:chgData name="Aniket Chhabra" userId="598e0514-bef3-4e71-b6aa-f2edd6441cff" providerId="ADAL" clId="{D80CB0E3-8ED4-4E1B-83B0-CBE117AF958E}" dt="2022-03-12T10:57:25.727" v="1704" actId="1076"/>
          <ac:spMkLst>
            <pc:docMk/>
            <pc:sldMk cId="836758476" sldId="316"/>
            <ac:spMk id="2" creationId="{8630A558-2BC1-40DC-8D5F-DBE39ACC15C2}"/>
          </ac:spMkLst>
        </pc:spChg>
      </pc:sldChg>
      <pc:sldChg chg="addSp delSp modSp new add mod">
        <pc:chgData name="Aniket Chhabra" userId="598e0514-bef3-4e71-b6aa-f2edd6441cff" providerId="ADAL" clId="{D80CB0E3-8ED4-4E1B-83B0-CBE117AF958E}" dt="2022-03-12T10:58:19.381" v="1735"/>
        <pc:sldMkLst>
          <pc:docMk/>
          <pc:sldMk cId="3493057028" sldId="317"/>
        </pc:sldMkLst>
        <pc:spChg chg="del">
          <ac:chgData name="Aniket Chhabra" userId="598e0514-bef3-4e71-b6aa-f2edd6441cff" providerId="ADAL" clId="{D80CB0E3-8ED4-4E1B-83B0-CBE117AF958E}" dt="2022-03-12T10:58:09.631" v="1707" actId="478"/>
          <ac:spMkLst>
            <pc:docMk/>
            <pc:sldMk cId="3493057028" sldId="317"/>
            <ac:spMk id="2" creationId="{1E59D0FA-CF43-4174-9FDD-9B2F479FA8FE}"/>
          </ac:spMkLst>
        </pc:spChg>
        <pc:spChg chg="del">
          <ac:chgData name="Aniket Chhabra" userId="598e0514-bef3-4e71-b6aa-f2edd6441cff" providerId="ADAL" clId="{D80CB0E3-8ED4-4E1B-83B0-CBE117AF958E}" dt="2022-03-12T10:58:09.631" v="1707" actId="478"/>
          <ac:spMkLst>
            <pc:docMk/>
            <pc:sldMk cId="3493057028" sldId="317"/>
            <ac:spMk id="3" creationId="{0DED14FF-E8E4-4FA0-81CC-C7BC95B1E518}"/>
          </ac:spMkLst>
        </pc:spChg>
        <pc:grpChg chg="mod">
          <ac:chgData name="Aniket Chhabra" userId="598e0514-bef3-4e71-b6aa-f2edd6441cff" providerId="ADAL" clId="{D80CB0E3-8ED4-4E1B-83B0-CBE117AF958E}" dt="2022-03-12T10:58:19.381" v="1735"/>
          <ac:grpSpMkLst>
            <pc:docMk/>
            <pc:sldMk cId="3493057028" sldId="317"/>
            <ac:grpSpMk id="15" creationId="{C4CBE07E-8B97-4D94-A2AF-ABEB8DA5D0AD}"/>
          </ac:grpSpMkLst>
        </pc:grpChg>
        <pc:graphicFrameChg chg="add mod ord modVis replST">
          <ac:chgData name="Aniket Chhabra" userId="598e0514-bef3-4e71-b6aa-f2edd6441cff" providerId="ADAL" clId="{D80CB0E3-8ED4-4E1B-83B0-CBE117AF958E}" dt="2022-03-12T10:58:10.282" v="1726"/>
          <ac:graphicFrameMkLst>
            <pc:docMk/>
            <pc:sldMk cId="3493057028" sldId="317"/>
            <ac:graphicFrameMk id="6" creationId="{4E1B9DA5-BEF9-4632-B413-A9DB8D66B65F}"/>
          </ac:graphicFrameMkLst>
        </pc:graphicFrameChg>
        <pc:picChg chg="add">
          <ac:chgData name="Aniket Chhabra" userId="598e0514-bef3-4e71-b6aa-f2edd6441cff" providerId="ADAL" clId="{D80CB0E3-8ED4-4E1B-83B0-CBE117AF958E}" dt="2022-03-12T10:58:10.214" v="1709"/>
          <ac:picMkLst>
            <pc:docMk/>
            <pc:sldMk cId="3493057028" sldId="317"/>
            <ac:picMk id="5" creationId="{3B122649-A7CE-49D7-B071-E5A99057AF64}"/>
          </ac:picMkLst>
        </pc:picChg>
        <pc:inkChg chg="add mod">
          <ac:chgData name="Aniket Chhabra" userId="598e0514-bef3-4e71-b6aa-f2edd6441cff" providerId="ADAL" clId="{D80CB0E3-8ED4-4E1B-83B0-CBE117AF958E}" dt="2022-03-12T10:58:19.381" v="1735"/>
          <ac:inkMkLst>
            <pc:docMk/>
            <pc:sldMk cId="3493057028" sldId="317"/>
            <ac:inkMk id="7" creationId="{07CD4228-29AD-4CD3-B4C3-C28147561D7B}"/>
          </ac:inkMkLst>
        </pc:inkChg>
        <pc:inkChg chg="add mod">
          <ac:chgData name="Aniket Chhabra" userId="598e0514-bef3-4e71-b6aa-f2edd6441cff" providerId="ADAL" clId="{D80CB0E3-8ED4-4E1B-83B0-CBE117AF958E}" dt="2022-03-12T10:58:19.381" v="1735"/>
          <ac:inkMkLst>
            <pc:docMk/>
            <pc:sldMk cId="3493057028" sldId="317"/>
            <ac:inkMk id="8" creationId="{AC86D2A6-D502-4991-B72E-34D03A0E5B15}"/>
          </ac:inkMkLst>
        </pc:inkChg>
        <pc:inkChg chg="add mod">
          <ac:chgData name="Aniket Chhabra" userId="598e0514-bef3-4e71-b6aa-f2edd6441cff" providerId="ADAL" clId="{D80CB0E3-8ED4-4E1B-83B0-CBE117AF958E}" dt="2022-03-12T10:58:19.381" v="1735"/>
          <ac:inkMkLst>
            <pc:docMk/>
            <pc:sldMk cId="3493057028" sldId="317"/>
            <ac:inkMk id="9" creationId="{30B91EDA-DDCD-417F-88A6-785B168E33B0}"/>
          </ac:inkMkLst>
        </pc:inkChg>
        <pc:inkChg chg="add mod">
          <ac:chgData name="Aniket Chhabra" userId="598e0514-bef3-4e71-b6aa-f2edd6441cff" providerId="ADAL" clId="{D80CB0E3-8ED4-4E1B-83B0-CBE117AF958E}" dt="2022-03-12T10:58:19.381" v="1735"/>
          <ac:inkMkLst>
            <pc:docMk/>
            <pc:sldMk cId="3493057028" sldId="317"/>
            <ac:inkMk id="10" creationId="{3927B1D3-F30B-484B-AA59-EEFD2C91BD82}"/>
          </ac:inkMkLst>
        </pc:inkChg>
        <pc:inkChg chg="add mod">
          <ac:chgData name="Aniket Chhabra" userId="598e0514-bef3-4e71-b6aa-f2edd6441cff" providerId="ADAL" clId="{D80CB0E3-8ED4-4E1B-83B0-CBE117AF958E}" dt="2022-03-12T10:58:19.381" v="1735"/>
          <ac:inkMkLst>
            <pc:docMk/>
            <pc:sldMk cId="3493057028" sldId="317"/>
            <ac:inkMk id="11" creationId="{0A96A0D1-6C65-4733-B51D-955503DFB29F}"/>
          </ac:inkMkLst>
        </pc:inkChg>
        <pc:inkChg chg="add mod">
          <ac:chgData name="Aniket Chhabra" userId="598e0514-bef3-4e71-b6aa-f2edd6441cff" providerId="ADAL" clId="{D80CB0E3-8ED4-4E1B-83B0-CBE117AF958E}" dt="2022-03-12T10:58:19.381" v="1735"/>
          <ac:inkMkLst>
            <pc:docMk/>
            <pc:sldMk cId="3493057028" sldId="317"/>
            <ac:inkMk id="12" creationId="{62519990-C221-481E-87C5-34B6CDD05848}"/>
          </ac:inkMkLst>
        </pc:inkChg>
        <pc:inkChg chg="add mod">
          <ac:chgData name="Aniket Chhabra" userId="598e0514-bef3-4e71-b6aa-f2edd6441cff" providerId="ADAL" clId="{D80CB0E3-8ED4-4E1B-83B0-CBE117AF958E}" dt="2022-03-12T10:58:19.381" v="1735"/>
          <ac:inkMkLst>
            <pc:docMk/>
            <pc:sldMk cId="3493057028" sldId="317"/>
            <ac:inkMk id="13" creationId="{BB113BE4-2B14-429C-99C3-D843816C4AD6}"/>
          </ac:inkMkLst>
        </pc:inkChg>
        <pc:inkChg chg="add mod">
          <ac:chgData name="Aniket Chhabra" userId="598e0514-bef3-4e71-b6aa-f2edd6441cff" providerId="ADAL" clId="{D80CB0E3-8ED4-4E1B-83B0-CBE117AF958E}" dt="2022-03-12T10:58:19.381" v="1735"/>
          <ac:inkMkLst>
            <pc:docMk/>
            <pc:sldMk cId="3493057028" sldId="317"/>
            <ac:inkMk id="14" creationId="{1D049B4B-04FD-4D84-8732-1AEFCF837B74}"/>
          </ac:inkMkLst>
        </pc:inkChg>
      </pc:sldChg>
      <pc:sldChg chg="new add del">
        <pc:chgData name="Aniket Chhabra" userId="598e0514-bef3-4e71-b6aa-f2edd6441cff" providerId="ADAL" clId="{D80CB0E3-8ED4-4E1B-83B0-CBE117AF958E}" dt="2022-03-13T17:01:15.531" v="1800" actId="2696"/>
        <pc:sldMkLst>
          <pc:docMk/>
          <pc:sldMk cId="1301417100" sldId="318"/>
        </pc:sldMkLst>
      </pc:sldChg>
    </pc:docChg>
  </pc:docChgLst>
  <pc:docChgLst>
    <pc:chgData name="Aniket Chhabra" userId="598e0514-bef3-4e71-b6aa-f2edd6441cff" providerId="ADAL" clId="{2151D5A2-5DD9-1943-A523-5668CDC5CC8F}"/>
    <pc:docChg chg="modSld">
      <pc:chgData name="Aniket Chhabra" userId="598e0514-bef3-4e71-b6aa-f2edd6441cff" providerId="ADAL" clId="{2151D5A2-5DD9-1943-A523-5668CDC5CC8F}" dt="2022-11-13T05:35:34.249" v="0" actId="1036"/>
      <pc:docMkLst>
        <pc:docMk/>
      </pc:docMkLst>
      <pc:sldChg chg="modSp mod">
        <pc:chgData name="Aniket Chhabra" userId="598e0514-bef3-4e71-b6aa-f2edd6441cff" providerId="ADAL" clId="{2151D5A2-5DD9-1943-A523-5668CDC5CC8F}" dt="2022-11-13T05:35:34.249" v="0" actId="1036"/>
        <pc:sldMkLst>
          <pc:docMk/>
          <pc:sldMk cId="3296123333" sldId="270"/>
        </pc:sldMkLst>
        <pc:picChg chg="mod">
          <ac:chgData name="Aniket Chhabra" userId="598e0514-bef3-4e71-b6aa-f2edd6441cff" providerId="ADAL" clId="{2151D5A2-5DD9-1943-A523-5668CDC5CC8F}" dt="2022-11-13T05:35:34.249" v="0" actId="1036"/>
          <ac:picMkLst>
            <pc:docMk/>
            <pc:sldMk cId="3296123333" sldId="270"/>
            <ac:picMk id="3" creationId="{63560538-3396-47FB-8FB6-5E183BD76918}"/>
          </ac:picMkLst>
        </pc:pic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0.0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 57 1740 0 0,'-28'-56'6932'0'0,"27"56"-6885"0"0,1 0-1 0 0,-1 0 1 0 0,1 1 0 0 0,-1-1 0 0 0,1 1-1 0 0,-1-1 1 0 0,1 1 0 0 0,-1-1-1 0 0,1 0 1 0 0,0 1 0 0 0,-1-1-1 0 0,1 1 1 0 0,0-1 0 0 0,0 1-1 0 0,-1 0 1 0 0,1-1 0 0 0,0 1-1 0 0,0-1 1 0 0,0 1 0 0 0,0-1-1 0 0,0 1 1 0 0,0 0 0 0 0,0-1-1 0 0,0 1 1 0 0,-2 16 496 0 0,59 526 3945 0 0,-38-419-5034 0 0,15 94-6197 0 0,-30-206 3553 0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3.5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 0 1748 0 0,'-45'51'10897'0'0,"122"-51"-9631"0"0,149-2-4983 0 0,-153 2-1253 0 0,-53 0 2150 0 0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34.7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7 12 348 0 0,'-95'64'10415'0'0,"93"-62"-9923"0"0,5-2-163 0 0,22 0-111 0 0,-1 0 1 0 0,1-2-1 0 0,-1-1 1 0 0,36-8-1 0 0,4 0-70 0 0,203-37 3963 0 0,-265 47-4051 0 0,0 1-1 0 0,0-1 1 0 0,0 1 0 0 0,0 0-1 0 0,0 0 1 0 0,0 0 0 0 0,-1 0 0 0 0,1 0-1 0 0,0 0 1 0 0,0 0 0 0 0,0 1-1 0 0,3 0 1 0 0,-4-1-49 0 0,0 1 0 0 0,-1-1 0 0 0,1 1-1 0 0,0-1 1 0 0,-1 1 0 0 0,1 0 0 0 0,-1-1 0 0 0,1 1 0 0 0,-1 0 0 0 0,1-1-1 0 0,-1 1 1 0 0,0 0 0 0 0,1 0 0 0 0,-1-1 0 0 0,0 1 0 0 0,0 0 0 0 0,1 0-1 0 0,-1 0 1 0 0,0-1 0 0 0,0 1 0 0 0,0 0 0 0 0,0 0 0 0 0,0 0 0 0 0,0 0-1 0 0,0-1 1 0 0,0 1 0 0 0,-1 2 0 0 0,0 10 123 0 0,0 1 1 0 0,1 0-1 0 0,0 0 0 0 0,1 0 1 0 0,1-1-1 0 0,0 1 0 0 0,1 0 1 0 0,7 21-1 0 0,-9-31-107 0 0,1 0 1 0 0,0 0-1 0 0,0 0 1 0 0,0 0-1 0 0,0 0 0 0 0,0-1 1 0 0,1 1-1 0 0,0-1 1 0 0,0 1-1 0 0,0-1 0 0 0,0 0 1 0 0,0 0-1 0 0,0-1 1 0 0,1 1-1 0 0,0 0 0 0 0,-1-1 1 0 0,1 0-1 0 0,0 0 0 0 0,0 0 1 0 0,0-1-1 0 0,0 1 1 0 0,0-1-1 0 0,1 0 0 0 0,-1 0 1 0 0,0 0-1 0 0,1-1 1 0 0,-1 0-1 0 0,0 1 0 0 0,1-2 1 0 0,-1 1-1 0 0,8-2 1 0 0,-1 0-210 0 0,1 0 1 0 0,-1-1 0 0 0,-1-1-1 0 0,1 0 1 0 0,-1-1 0 0 0,19-10 0 0 0,55-44-820 0 0,-57 38 588 0 0,32-18 1 0 0,-58 38 404 0 0,0 0 0 0 0,1 1-1 0 0,-1-1 1 0 0,0 0 0 0 0,1 1 0 0 0,-1-1-1 0 0,0 1 1 0 0,1 0 0 0 0,-1 0-1 0 0,1-1 1 0 0,-1 1 0 0 0,1 0 0 0 0,-1 0-1 0 0,1 0 1 0 0,-1 0 0 0 0,1 1-1 0 0,-1-1 1 0 0,0 0 0 0 0,1 1 0 0 0,-1-1-1 0 0,1 1 1 0 0,-1-1 0 0 0,0 1-1 0 0,1-1 1 0 0,-1 1 0 0 0,0 0 0 0 0,0 0-1 0 0,0 0 1 0 0,1 0 0 0 0,-1 0-1 0 0,0 0 1 0 0,0 0 0 0 0,0 0 0 0 0,-1 0-1 0 0,1 0 1 0 0,0 0 0 0 0,0 1-1 0 0,1 1 1 0 0,1 5 65 0 0,1 0 1 0 0,-1 0-1 0 0,0 0 0 0 0,-1 0 1 0 0,3 15-1 0 0,2 19 159 0 0,-2 0 0 0 0,-1 1 0 0 0,-3-1 0 0 0,-4 46 0 0 0,1-58-73 0 0,-3-1 0 0 0,0 0 0 0 0,-1 0 0 0 0,-2 0 0 0 0,-1-1 0 0 0,-22 47 0 0 0,22-59-30 0 0,0-1 1 0 0,-1 0 0 0 0,0 0-1 0 0,-1-1 1 0 0,-1 0 0 0 0,0-1-1 0 0,-20 16 1 0 0,23-22-7 0 0,1 0-1 0 0,-1-1 1 0 0,0 0-1 0 0,0-1 1 0 0,-1 0 0 0 0,0 0-1 0 0,0-1 1 0 0,0 0-1 0 0,0-1 1 0 0,-1 0 0 0 0,1-1-1 0 0,-1 0 1 0 0,-18 1-1 0 0,22-3-14 0 0,-1-1-1 0 0,1 0 1 0 0,-1 0-1 0 0,1 0 0 0 0,0-1 1 0 0,0 0-1 0 0,-1 0 1 0 0,1-1-1 0 0,1 0 0 0 0,-1 0 1 0 0,0-1-1 0 0,-8-6 1 0 0,6 4-43 0 0,1-1 0 0 0,0 0 0 0 0,1-1 0 0 0,0 0 0 0 0,0 0 0 0 0,0-1 0 0 0,1 0 0 0 0,-5-9 0 0 0,3 1-199 0 0,0 0 0 0 0,1 0-1 0 0,1-1 1 0 0,0 0 0 0 0,1 0 0 0 0,2 0-1 0 0,-1 0 1 0 0,2-1 0 0 0,0-31 0 0 0,3 31-466 0 0,0 1 0 0 0,2-1 1 0 0,0 1-1 0 0,1-1 0 0 0,1 1 0 0 0,1 1 1 0 0,9-24-1 0 0,-8 29-660 0 0,-1-1-1 0 0,2 1 1 0 0,-1 0-1 0 0,2 1 0 0 0,0-1 1 0 0,11-10-1 0 0,5 1-4094 0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46.3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6 1084 0 0,'9'-105'9986'0'0,"-2"127"-8772"0"0,0 0-785 0 0,12 278 1288 0 0,-1-12-1781 0 0,8-112-3718 0 0,-21-141 1463 0 0,-2-25-243 0 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46.9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8 175 408 0 0,'-105'-57'5995'0'0,"102"56"-5745"0"0,4 0-222 0 0,-1 0 1 0 0,0 0-1 0 0,1 1 0 0 0,-1-1 0 0 0,0 0 0 0 0,1 0 1 0 0,-1 1-1 0 0,1-1 0 0 0,-1 0 0 0 0,1 1 0 0 0,-1-1 1 0 0,1 0-1 0 0,0 1 0 0 0,-1-1 0 0 0,1 1 0 0 0,0-1 0 0 0,-1 1 1 0 0,1 0-1 0 0,0-1 0 0 0,0 1 0 0 0,-1-1 0 0 0,1 1 1 0 0,1 0-1 0 0,21-7 333 0 0,-20 7-339 0 0,75-15 778 0 0,115-8 1 0 0,-110 16-557 0 0,368-33 1111 0 0,-339 30 364 0 0,-110 9-1614 0 0,3 1-68 0 0,-2 0-32 0 0,0 1 1 0 0,0-1 0 0 0,0 0-1 0 0,0 1 1 0 0,0 0 0 0 0,0 0-1 0 0,0 0 1 0 0,0 0-1 0 0,0 0 1 0 0,0 1 0 0 0,0-1-1 0 0,-1 1 1 0 0,1 0 0 0 0,-1-1-1 0 0,1 1 1 0 0,-1 0-1 0 0,1 1 1 0 0,-1-1 0 0 0,0 0-1 0 0,3 6 1 0 0,17 30 153 0 0,-1 1 0 0 0,-2 0 0 0 0,24 76 0 0 0,-25-65-50 0 0,2 7 121 0 0,-3 1-1 0 0,18 109 0 0 0,-21-64 2896 0 0,-14-103-3088 0 0,0 0 0 0 0,0 0 0 0 0,1 0 0 0 0,-1 1 0 0 0,0-1 0 0 0,0 0 0 0 0,0 0 0 0 0,0 1 1 0 0,0-1-1 0 0,0 0 0 0 0,0 1 0 0 0,0-1 0 0 0,0 0 0 0 0,0 0 0 0 0,0 1 0 0 0,0-1 0 0 0,0 0 0 0 0,0 0 1 0 0,0 1-1 0 0,0-1 0 0 0,0 0 0 0 0,0 1 0 0 0,0-1 0 0 0,0 0 0 0 0,-1 0 0 0 0,1 1 0 0 0,0-1 0 0 0,0 0 1 0 0,0 0-1 0 0,0 0 0 0 0,0 1 0 0 0,-1-1 0 0 0,1 0 0 0 0,0 0 0 0 0,0 0 0 0 0,-1 1 0 0 0,1-1 0 0 0,0 0 1 0 0,0 0-1 0 0,0 0 0 0 0,-1 0 0 0 0,1 0 0 0 0,0 0 0 0 0,-1 0 0 0 0,1 0 0 0 0,0 1 0 0 0,0-1 1 0 0,-1 0-1 0 0,1 0 0 0 0,0 0 0 0 0,0 0 0 0 0,-1 0 0 0 0,1 0 0 0 0,0 0 0 0 0,-1-1 0 0 0,1 1 0 0 0,0 0 1 0 0,-1 0-1 0 0,0 0-1 0 0,0-1 0 0 0,0 1 0 0 0,0-1 0 0 0,0 1 0 0 0,0-1 0 0 0,0 1 0 0 0,0-1 0 0 0,1 1 0 0 0,-1-1 0 0 0,0 0 0 0 0,0 0 0 0 0,0 1 0 0 0,1-1 0 0 0,-2-1 0 0 0,0-5-10 0 0,-1 0 0 0 0,1 1 0 0 0,1-1 0 0 0,-1 0 0 0 0,1 0 0 0 0,0 0 0 0 0,1-1 0 0 0,-1 1 0 0 0,1 0 0 0 0,1 0 0 0 0,0 0 0 0 0,0 0 0 0 0,0 0 0 0 0,0 0 0 0 0,5-11 0 0 0,2-4-90 0 0,1 1 0 0 0,1-1 0 0 0,18-29 0 0 0,-23 45 37 0 0,-1-1-1 0 0,1 1 1 0 0,0 0-1 0 0,0 0 0 0 0,1 1 1 0 0,0-1-1 0 0,0 1 1 0 0,0 0-1 0 0,1 1 1 0 0,0 0-1 0 0,-1 0 1 0 0,1 0-1 0 0,1 1 1 0 0,-1 0-1 0 0,12-3 0 0 0,-15 5 17 0 0,1 0-1 0 0,-1 1 0 0 0,0 0 0 0 0,1 0 0 0 0,-1 1 1 0 0,0-1-1 0 0,1 1 0 0 0,-1 0 0 0 0,0 0 0 0 0,0 0 1 0 0,0 0-1 0 0,0 1 0 0 0,0 0 0 0 0,0 0 0 0 0,0 0 0 0 0,6 5 1 0 0,0 0 17 0 0,0 1 1 0 0,0 0 0 0 0,-1 1 0 0 0,11 13 0 0 0,1 4-729 0 0,-2 2 1 0 0,33 58-1 0 0,-8 16-6103 0 0,-32-86 2170 0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47.3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5 199 288 0 0,'0'0'2288'0'0,"4"-1"-1242"0"0,9 0-306 0 0,0-2-1 0 0,0 0 1 0 0,0 0 0 0 0,0-1 0 0 0,-1-1 0 0 0,0 0 0 0 0,14-8 0 0 0,-19 9-649 0 0,-1 1 0 0 0,0-1 1 0 0,-1 0-1 0 0,1 0 1 0 0,-1 0-1 0 0,0-1 0 0 0,0 0 1 0 0,0 0-1 0 0,0 0 1 0 0,-1-1-1 0 0,0 1 0 0 0,0-1 1 0 0,-1 0-1 0 0,0 0 1 0 0,0-1-1 0 0,3-6 0 0 0,-6 10-47 0 0,1-1-1 0 0,0 1 1 0 0,-1-1-1 0 0,0 1 1 0 0,0-1-1 0 0,0 1 1 0 0,0-1-1 0 0,-1 1 1 0 0,-1-7-1 0 0,2 8-14 0 0,-1 1 0 0 0,1-1 0 0 0,-1 1 0 0 0,0-1 0 0 0,1 1 0 0 0,-1-1 1 0 0,0 1-1 0 0,0 0 0 0 0,0 0 0 0 0,0-1 0 0 0,0 1 0 0 0,0 0 0 0 0,0 0 0 0 0,-1 0 0 0 0,1 0 0 0 0,0 0 0 0 0,0 0 0 0 0,-1 1 0 0 0,1-1 1 0 0,-1 0-1 0 0,1 1 0 0 0,-1-1 0 0 0,1 1 0 0 0,-1-1 0 0 0,1 1 0 0 0,-1 0 0 0 0,-2-1 0 0 0,-6 2 126 0 0,-1-1-1 0 0,1 1 1 0 0,0 1-1 0 0,0 0 1 0 0,-1 0 0 0 0,1 1-1 0 0,1 0 1 0 0,-1 1-1 0 0,0 0 1 0 0,1 1 0 0 0,0 0-1 0 0,0 0 1 0 0,0 1-1 0 0,1 0 1 0 0,0 1 0 0 0,-10 9-1 0 0,13-11-87 0 0,0 1 0 0 0,0-1-1 0 0,0 1 1 0 0,1 0 0 0 0,0 1 0 0 0,1-1-1 0 0,-1 0 1 0 0,1 1 0 0 0,0 0 0 0 0,-3 13 0 0 0,5-15-44 0 0,0 1 1 0 0,1-1 0 0 0,-1 1-1 0 0,1 0 1 0 0,0-1 0 0 0,1 1-1 0 0,-1-1 1 0 0,1 1 0 0 0,0-1 0 0 0,1 1-1 0 0,-1-1 1 0 0,1 1 0 0 0,0-1-1 0 0,0 0 1 0 0,5 8 0 0 0,-1-5-119 0 0,0 0 0 0 0,1 0 0 0 0,0-1 0 0 0,0 1 0 0 0,0-2 0 0 0,1 1 0 0 0,0-1 0 0 0,1 0-1 0 0,-1 0 1 0 0,1-1 0 0 0,0-1 0 0 0,16 7 0 0 0,-7-4-760 0 0,0-1 1 0 0,0-1-1 0 0,1-1 0 0 0,-1 0 0 0 0,39 1 0 0 0,20-8-3401 0 0,-34-1 1196 0 0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47.8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2 57 112 0 0,'-2'-3'685'0'0,"-2"-3"95"0"0,0 0 0 0 0,-1 0 0 0 0,0 0 1 0 0,-6-6-1 0 0,8 10-601 0 0,1 0 0 0 0,0 1 0 0 0,-1-1 0 0 0,1 1 0 0 0,-1-1 0 0 0,1 1 1 0 0,-1 0-1 0 0,0 0 0 0 0,1 0 0 0 0,-1 0 0 0 0,0 0 0 0 0,0 1 0 0 0,0-1 0 0 0,1 1 0 0 0,-1 0 1 0 0,-4 0-1 0 0,-4 2 33 0 0,1-1 0 0 0,-1 2 0 0 0,0 0 0 0 0,1 0 0 0 0,0 1 1 0 0,-1 0-1 0 0,2 1 0 0 0,-1 0 0 0 0,0 0 0 0 0,1 1 0 0 0,0 1 0 0 0,1-1 1 0 0,-10 10-1 0 0,11-10-135 0 0,1 0 1 0 0,0 0 0 0 0,0 1-1 0 0,1 0 1 0 0,0 0 0 0 0,0 0-1 0 0,1 0 1 0 0,-1 1 0 0 0,2-1-1 0 0,-1 1 1 0 0,1 0 0 0 0,0 1-1 0 0,1-1 1 0 0,0 0 0 0 0,0 1-1 0 0,1-1 1 0 0,0 1 0 0 0,0 9-1 0 0,1-15-58 0 0,0 0-1 0 0,0 0 0 0 0,1 0 1 0 0,-1 0-1 0 0,1 0 0 0 0,-1 0 1 0 0,1 0-1 0 0,0 0 0 0 0,0 0 1 0 0,1 0-1 0 0,-1 0 0 0 0,0-1 0 0 0,1 1 1 0 0,0-1-1 0 0,-1 1 0 0 0,1-1 1 0 0,0 1-1 0 0,0-1 0 0 0,1 0 1 0 0,-1 0-1 0 0,0 0 0 0 0,1 0 1 0 0,-1-1-1 0 0,1 1 0 0 0,-1 0 0 0 0,1-1 1 0 0,0 0-1 0 0,0 0 0 0 0,0 0 1 0 0,0 0-1 0 0,0 0 0 0 0,0-1 1 0 0,0 1-1 0 0,0-1 0 0 0,0 0 1 0 0,0 1-1 0 0,0-1 0 0 0,4-1 1 0 0,12-2 15 0 0,-1-1 0 0 0,21-8 0 0 0,-23 7-113 0 0,34-7 0 0 0,-46 12 74 0 0,1 0 0 0 0,0 0 1 0 0,0 0-1 0 0,-1 0 1 0 0,1 1-1 0 0,0 0 1 0 0,-1 0-1 0 0,1 0 1 0 0,-1 1-1 0 0,1-1 1 0 0,-1 1-1 0 0,0 0 1 0 0,0 1-1 0 0,1-1 0 0 0,-1 1 1 0 0,-1-1-1 0 0,1 1 1 0 0,0 0-1 0 0,-1 1 1 0 0,0-1-1 0 0,1 1 1 0 0,-1-1-1 0 0,-1 1 1 0 0,1 0-1 0 0,0 0 1 0 0,1 5-1 0 0,4 5 10 0 0,-1 0-1 0 0,-1 1 1 0 0,-1 0 0 0 0,0 0 0 0 0,-1 0-1 0 0,3 22 1 0 0,-4-12 136 0 0,-1 0-1 0 0,-1 0 0 0 0,-1 0 1 0 0,-1 0-1 0 0,-1 0 1 0 0,-2 0-1 0 0,0 0 1 0 0,-2-1-1 0 0,-11 32 1 0 0,12-42 130 0 0,0 0 1 0 0,-2 1 0 0 0,0-2-1 0 0,0 1 1 0 0,-1-1 0 0 0,-1 0 0 0 0,0-1-1 0 0,-1 0 1 0 0,0-1 0 0 0,-1 0 0 0 0,0 0-1 0 0,-1-1 1 0 0,0-1 0 0 0,0 0 0 0 0,-1 0-1 0 0,-19 9 1 0 0,24-15-82 0 0,0 0 0 0 0,-1 0 1 0 0,1 0-1 0 0,-1-1 0 0 0,1-1 0 0 0,-1 1 1 0 0,0-1-1 0 0,0-1 0 0 0,-9 0 0 0 0,12 0-131 0 0,1-1 0 0 0,-1 0-1 0 0,0 0 1 0 0,1 0 0 0 0,-1-1-1 0 0,1 0 1 0 0,-1 0 0 0 0,1 0-1 0 0,0-1 1 0 0,0 0 0 0 0,0 0-1 0 0,0 0 1 0 0,0 0 0 0 0,-7-8-1 0 0,4 3-273 0 0,1-1-1 0 0,0 0 0 0 0,0 0 1 0 0,1 0-1 0 0,0-1 0 0 0,0 0 0 0 0,1 0 1 0 0,1-1-1 0 0,0 1 0 0 0,0-1 1 0 0,1 0-1 0 0,0 0 0 0 0,1 0 1 0 0,0-1-1 0 0,1 1 0 0 0,0 0 1 0 0,1-1-1 0 0,2-20 0 0 0,0 17-413 0 0,1 1 0 0 0,0 0 1 0 0,1 0-1 0 0,0 0 0 0 0,1 1 0 0 0,1-1 0 0 0,0 1 0 0 0,1 0 0 0 0,0 1 0 0 0,1 0 1 0 0,0 0-1 0 0,1 0 0 0 0,1 1 0 0 0,15-15 0 0 0,4 3-1887 0 0,2-1-596 0 0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48.2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9 43 1188 0 0,'62'-31'8086'0'0,"-65"31"-7928"0"0,-1 1 0 0 0,1-1 0 0 0,-1 1 0 0 0,1 0 0 0 0,0 0 0 0 0,-1 0 0 0 0,1 1 0 0 0,0-1 0 0 0,0 1 0 0 0,0 0 0 0 0,0 0 0 0 0,-4 3 0 0 0,-33 31 623 0 0,29-25-592 0 0,7-6-138 0 0,-1-1 0 0 0,1 1 0 0 0,1 0 0 0 0,-1 0 0 0 0,1 0 1 0 0,0 1-1 0 0,0-1 0 0 0,0 1 0 0 0,1 0 0 0 0,-1-1 0 0 0,2 1 0 0 0,-3 11 0 0 0,3-14-26 0 0,1 0 0 0 0,0 0 0 0 0,0-1 1 0 0,0 1-1 0 0,0 0 0 0 0,1 0 1 0 0,-1-1-1 0 0,1 1 0 0 0,-1 0 0 0 0,1-1 1 0 0,0 1-1 0 0,0 0 0 0 0,0-1 0 0 0,0 1 1 0 0,1-1-1 0 0,-1 1 0 0 0,1-1 1 0 0,0 0-1 0 0,-1 0 0 0 0,1 0 0 0 0,0 0 1 0 0,0 0-1 0 0,0 0 0 0 0,0 0 1 0 0,1-1-1 0 0,-1 1 0 0 0,0-1 0 0 0,1 1 1 0 0,-1-1-1 0 0,4 1 0 0 0,2 1 9 0 0,-1-1 0 0 0,0 0 0 0 0,1-1 0 0 0,-1 0 0 0 0,1 0 0 0 0,-1 0 0 0 0,1-1 0 0 0,-1 0 0 0 0,1 0 0 0 0,-1-1 0 0 0,1 0 0 0 0,-1-1 0 0 0,1 1 0 0 0,-1-1 0 0 0,0-1 0 0 0,0 0 0 0 0,0 0 0 0 0,0 0 0 0 0,11-7 0 0 0,-14 7-21 0 0,1 0 0 0 0,-1 0 0 0 0,0 0 0 0 0,0-1 0 0 0,-1 1 0 0 0,1-1 0 0 0,-1 0-1 0 0,1 0 1 0 0,-1 0 0 0 0,0 0 0 0 0,-1-1 0 0 0,1 1 0 0 0,-1-1 0 0 0,0 0 0 0 0,0 1 0 0 0,0-1-1 0 0,-1 0 1 0 0,0 0 0 0 0,0 0 0 0 0,0 0 0 0 0,0 0 0 0 0,-1-1 0 0 0,0 1 0 0 0,0 0 0 0 0,0 0-1 0 0,-1 0 1 0 0,0 0 0 0 0,0 0 0 0 0,-2-7 0 0 0,1 7-50 0 0,0 1 0 0 0,0 0 0 0 0,0 0 0 0 0,-1 0 0 0 0,1 0 0 0 0,-1 1 0 0 0,0-1 0 0 0,0 1-1 0 0,0 0 1 0 0,-1-1 0 0 0,1 1 0 0 0,-1 1 0 0 0,0-1 0 0 0,0 1 0 0 0,0-1 0 0 0,0 1 0 0 0,0 0 0 0 0,0 0 0 0 0,0 1 0 0 0,-1-1 0 0 0,1 1 0 0 0,-1 0 0 0 0,-7 0 0 0 0,2-1-322 0 0,0 1 0 0 0,1 1 0 0 0,-1 0 1 0 0,0 0-1 0 0,0 1 0 0 0,0 0 1 0 0,1 1-1 0 0,-1 0 0 0 0,0 0 1 0 0,-10 5-1 0 0,16-5-144 0 0,1 0 0 0 0,-1 1 0 0 0,0-1 1 0 0,1 1-1 0 0,-1-1 0 0 0,-2 4 0 0 0,2-2-795 0 0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48.5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6 80 424 0 0,'5'-2'592'0'0,"0"-1"1"0"0,1 0-1 0 0,-1 0 0 0 0,0 0 1 0 0,0-1-1 0 0,0 1 0 0 0,-1-1 0 0 0,1 0 1 0 0,-1-1-1 0 0,4-4 0 0 0,-8 8-505 0 0,1 0-1 0 0,-1 0 0 0 0,1 0 1 0 0,-1 0-1 0 0,0 0 0 0 0,0 0 1 0 0,1 0-1 0 0,-1 0 0 0 0,0 0 1 0 0,0 0-1 0 0,0 0 0 0 0,0 0 1 0 0,0 0-1 0 0,0 0 0 0 0,0 0 1 0 0,0 0-1 0 0,-1 0 0 0 0,1 0 1 0 0,0 0-1 0 0,-1 0 0 0 0,1 0 1 0 0,0 0-1 0 0,-1 0 0 0 0,1 0 1 0 0,-1 1-1 0 0,0-1 1 0 0,1 0-1 0 0,-1 0 0 0 0,0 0 1 0 0,1 1-1 0 0,-1-1 0 0 0,0 0 1 0 0,0 1-1 0 0,0-1 0 0 0,1 0 1 0 0,-1 1-1 0 0,0-1 0 0 0,0 1 1 0 0,0 0-1 0 0,0-1 0 0 0,0 1 1 0 0,0 0-1 0 0,0-1 0 0 0,0 1 1 0 0,0 0-1 0 0,0 0 0 0 0,0 0 1 0 0,0 0-1 0 0,0 0 0 0 0,0 0 1 0 0,-2 1-1 0 0,-8 2 44 0 0,-1 0 1 0 0,1 1-1 0 0,0 1 1 0 0,0 0-1 0 0,0 0 0 0 0,1 1 1 0 0,-1 0-1 0 0,2 1 0 0 0,-1 0 1 0 0,1 1-1 0 0,0 0 1 0 0,-10 12-1 0 0,11-12-91 0 0,1 1 0 0 0,0 0 0 0 0,0 1 0 0 0,1 0 0 0 0,0 0 0 0 0,1 0 0 0 0,0 1 0 0 0,0 0 0 0 0,1-1 0 0 0,1 2 0 0 0,0-1 0 0 0,0 0 1 0 0,-1 15-1 0 0,4-25-35 0 0,1 27 113 0 0,-1-27-104 0 0,1 1-1 0 0,-1-1 0 0 0,0 1 0 0 0,1-1 0 0 0,-1 0 0 0 0,1 1 0 0 0,0-1 0 0 0,-1 0 0 0 0,1 1 0 0 0,0-1 0 0 0,0 0 0 0 0,0 0 0 0 0,0 0 0 0 0,0 0 0 0 0,0 0 0 0 0,0 0 0 0 0,0 0 0 0 0,0 0 0 0 0,2 1 0 0 0,0-1 2 0 0,0 0-1 0 0,-1 0 0 0 0,1 0 0 0 0,0 0 1 0 0,-1 0-1 0 0,1-1 0 0 0,0 0 0 0 0,0 1 1 0 0,0-1-1 0 0,-1 0 0 0 0,1 0 0 0 0,0-1 1 0 0,0 1-1 0 0,0 0 0 0 0,-1-1 0 0 0,4-1 1 0 0,0 0 9 0 0,0 0 0 0 0,-1-1 0 0 0,1 0 0 0 0,-1 0 0 0 0,0-1 0 0 0,0 1 0 0 0,6-6 1 0 0,1-3 332 0 0,0 0 1 0 0,-1-1 0 0 0,0 0-1 0 0,15-27 1 0 0,-25 39-299 0 0,4-7 272 0 0,0 0 1 0 0,0 1-1 0 0,0-1 1 0 0,12-11-1 0 0,-15 18-161 0 0,3 7-145 0 0,-1 2 0 0 0,0-1-1 0 0,0 0 1 0 0,0 1 0 0 0,-1 0 0 0 0,0 0-1 0 0,0 0 1 0 0,-1 0 0 0 0,2 15-1 0 0,6 13-558 0 0,-5-17-125 0 0,3 7-753 0 0,17 38 1 0 0,-22-58 726 0 0,0 1 1 0 0,1-1 0 0 0,0 0 0 0 0,0 0 0 0 0,0-1 0 0 0,0 1 0 0 0,1-1 0 0 0,0 0 0 0 0,0 0-1 0 0,0-1 1 0 0,7 5 0 0 0,5 1-3012 0 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48.9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0 74 720 0 0,'-10'-73'11012'0'0,"-7"87"-8632"0"0,12-2-1937 0 0,2 0-1 0 0,-1 0 1 0 0,2 0 0 0 0,-1 1-1 0 0,0 13 1 0 0,1 65 453 0 0,2-83-814 0 0,6 224-59 0 0,10-78-6880 0 0,-12-133 3312 0 0,0-3-1418 0 0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49.3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6 7 2440 0 0,'-14'-7'8047'0'0,"12"9"-7903"0"0,-1 0 1 0 0,1 0-1 0 0,0-1 0 0 0,0 2 0 0 0,0-1 1 0 0,0 0-1 0 0,1 0 0 0 0,-1 1 1 0 0,0-1-1 0 0,1 1 0 0 0,0-1 0 0 0,-1 1 1 0 0,1-1-1 0 0,0 1 0 0 0,0 0 1 0 0,1 0-1 0 0,-2 5 0 0 0,-6 57 751 0 0,7-57-830 0 0,-3 167 113 0 0,14-60-5625 0 0,-7-102 2669 0 0,1-1-815 0 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49.6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4 47 260 0 0,'-7'-13'944'0'0,"3"1"-280"0"0,-3 4 272 0 0,-3-4-268 0 0,-6 11-916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4.7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 232 956 0 0,'-1'-2'1538'0'0,"-1"-1"-1682"0"0,-8-9 3878 0 0,10 12-3636 0 0,-1-1-1 0 0,1 1 1 0 0,-1 0 0 0 0,1 0-1 0 0,-1 0 1 0 0,1 0-1 0 0,-1 0 1 0 0,1 0-1 0 0,0 0 1 0 0,-1 0 0 0 0,1 0-1 0 0,-1 1 1 0 0,1-1-1 0 0,-1 0 1 0 0,1 0-1 0 0,-1 0 1 0 0,1 0 0 0 0,0 1-1 0 0,-1-1 1 0 0,1 0-1 0 0,-1 0 1 0 0,1 1-1 0 0,0-1 1 0 0,-1 0 0 0 0,1 1-1 0 0,0-1 1 0 0,-1 0-1 0 0,1 1 1 0 0,-1 0-1 0 0,1 0-49 0 0,-1-1-1 0 0,1 1 1 0 0,-1 0-1 0 0,1 0 0 0 0,0 0 1 0 0,-1 0-1 0 0,1 0 0 0 0,0 0 1 0 0,0 0-1 0 0,0 0 0 0 0,0 0 1 0 0,-1 0-1 0 0,1 0 0 0 0,1-1 1 0 0,-1 1-1 0 0,0 0 0 0 0,0 0 1 0 0,0 0-1 0 0,1 2 1 0 0,-1-1 94 0 0,11 223 4592 0 0,-9-206-4218 0 0,0 5 439 0 0,-2-3 2440 0 0,-4-24-3079 0 0,4 3-311 0 0,0 0 0 0 0,0 0-1 0 0,-1 0 1 0 0,1 0 0 0 0,0 0 0 0 0,0 0-1 0 0,-1 0 1 0 0,1 0 0 0 0,0 0 0 0 0,0 0-1 0 0,-1 0 1 0 0,1 0 0 0 0,0 0 0 0 0,0 0-1 0 0,-1-1 1 0 0,1 1 0 0 0,0 0 0 0 0,0 0-1 0 0,-1 0 1 0 0,1 0 0 0 0,0-1 0 0 0,0 1-1 0 0,0 0 1 0 0,0 0 0 0 0,-1 0 0 0 0,1-1-1 0 0,0 1 1 0 0,0 0 0 0 0,0 0 0 0 0,0-1-1 0 0,0 1 1 0 0,0 0 0 0 0,0 0 0 0 0,0-1-1 0 0,0 1 1 0 0,-1 0 0 0 0,1 0 0 0 0,0-1-1 0 0,0 1 1 0 0,1-1 0 0 0,0-14-83 0 0,1 1-1 0 0,0-1 1 0 0,2 0 0 0 0,-1 1-1 0 0,2-1 1 0 0,0 1 0 0 0,1 0 0 0 0,0 1-1 0 0,1-1 1 0 0,1 1 0 0 0,0 0-1 0 0,0 1 1 0 0,1 0 0 0 0,1 1 0 0 0,0 0-1 0 0,1 0 1 0 0,0 1 0 0 0,21-16-1 0 0,-26 23 58 0 0,-1 0-1 0 0,1 0 0 0 0,0 1 0 0 0,0-1 1 0 0,0 1-1 0 0,0 0 0 0 0,0 1 1 0 0,0 0-1 0 0,1 0 0 0 0,-1 0 0 0 0,0 0 1 0 0,1 1-1 0 0,-1 0 0 0 0,0 1 1 0 0,1-1-1 0 0,-1 1 0 0 0,0 1 0 0 0,0-1 1 0 0,1 1-1 0 0,8 4 0 0 0,-7-3 16 0 0,0 1 0 0 0,0 1 0 0 0,0-1 0 0 0,-1 1 0 0 0,1 1 0 0 0,-1-1 0 0 0,-1 1 0 0 0,1 0-1 0 0,-1 1 1 0 0,0 0 0 0 0,0 0 0 0 0,-1 0 0 0 0,9 16 0 0 0,22 53 1451 0 0,-35-74-1145 0 0,-4 6 168 0 0,-2-9-30 0 0,4 0-408 0 0,0 0 0 0 0,1 0 0 0 0,-1 0 0 0 0,0 0 0 0 0,1 0 1 0 0,-1-1-1 0 0,1 1 0 0 0,-1 0 0 0 0,1 0 0 0 0,-1 0 0 0 0,1-1 1 0 0,0 1-1 0 0,0 0 0 0 0,0-3 0 0 0,0-5-13 0 0,1-1 1 0 0,1 1-1 0 0,0 0 1 0 0,0 0-1 0 0,1 1 1 0 0,0-1-1 0 0,0 0 1 0 0,1 1-1 0 0,0 0 1 0 0,0 0-1 0 0,8-10 1 0 0,-9 13-49 0 0,1 0 1 0 0,-1 1 0 0 0,1 0 0 0 0,0 0 0 0 0,0 0 0 0 0,0 0 0 0 0,0 0-1 0 0,1 1 1 0 0,-1 0 0 0 0,1 0 0 0 0,0 0 0 0 0,0 1 0 0 0,0-1 0 0 0,0 1 0 0 0,1 0-1 0 0,-1 1 1 0 0,0-1 0 0 0,1 1 0 0 0,-1 0 0 0 0,1 1 0 0 0,8-1 0 0 0,-3 2-56 0 0,-1 1 0 0 0,0 0 0 0 0,0 0 0 0 0,1 1 0 0 0,-2 1 0 0 0,1-1 0 0 0,0 2 0 0 0,12 6 0 0 0,9 9-194 0 0,32 26-1 0 0,-42-30 150 0 0,1 0 0 0 0,0-1 0 0 0,48 23 0 0 0,-56-33 82 0 0,0-1 0 0 0,0 0 1 0 0,1-1-1 0 0,-1 0 0 0 0,1-2 1 0 0,0 1-1 0 0,-1-2 0 0 0,1 0 0 0 0,0-1 1 0 0,0 0-1 0 0,-1-1 0 0 0,1-1 1 0 0,-1 0-1 0 0,0-1 0 0 0,18-7 0 0 0,-20 6 1 0 0,0 0-1 0 0,0-1 0 0 0,-1-1 0 0 0,0 1 1 0 0,0-2-1 0 0,0 0 0 0 0,-1 0 0 0 0,0-1 0 0 0,-1 0 1 0 0,0 0-1 0 0,0-1 0 0 0,-1 0 0 0 0,-1-1 0 0 0,1 0 1 0 0,-2 0-1 0 0,1-1 0 0 0,6-18 0 0 0,-9 19 33 0 0,9-31 1 0 0,-13 40 14 0 0,1 0-1 0 0,-1 1 1 0 0,0-1-1 0 0,0 0 0 0 0,0 0 1 0 0,0 1-1 0 0,0-1 1 0 0,0 0-1 0 0,0 1 0 0 0,-1-1 1 0 0,1 0-1 0 0,-1 1 1 0 0,1-1-1 0 0,-1 0 0 0 0,0 1 1 0 0,1-1-1 0 0,-1 1 1 0 0,0-1-1 0 0,0 1 0 0 0,0-1 1 0 0,-1 0-1 0 0,0 0-2 0 0,0 1 0 0 0,0 0-1 0 0,0 0 1 0 0,1 0 0 0 0,-1 0 0 0 0,0 0-1 0 0,0 0 1 0 0,-1 1 0 0 0,1-1 0 0 0,0 1-1 0 0,0-1 1 0 0,0 1 0 0 0,0 0-1 0 0,0 0 1 0 0,-5 0 0 0 0,-31 7-28 0 0,28-3 23 0 0,0 0 0 0 0,0 1 0 0 0,1 0 0 0 0,-1 0-1 0 0,1 1 1 0 0,1 0 0 0 0,-1 1 0 0 0,1 0 0 0 0,-14 14 0 0 0,19-17 11 0 0,-1 1 0 0 0,1-1 0 0 0,0 1 0 0 0,0 0 1 0 0,0 0-1 0 0,1 0 0 0 0,0 0 0 0 0,0 0 0 0 0,-2 7 1 0 0,3-9 5 0 0,1 0 0 0 0,-1 0 1 0 0,1 1-1 0 0,0-1 1 0 0,0 0-1 0 0,0 0 0 0 0,0 0 1 0 0,1 0-1 0 0,0 1 0 0 0,-1-1 1 0 0,1 0-1 0 0,0 0 1 0 0,0 0-1 0 0,1 0 0 0 0,-1 0 1 0 0,0-1-1 0 0,3 4 1 0 0,-2-3-3 0 0,0-1 0 0 0,0 1 1 0 0,0 0-1 0 0,0-1 1 0 0,0 0-1 0 0,1 1 1 0 0,-1-1-1 0 0,1 0 1 0 0,0 0-1 0 0,0-1 1 0 0,-1 1-1 0 0,1-1 1 0 0,0 1-1 0 0,1-1 1 0 0,-1 0-1 0 0,0 0 0 0 0,0 0 1 0 0,0 0-1 0 0,1-1 1 0 0,-1 1-1 0 0,0-1 1 0 0,0 0-1 0 0,1 0 1 0 0,-1 0-1 0 0,0 0 1 0 0,1-1-1 0 0,-1 1 1 0 0,0-1-1 0 0,0 0 0 0 0,0 0 1 0 0,6-3-1 0 0,0 0-26 0 0,-1 0-1 0 0,1 0 1 0 0,-1-1-1 0 0,-1-1 1 0 0,1 1-1 0 0,-1-1 0 0 0,0 0 1 0 0,0-1-1 0 0,-1 0 1 0 0,7-8-1 0 0,23-32-357 0 0,-35 46 282 0 0,-1 12-81 0 0,0 0 147 0 0,1 0-1 0 0,0 0 1 0 0,1 0 0 0 0,0 0-1 0 0,1 0 1 0 0,7 18-1 0 0,-8-25 42 0 0,0 1-1 0 0,1-1 0 0 0,0 1 0 0 0,0-1 1 0 0,0 0-1 0 0,0 0 0 0 0,1-1 0 0 0,-1 1 0 0 0,1 0 1 0 0,0-1-1 0 0,0 0 0 0 0,0 0 0 0 0,1-1 1 0 0,-1 1-1 0 0,1-1 0 0 0,0 0 0 0 0,-1 0 0 0 0,1 0 1 0 0,6 1-1 0 0,-3-1-1 0 0,0-1 0 0 0,0 1-1 0 0,1-2 1 0 0,-1 1 0 0 0,0-1 0 0 0,0 0 0 0 0,1-1-1 0 0,-1 0 1 0 0,0 0 0 0 0,0-1 0 0 0,0 0 0 0 0,0 0 0 0 0,0-1-1 0 0,0 0 1 0 0,-1-1 0 0 0,1 1 0 0 0,-1-1 0 0 0,0-1 0 0 0,0 1-1 0 0,0-1 1 0 0,-1-1 0 0 0,0 1 0 0 0,0-1 0 0 0,0 0 0 0 0,-1 0-1 0 0,0-1 1 0 0,0 0 0 0 0,0 0 0 0 0,-1 0 0 0 0,0 0 0 0 0,0 0-1 0 0,2-11 1 0 0,3-10 152 0 0,-1-1 0 0 0,-2-1-1 0 0,5-52 1 0 0,5-26 191 0 0,-15 97-205 0 0,-5 17 7 0 0,-7 20 38 0 0,3 32-21 0 0,2 0 0 0 0,2 91 0 0 0,4-147-168 0 0,2 95-1107 0 0,0-75-373 0 0,0 0 1 0 0,8 31-1 0 0,-9-50 1007 0 0,0 1 0 0 0,1 0 1 0 0,-1-1-1 0 0,1 1 0 0 0,-1-1 1 0 0,1 1-1 0 0,0-1 0 0 0,1 0 0 0 0,-1 0 1 0 0,0 0-1 0 0,1 0 0 0 0,0 0 0 0 0,0 0 1 0 0,0-1-1 0 0,0 0 0 0 0,4 3 0 0 0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0.0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7 22 1456 0 0,'3'-1'1254'0'0,"13"-2"2781"0"0,-17 1-3277 0 0,0 0-661 0 0,0 1-1 0 0,0 0 1 0 0,0 0-1 0 0,0 0 1 0 0,0 0-1 0 0,0 0 1 0 0,0 0-1 0 0,0 0 0 0 0,0 1 1 0 0,-1-1-1 0 0,1 0 1 0 0,0 1-1 0 0,0-1 1 0 0,-1 1-1 0 0,1-1 1 0 0,0 1-1 0 0,-1-1 1 0 0,1 1-1 0 0,-1 0 0 0 0,-1 0 1 0 0,0 0-15 0 0,-1 0 0 0 0,1 0 0 0 0,0 0 0 0 0,-1 1 1 0 0,1 0-1 0 0,0 0 0 0 0,0 0 0 0 0,-7 2 0 0 0,7-1-61 0 0,-1 0-1 0 0,1-1 1 0 0,-1 1-1 0 0,1 1 1 0 0,0-1-1 0 0,-1 0 1 0 0,1 1-1 0 0,1 0 1 0 0,-1-1-1 0 0,0 1 1 0 0,0 0-1 0 0,1 1 1 0 0,0-1-1 0 0,0 0 1 0 0,0 1-1 0 0,-2 3 1 0 0,3 0-6 0 0,0-1 0 0 0,0 1 0 0 0,1-1 0 0 0,0 1 0 0 0,0-1-1 0 0,1 1 1 0 0,0 0 0 0 0,0-1 0 0 0,0 1 0 0 0,1-1 0 0 0,0 0 0 0 0,0 0 0 0 0,1 1 0 0 0,0-1 0 0 0,4 6 0 0 0,7 12 22 0 0,2-1 1 0 0,24 29 0 0 0,-14-19-24 0 0,-8-10 53 0 0,0 0 138 0 0,-1 1 1 0 0,-1 0 0 0 0,16 31 0 0 0,-32-54-180 0 0,1 0 0 0 0,-1-1 0 0 0,1 1 0 0 0,-1 0 0 0 0,0 0 0 0 0,1-1-1 0 0,-1 1 1 0 0,0 0 0 0 0,0 0 0 0 0,0 0 0 0 0,0-1 0 0 0,0 1 0 0 0,1 0 0 0 0,-1 0 0 0 0,-1 0 0 0 0,1-1 0 0 0,0 1-1 0 0,0 0 1 0 0,0 0 0 0 0,0 0 0 0 0,0-1 0 0 0,-1 1 0 0 0,1 0 0 0 0,0 0 0 0 0,-1-1 0 0 0,1 1 0 0 0,-1 0 0 0 0,1 0-1 0 0,-1-1 1 0 0,1 1 0 0 0,-1-1 0 0 0,1 1 0 0 0,-1 0 0 0 0,0-1 0 0 0,1 1 0 0 0,-1-1 0 0 0,0 1 0 0 0,1-1 0 0 0,-1 0-1 0 0,0 1 1 0 0,0-1 0 0 0,1 0 0 0 0,-1 0 0 0 0,0 1 0 0 0,0-1 0 0 0,1 0 0 0 0,-1 0 0 0 0,0 0 0 0 0,-1 0 0 0 0,-1 1-4 0 0,0-1 0 0 0,0 0 0 0 0,0 0 0 0 0,0-1 0 0 0,0 1 0 0 0,0 0 1 0 0,0-1-1 0 0,0 0 0 0 0,1 1 0 0 0,-1-1 0 0 0,0 0 0 0 0,-4-3 1 0 0,1-1-111 0 0,0 0 0 0 0,1 0 0 0 0,-1 0 0 0 0,1-1 0 0 0,1 0 0 0 0,-1 0 0 0 0,1 0 0 0 0,0 0 0 0 0,-6-14 0 0 0,4 5-156 0 0,1 0 0 0 0,0 0 0 0 0,-4-28 1 0 0,-5-4-329 0 0,13 45 544 0 0,-1 3 39 0 0,0-1 0 0 0,-1 1 0 0 0,1 0 0 0 0,-1 0-1 0 0,1 0 1 0 0,0 0 0 0 0,-1 0 0 0 0,1 0 0 0 0,0 0 0 0 0,0 1 0 0 0,0-1 0 0 0,0 1 0 0 0,0 0 0 0 0,0 0 0 0 0,-2 3 0 0 0,-26 35 102 0 0,24-32-89 0 0,-20 30 24 0 0,-40 80 0 0 0,51-85-2914 0 0,-14 47-1 0 0,23-58-406 0 0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0.6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4 53 1588 0 0,'0'-3'1295'0'0,"0"2"-1109"0"0,0-1-7 0 0,0 0-1 0 0,-1 0 0 0 0,1 0 0 0 0,0 0 0 0 0,-1 0 0 0 0,1 1 0 0 0,-1-1 0 0 0,0 0 0 0 0,1 0 1 0 0,-1 0-1 0 0,0 1 0 0 0,0-1 0 0 0,0 0 0 0 0,-1 1 0 0 0,1-1 0 0 0,0 1 0 0 0,0 0 1 0 0,-1-1-1 0 0,1 1 0 0 0,-1 0 0 0 0,-2-2 0 0 0,-1 1-54 0 0,-1 0 0 0 0,1 0 0 0 0,-1 1 0 0 0,1 0 0 0 0,-1 0 0 0 0,1 0 0 0 0,-1 1 0 0 0,1-1 0 0 0,-1 2 0 0 0,1-1 0 0 0,-1 0 0 0 0,0 1 1 0 0,1 0-1 0 0,-1 0 0 0 0,1 1 0 0 0,0 0 0 0 0,-1 0 0 0 0,1 0 0 0 0,0 0 0 0 0,0 1 0 0 0,0 0 0 0 0,-5 4 0 0 0,4-3-73 0 0,1 0 0 0 0,-1 0 0 0 0,1 1 0 0 0,0-1 0 0 0,1 1 0 0 0,-1 0 0 0 0,1 1 0 0 0,0-1 0 0 0,0 1 1 0 0,1 0-1 0 0,-1 0 0 0 0,2 0 0 0 0,-1 0 0 0 0,0 0 0 0 0,1 1 0 0 0,0-1 0 0 0,1 1 0 0 0,-2 10 0 0 0,3-6 1 0 0,0-1 0 0 0,1 1 0 0 0,0-1 1 0 0,1 1-1 0 0,0-1 0 0 0,1 0 0 0 0,0 0 0 0 0,1 0 0 0 0,0 0 0 0 0,0-1 0 0 0,1 1 1 0 0,8 11-1 0 0,9 9 20 0 0,0-1 0 0 0,33 32 0 0 0,-17-19 25 0 0,-7-8-24 0 0,34 43 188 0 0,-64-77-248 0 0,0 1 1 0 0,-1 0-1 0 0,1 0 0 0 0,0 0 1 0 0,-1 0-1 0 0,1 0 0 0 0,-1 0 1 0 0,0 0-1 0 0,1 0 1 0 0,-1 0-1 0 0,0 0 0 0 0,1 0 1 0 0,-1 0-1 0 0,0 0 0 0 0,0 0 1 0 0,0 2-1 0 0,0-3-7 0 0,0 0 0 0 0,-1 1-1 0 0,1-1 1 0 0,0 0 0 0 0,0 1 0 0 0,0-1-1 0 0,-1 1 1 0 0,1-1 0 0 0,0 0-1 0 0,-1 0 1 0 0,1 1 0 0 0,0-1 0 0 0,-1 0-1 0 0,1 0 1 0 0,0 1 0 0 0,-1-1-1 0 0,1 0 1 0 0,-1 0 0 0 0,1 0 0 0 0,0 1-1 0 0,-1-1 1 0 0,1 0 0 0 0,-1 0 0 0 0,1 0-1 0 0,0 0 1 0 0,-1 0 0 0 0,0 0-1 0 0,-2 0 8 0 0,1 0-1 0 0,-1 0 0 0 0,0-1 1 0 0,0 1-1 0 0,0-1 0 0 0,1 0 0 0 0,-1 1 1 0 0,0-1-1 0 0,1-1 0 0 0,-5-1 0 0 0,-1-2-46 0 0,1-1 0 0 0,0 1 0 0 0,1-1 0 0 0,0-1 0 0 0,0 1-1 0 0,0-1 1 0 0,1 0 0 0 0,0 0 0 0 0,0-1 0 0 0,0 0 0 0 0,-5-15-1 0 0,2 3-122 0 0,0 0-1 0 0,2-1 0 0 0,-6-35 0 0 0,6 29 32 0 0,4 18 18 0 0,0 0 0 0 0,1 0 0 0 0,-1-12-1 0 0,-11 35 275 0 0,-76 164 1318 0 0,-22 51-1655 0 0,98-191-1761 0 0,14-25-3176 0 0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616 0 0,'4'0'1770'0'0,"-2"0"-1532"0"0,-1 0 1 0 0,1 0-1 0 0,0 1 1 0 0,-1-1-1 0 0,1 0 1 0 0,-1 1-1 0 0,1-1 1 0 0,-1 1 0 0 0,1-1-1 0 0,-1 1 1 0 0,1 0-1 0 0,-1-1 1 0 0,1 1-1 0 0,-1 0 1 0 0,0 0 0 0 0,1 0-1 0 0,-1 0 1 0 0,0 0-1 0 0,2 2 1 0 0,-1 0 59 0 0,-1 0 1 0 0,1 0-1 0 0,-1 0 1 0 0,1 0-1 0 0,-1 0 1 0 0,0 0-1 0 0,0 0 1 0 0,0 0-1 0 0,1 5 1 0 0,-1 9 302 0 0,0-1 1 0 0,0 1 0 0 0,-4 21-1 0 0,2-18-403 0 0,-2 110 113 0 0,6-42-3820 0 0,3-55-733 0 0,-6-19 1340 0 0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1.3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 86 1648 0 0,'-4'-17'1540'0'0,"1"5"-428"0"0,-3 0 565 0 0,-1-3-617 0 0,1-1-448 0 0,2 5-412 0 0,23 9-3229 0 0,7 11 937 0 0,-11-5 1768 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1.7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352 0 0,'14'11'480'0'0,"-1"0"1"0"0,-1 1-1 0 0,0 0 0 0 0,0 1 1 0 0,-1 1-1 0 0,-1 0 1 0 0,0 0-1 0 0,-1 1 0 0 0,0 0 1 0 0,-2 0-1 0 0,8 20 0 0 0,-5-5 398 0 0,0 0 1 0 0,-3 1-1 0 0,0 0 0 0 0,-2 0 0 0 0,1 40 0 0 0,-2-34-39 0 0,-2-26 65 0 0,-1-1 0 0 0,0 1 0 0 0,-1-1 0 0 0,0 1 0 0 0,-3 17 0 0 0,2-27-568 0 0,1-1-311 0 0,0-1 1 0 0,-1 0-1 0 0,1 1 1 0 0,-1-1 0 0 0,1 1-1 0 0,0-1 1 0 0,-1 0-1 0 0,1 1 1 0 0,0-1-1 0 0,0 0 1 0 0,0 0-1 0 0,-1 1 1 0 0,1-1 0 0 0,0 0-1 0 0,0 1 1 0 0,0-1-1 0 0,0 0 1 0 0,0 0-1 0 0,0 1 1 0 0,1-1-1 0 0,-1-1 1 0 0,2-17 18 0 0,-2 19-32 0 0,2-9-53 0 0,0 0 1 0 0,1 1 0 0 0,0-1-1 0 0,0 1 1 0 0,1-1-1 0 0,0 1 1 0 0,1 0-1 0 0,0 1 1 0 0,0-1 0 0 0,0 1-1 0 0,1 0 1 0 0,0 0-1 0 0,1 1 1 0 0,-1 0 0 0 0,1 0-1 0 0,0 0 1 0 0,1 1-1 0 0,0 0 1 0 0,-1 1 0 0 0,1 0-1 0 0,1 0 1 0 0,-1 0-1 0 0,1 1 1 0 0,-1 0-1 0 0,12-1 1 0 0,-15 3 21 0 0,0 1 1 0 0,0 0-1 0 0,0 0 1 0 0,-1 1-1 0 0,1-1 1 0 0,0 1-1 0 0,0 0 0 0 0,0 0 1 0 0,-1 1-1 0 0,1 0 1 0 0,-1-1-1 0 0,1 1 0 0 0,-1 1 1 0 0,0-1-1 0 0,1 1 1 0 0,-1 0-1 0 0,-1 0 1 0 0,1 0-1 0 0,0 0 0 0 0,3 5 1 0 0,-2-3 18 0 0,-1 0-1 0 0,-1 0 1 0 0,1 0 0 0 0,-1 0 0 0 0,0 1-1 0 0,0-1 1 0 0,0 1 0 0 0,-1 0 0 0 0,0 0-1 0 0,0 0 1 0 0,0 0 0 0 0,-1 0 0 0 0,0 0-1 0 0,0 10 1 0 0,-1-14 57 0 0,0 1 1 0 0,0-1-1 0 0,-1 1 1 0 0,0-1-1 0 0,1 1 1 0 0,-1-1-1 0 0,0 1 0 0 0,0-1 1 0 0,0 1-1 0 0,0-1 1 0 0,-1 0-1 0 0,1 0 1 0 0,-1 1-1 0 0,-2 2 0 0 0,3-4 104 0 0,-4-3 20 0 0,5 2-178 0 0,0 0 0 0 0,-1 0 1 0 0,1 0-1 0 0,0 0 0 0 0,-1 0 1 0 0,1 0-1 0 0,0-1 0 0 0,-1 1 1 0 0,1 0-1 0 0,0 0 0 0 0,-1 0 1 0 0,1 0-1 0 0,0 0 0 0 0,-1 0 0 0 0,1 0 1 0 0,0-1-1 0 0,0 1 0 0 0,-1 0 1 0 0,1 0-1 0 0,0 0 0 0 0,0-1 1 0 0,-1 1-1 0 0,1 0 0 0 0,0 0 1 0 0,0-1-1 0 0,0 1 0 0 0,-1 0 1 0 0,1-1-1 0 0,0 1 0 0 0,0 0 0 0 0,0 0 1 0 0,0-1-1 0 0,0-5 10 0 0,0 1 0 0 0,0-1 1 0 0,1 1-1 0 0,0 0 0 0 0,0 0 0 0 0,1-1 0 0 0,-1 1 0 0 0,1 0 0 0 0,0 0 1 0 0,0 0-1 0 0,1 0 0 0 0,-1 1 0 0 0,1-1 0 0 0,0 1 0 0 0,1-1 1 0 0,4-4-1 0 0,4-5-23 0 0,1 1 0 0 0,0 1 1 0 0,27-20-1 0 0,-31 26 0 0 0,0 0 0 0 0,0 0 1 0 0,1 1-1 0 0,0 0 0 0 0,0 1 1 0 0,1 0-1 0 0,-1 1 0 0 0,19-4 0 0 0,-24 6-33 0 0,-1 0-1 0 0,1 1 0 0 0,0 0 0 0 0,-1 0 0 0 0,1 0 0 0 0,-1 1 0 0 0,1 0 1 0 0,-1-1-1 0 0,1 2 0 0 0,-1-1 0 0 0,0 0 0 0 0,1 1 0 0 0,-1 0 0 0 0,0 0 1 0 0,0 0-1 0 0,0 0 0 0 0,0 1 0 0 0,-1 0 0 0 0,1-1 0 0 0,0 1 0 0 0,-1 1 0 0 0,0-1 1 0 0,4 6-1 0 0,-2-3-208 0 0,-1 1 0 0 0,0-1 0 0 0,-1 1 0 0 0,1 0 1 0 0,-1 1-1 0 0,-1-1 0 0 0,4 15 0 0 0,5 57-3904 0 0,-5-29-1869 0 0,-4-36 2111 0 0</inkml:trace>
  <inkml:trace contextRef="#ctx0" brushRef="#br0" timeOffset="1">1124 210 2504 0 0,'9'-17'11151'0'0,"-8"35"-10415"0"0,-1-1 0 0 0,-1 1 1 0 0,-3 17-1 0 0,-1 12-503 0 0,3 81-5310 0 0,3-91-382 0 0,0-25 1566 0 0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2.1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9 106 696 0 0,'-4'-20'1472'0'0,"-1"1"-460"0"0,1 5-160 0 0,0-1-212 0 0,1 5-108 0 0,-1-2-79 0 0,0-3-501 0 0</inkml:trace>
  <inkml:trace contextRef="#ctx0" brushRef="#br0" timeOffset="1">480 86 976 0 0,'3'0'2089'0'0,"21"-1"1406"0"0,-20 0-3178 0 0,0 0 0 0 0,0 1 0 0 0,0-1 0 0 0,1 1 0 0 0,-1 0 0 0 0,0 1 0 0 0,0-1 0 0 0,0 1 0 0 0,0 0 0 0 0,1 0 0 0 0,-1 0 0 0 0,0 0 0 0 0,0 1 0 0 0,-1-1 0 0 0,1 1 0 0 0,0 0 0 0 0,0 0 0 0 0,3 4-1 0 0,-1 0-45 0 0,0 0 0 0 0,-1 1 0 0 0,1-1 0 0 0,-2 2-1 0 0,1-1 1 0 0,-1 0 0 0 0,0 1 0 0 0,5 12-1 0 0,17 70 795 0 0,-21-70-906 0 0,9 46 335 0 0,10 104-1 0 0,-12-10-3578 0 0,-12-145 2137 0 0,2 15-1174 0 0,3-10-2158 0 0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2.4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8 20 756 0 0,'0'-2'355'0'0,"0"1"-240"0"0,0 0 1 0 0,1 1-1 0 0,-1-1 0 0 0,0 1 0 0 0,0-1 0 0 0,0 0 1 0 0,0 1-1 0 0,0-1 0 0 0,0 1 0 0 0,-1-1 0 0 0,1 1 0 0 0,0-1 1 0 0,0 0-1 0 0,0 1 0 0 0,0-1 0 0 0,-1 1 0 0 0,1-1 1 0 0,0 1-1 0 0,-1-1 0 0 0,1 1 0 0 0,0-1 0 0 0,-1 1 1 0 0,1-1-1 0 0,-1 1 0 0 0,1 0 0 0 0,0-1 0 0 0,-1 1 0 0 0,1 0 1 0 0,-1-1-1 0 0,1 1 0 0 0,-1 0 0 0 0,1-1 0 0 0,-1 1 1 0 0,0 0-1 0 0,1 0 0 0 0,-1 0 0 0 0,1 0 0 0 0,-1-1 0 0 0,1 1 1 0 0,-1 0-1 0 0,0 0 0 0 0,1 0 0 0 0,-1 0 0 0 0,0 1 1 0 0,-12-2 387 0 0,-1 2 0 0 0,1 0 0 0 0,-1 1 0 0 0,1 0 0 0 0,0 1 0 0 0,0 0 0 0 0,-24 11 0 0 0,21-8-300 0 0,0 2-1 0 0,0 0 1 0 0,1 1-1 0 0,0 0 1 0 0,-24 21-1 0 0,36-27-174 0 0,0-1 0 0 0,0 1 0 0 0,0 0-1 0 0,1 0 1 0 0,-1 0 0 0 0,1 0 0 0 0,-2 4-1 0 0,4-6-18 0 0,-1 0 0 0 0,1 0 0 0 0,-1 0 0 0 0,1 0-1 0 0,0 0 1 0 0,0 0 0 0 0,0 0 0 0 0,-1 1 0 0 0,1-1-1 0 0,0 0 1 0 0,0 0 0 0 0,0 0 0 0 0,1 0 0 0 0,-1 0 0 0 0,0 0-1 0 0,0 0 1 0 0,1 0 0 0 0,-1 0 0 0 0,0 0 0 0 0,1 0-1 0 0,-1 0 1 0 0,1 0 0 0 0,-1 0 0 0 0,1 0 0 0 0,0 0-1 0 0,-1-1 1 0 0,2 2 0 0 0,-1-1-7 0 0,-1-1 1 0 0,1 1-1 0 0,0 0 0 0 0,0-1 0 0 0,0 1 0 0 0,-1-1 1 0 0,1 0-1 0 0,0 1 0 0 0,0-1 0 0 0,0 0 0 0 0,0 0 1 0 0,0 1-1 0 0,0-1 0 0 0,0 0 0 0 0,0 0 0 0 0,0 0 1 0 0,0 0-1 0 0,0 0 0 0 0,1 0 0 0 0,-1-1 4 0 0,4 2-21 0 0,1-1 0 0 0,0 1 0 0 0,0-2 0 0 0,-1 1 0 0 0,1-1 0 0 0,0 0 0 0 0,-1 0 0 0 0,1 0 0 0 0,-1-1 0 0 0,1 1 0 0 0,-1-2 0 0 0,6-2 0 0 0,7-4-113 0 0,32-23 1 0 0,-40 24 156 0 0,88-72 2611 0 0,-96 78-1990 0 0,3 11-380 0 0,-5-8-259 0 0,1 0 0 0 0,-1-1-1 0 0,1 1 1 0 0,-1 0 0 0 0,0 0 0 0 0,1 0 0 0 0,-1-1-1 0 0,0 1 1 0 0,1 0 0 0 0,-1 0 0 0 0,0 0 0 0 0,0-1-1 0 0,0 1 1 0 0,0 0 0 0 0,0 0 0 0 0,0 0 0 0 0,0 0-1 0 0,0 0 1 0 0,-1 1 0 0 0,0 19-157 0 0,1-1-1 0 0,0 1 1 0 0,2 0-1 0 0,0 0 1 0 0,1 0 0 0 0,2-1-1 0 0,11 35 1 0 0,-12-43-1124 0 0,0-1 1 0 0,1 0 0 0 0,1 0 0 0 0,10 15 0 0 0,4-15-4218 0 0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2.8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8 912 0 0,'8'-8'1089'0'0,"-5"4"-532"0"0,0 1 0 0 0,1 0 1 0 0,-1 0-1 0 0,1 0 1 0 0,0 0-1 0 0,0 0 0 0 0,0 1 1 0 0,0 0-1 0 0,8-4 1 0 0,17 5 1095 0 0,-28 1-1592 0 0,0 0 0 0 0,0 0-1 0 0,0 1 1 0 0,1-1 0 0 0,-1 0 0 0 0,0 1-1 0 0,0-1 1 0 0,0 1 0 0 0,0 0 0 0 0,0-1-1 0 0,0 1 1 0 0,0 0 0 0 0,0-1 0 0 0,0 1-1 0 0,0 0 1 0 0,-1 0 0 0 0,1 0 0 0 0,0 0-1 0 0,0 0 1 0 0,-1 0 0 0 0,1 0 0 0 0,-1 0-1 0 0,1 0 1 0 0,-1 0 0 0 0,1 0 0 0 0,0 2-1 0 0,-1 0 4 0 0,1 1-1 0 0,-1 0 1 0 0,1-1-1 0 0,-1 1 1 0 0,0 0-1 0 0,-1 0 1 0 0,1-1-1 0 0,-1 1 0 0 0,1 0 1 0 0,-1-1-1 0 0,-2 7 1 0 0,-18 33 401 0 0,20-41-214 0 0,2-3-246 0 0,0-1 1 0 0,0 0-1 0 0,1 1 0 0 0,-1-1 0 0 0,0 1 0 0 0,1-1 0 0 0,-1 1 0 0 0,1 0 0 0 0,2-2 0 0 0,0 0 4 0 0,36-31 626 0 0,2 2-1 0 0,78-45 1 0 0,-115 74-500 0 0,0 0-1 0 0,0 0 1 0 0,1 1 0 0 0,-1 0-1 0 0,0 0 1 0 0,1 0 0 0 0,8-1-1 0 0,-12 3-95 0 0,0 0 0 0 0,1 0-1 0 0,-1 0 1 0 0,0 0-1 0 0,0 0 1 0 0,0 1 0 0 0,0-1-1 0 0,0 1 1 0 0,0-1-1 0 0,0 1 1 0 0,-1 0-1 0 0,1 0 1 0 0,0 0 0 0 0,0 0-1 0 0,0 0 1 0 0,-1 0-1 0 0,1 0 1 0 0,-1 0 0 0 0,1 1-1 0 0,-1-1 1 0 0,1 1-1 0 0,-1-1 1 0 0,0 1 0 0 0,3 3-1 0 0,1 4-105 0 0,0 0 0 0 0,-1 0-1 0 0,1 1 1 0 0,-2-1 0 0 0,1 1 0 0 0,2 15-1 0 0,3 34-3378 0 0,-3-19-2194 0 0,-2-27 1249 0 0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3.1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9 191 996 0 0,'-76'-109'8832'0'0,"38"56"-6880"0"0,35 50-1590 0 0,-8-14-1492 0 0,12 11-1014 0 0,12 4-1304 0 0,10 3 432 0 0</inkml:trace>
  <inkml:trace contextRef="#ctx0" brushRef="#br0" timeOffset="1">493 57 832 0 0,'8'4'542'0'0,"-1"1"0"0"0,0 0 0 0 0,0 0 0 0 0,-1 0 0 0 0,1 1 1 0 0,-1 0-1 0 0,0 0 0 0 0,-1 1 0 0 0,1 0 0 0 0,-1 0 0 0 0,-1 0 0 0 0,1 1 0 0 0,-1-1 0 0 0,-1 1 0 0 0,1 0 0 0 0,3 13 1 0 0,1 11 299 0 0,-1 1 1 0 0,6 65 0 0 0,-9-65-488 0 0,6 259-1121 0 0,-11-221-2939 0 0,3-47 173 0 0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3.5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229 996 0 0,'-10'-25'4183'0'0,"-10"-46"0"0"0,20 69-4117 0 0,-1 0 0 0 0,1 1 0 0 0,0-1 0 0 0,0 0 0 0 0,0 0 1 0 0,0 0-1 0 0,0 0 0 0 0,0 0 0 0 0,0 0 0 0 0,1 0 0 0 0,-1 0 1 0 0,1 1-1 0 0,-1-1 0 0 0,1 0 0 0 0,0 0 0 0 0,0 0 0 0 0,0 1 1 0 0,0-1-1 0 0,0 1 0 0 0,0-1 0 0 0,0 1 0 0 0,1-1 0 0 0,-1 1 1 0 0,0-1-1 0 0,1 1 0 0 0,-1 0 0 0 0,1 0 0 0 0,1-1 0 0 0,4-2 10 0 0,0 0 0 0 0,1 1 1 0 0,-1 0-1 0 0,0 0 0 0 0,9-1 0 0 0,-13 3-55 0 0,10-2 66 0 0,1 0 1 0 0,0 1 0 0 0,0 1 0 0 0,0 0-1 0 0,0 1 1 0 0,0 0 0 0 0,14 3-1 0 0,-2 1 194 0 0,0 1 0 0 0,38 13-1 0 0,-49-13-200 0 0,1 0-1 0 0,0-1 1 0 0,0 0-1 0 0,19 0 1 0 0,-28-4-91 0 0,1 0 1 0 0,-1 0-1 0 0,1-1 1 0 0,-1 0 0 0 0,1-1-1 0 0,-1 0 1 0 0,0 0-1 0 0,0-1 1 0 0,1 1-1 0 0,7-6 1 0 0,120-70-1180 0 0,-135 77 1179 0 0,1 1 1 0 0,0-1-1 0 0,0 1 1 0 0,0-1-1 0 0,0 1 0 0 0,-1 0 1 0 0,1-1-1 0 0,0 1 1 0 0,0 0-1 0 0,0 0 1 0 0,0 0-1 0 0,0 0 0 0 0,0 0 1 0 0,1 0-1 0 0,1 0-10 0 0,-2 0 21 0 0,0 0-1 0 0,0 0 0 0 0,0 0 0 0 0,-1 0 0 0 0,1 1 1 0 0,0-1-1 0 0,0 0 0 0 0,0 1 0 0 0,-1-1 0 0 0,1 1 0 0 0,0-1 1 0 0,0 1-1 0 0,-1-1 0 0 0,1 1 0 0 0,-1-1 0 0 0,1 1 1 0 0,0 0-1 0 0,-1-1 0 0 0,1 1 0 0 0,-1 0 0 0 0,1 0 0 0 0,0 1 1 0 0,-1-2-1 0 0,2 5 17 0 0,0-1 0 0 0,0 0 0 0 0,0 1-1 0 0,0-1 1 0 0,-1 1 0 0 0,0 0 0 0 0,0-1 0 0 0,0 1 0 0 0,-1 0-1 0 0,0 0 1 0 0,1 0 0 0 0,-2-1 0 0 0,0 10 0 0 0,0 5 121 0 0,-2 68 864 0 0,-3-1 0 0 0,-28 130 0 0 0,24-170-542 0 0,-3-1-1 0 0,-1 0 1 0 0,-2-1 0 0 0,-37 69 0 0 0,50-106-313 0 0,0-1-1 0 0,0 0 1 0 0,-1 0 0 0 0,0 0 0 0 0,-1 0-1 0 0,1-1 1 0 0,-1 0 0 0 0,0 0-1 0 0,-1 0 1 0 0,1-1 0 0 0,-1 1 0 0 0,0-1-1 0 0,0-1 1 0 0,0 1 0 0 0,-11 4 0 0 0,15-8-122 0 0,0 1 1 0 0,0-1-1 0 0,1 0 1 0 0,-1 0-1 0 0,0 0 1 0 0,0 0-1 0 0,0 0 1 0 0,0-1 0 0 0,0 1-1 0 0,0 0 1 0 0,1-1-1 0 0,-1 1 1 0 0,0-1-1 0 0,0 0 1 0 0,1 0 0 0 0,-1 0-1 0 0,0 0 1 0 0,1 0-1 0 0,-1 0 1 0 0,1 0-1 0 0,-1 0 1 0 0,1 0 0 0 0,0-1-1 0 0,-1 1 1 0 0,1-1-1 0 0,0 1 1 0 0,0-1-1 0 0,0 1 1 0 0,0-1 0 0 0,0 0-1 0 0,0 1 1 0 0,0-3-1 0 0,-2-4-38 0 0,0 1-1 0 0,0 0 1 0 0,1-1-1 0 0,0 1 1 0 0,0-1-1 0 0,0-9 1 0 0,1-8-529 0 0,1 1-1 0 0,1 0 1 0 0,1 0 0 0 0,1 0-1 0 0,11-45 1 0 0,-6 45-1242 0 0,0 0 0 0 0,23-46-1 0 0,-25 61-9 0 0,-1 0-1 0 0,14-14 0 0 0,-4 3-2689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5.0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6 38 436 0 0,'1'-3'500'0'0,"-1"1"0"0"0,0-1-1 0 0,0 1 1 0 0,0-1 0 0 0,0 0 0 0 0,0 1 0 0 0,0-1 0 0 0,-1 1-1 0 0,0-4 1 0 0,0 5-370 0 0,1 1 0 0 0,0-1 1 0 0,0 1-1 0 0,-1-1 0 0 0,1 1 0 0 0,0-1 0 0 0,-1 1 0 0 0,1-1 0 0 0,-1 1 0 0 0,1-1 0 0 0,0 1 1 0 0,-1 0-1 0 0,1-1 0 0 0,-1 1 0 0 0,1 0 0 0 0,-1-1 0 0 0,1 1 0 0 0,-1 0 0 0 0,1 0 1 0 0,-2-1-1 0 0,1 1-49 0 0,0 0 0 0 0,0 0 0 0 0,0 0 0 0 0,-1 0 0 0 0,1 0 1 0 0,0 1-1 0 0,0-1 0 0 0,0 0 0 0 0,-1 0 0 0 0,1 1 1 0 0,0-1-1 0 0,0 1 0 0 0,0-1 0 0 0,-1 2 0 0 0,-5 2 141 0 0,0 1 0 0 0,0 0 1 0 0,0 0-1 0 0,1 0 0 0 0,0 1 0 0 0,0 0 0 0 0,1 0 0 0 0,-1 1 0 0 0,1-1 0 0 0,1 1 0 0 0,-7 13 0 0 0,9-17-196 0 0,1 0 0 0 0,-1 0 0 0 0,1 0 0 0 0,0 0 0 0 0,0 0 0 0 0,1 0 0 0 0,-1 0 0 0 0,1 0 0 0 0,-1 1-1 0 0,1-1 1 0 0,0 0 0 0 0,0 0 0 0 0,0 1 0 0 0,1-1 0 0 0,-1 0 0 0 0,1 0 0 0 0,0 0 0 0 0,0 0-1 0 0,0 1 1 0 0,0-1 0 0 0,1-1 0 0 0,-1 1 0 0 0,1 0 0 0 0,-1 0 0 0 0,1 0 0 0 0,0-1 0 0 0,0 1 0 0 0,0-1-1 0 0,1 0 1 0 0,-1 1 0 0 0,0-1 0 0 0,1 0 0 0 0,0 0 0 0 0,3 2 0 0 0,2 0-14 0 0,1 0 0 0 0,-1 0 1 0 0,1 0-1 0 0,0-1 0 0 0,0-1 1 0 0,0 1-1 0 0,0-1 0 0 0,0-1 1 0 0,0 0-1 0 0,1 0 0 0 0,-1-1 0 0 0,0 0 1 0 0,1-1-1 0 0,-1 0 0 0 0,0 0 1 0 0,0-1-1 0 0,0 0 0 0 0,13-5 1 0 0,13-6 553 0 0,0-1 0 0 0,-1-2 0 0 0,38-25 1 0 0,-43 24 830 0 0,-28 17-1382 0 0,0-1 0 0 0,-1 1 1 0 0,1-1-1 0 0,0 1 0 0 0,-1-1 1 0 0,1 1-1 0 0,0 0 0 0 0,0-1 1 0 0,0 1-1 0 0,-1 0 0 0 0,1 0 1 0 0,0-1-1 0 0,0 1 0 0 0,0 0 1 0 0,0 0-1 0 0,-1 0 1 0 0,1 0-1 0 0,0 0 0 0 0,0 0 1 0 0,0 0-1 0 0,0 0 0 0 0,-1 1 1 0 0,1-1-1 0 0,0 0 0 0 0,0 0 1 0 0,0 1-1 0 0,-1-1 0 0 0,1 0 1 0 0,0 1-1 0 0,0-1 0 0 0,-1 1 1 0 0,1-1-1 0 0,0 1 0 0 0,-1 0 1 0 0,1-1-1 0 0,-1 1 1 0 0,1-1-1 0 0,0 1 0 0 0,-1 0 1 0 0,0 0-1 0 0,1-1 0 0 0,0 2 1 0 0,0 3-30 0 0,1-1 1 0 0,-1 1 0 0 0,0 0 0 0 0,0-1-1 0 0,0 10 1 0 0,-1-10-41 0 0,1 75-4478 0 0,-1-42-1555 0 0,0-24 1732 0 0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4.0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2 67 376 0 0,'0'0'1484'0'0,"0"-1"-1376"0"0,0 1 0 0 0,0 0 1 0 0,0-1-1 0 0,0 1 1 0 0,-1 0-1 0 0,1-1 1 0 0,0 1-1 0 0,0 0 1 0 0,0-1-1 0 0,-1 1 1 0 0,1 0-1 0 0,0 0 1 0 0,0-1-1 0 0,-1 1 1 0 0,1 0-1 0 0,0 0 0 0 0,-1 0 1 0 0,1-1-1 0 0,0 1 1 0 0,-1 0-1 0 0,1 0 1 0 0,0 0-1 0 0,-1 0 1 0 0,1 0-1 0 0,0 0 1 0 0,-1 0-1 0 0,1-1 1 0 0,-1 1-1 0 0,-2 3-6 0 0,0 0 0 0 0,0 0 0 0 0,0 1 0 0 0,1-1 0 0 0,-1 0 0 0 0,1 1 0 0 0,0-1 0 0 0,0 1 0 0 0,0 0 0 0 0,0 0 0 0 0,1 0 0 0 0,-1 0 0 0 0,1 0 0 0 0,0 0 0 0 0,1 0 0 0 0,-1 0 0 0 0,0 7 0 0 0,2-4 16 0 0,-1 0 1 0 0,1-1-1 0 0,0 1 0 0 0,1 0 0 0 0,-1-1 0 0 0,1 1 1 0 0,1-1-1 0 0,-1 0 0 0 0,1 1 0 0 0,5 7 1 0 0,-3-6 35 0 0,1 0 1 0 0,-1 0 0 0 0,1 0 0 0 0,1 0-1 0 0,0-1 1 0 0,0 0 0 0 0,0-1 0 0 0,1 0-1 0 0,0 0 1 0 0,0 0 0 0 0,0-1 0 0 0,1 0-1 0 0,0-1 1 0 0,0 0 0 0 0,10 3 0 0 0,-16-6-101 0 0,0 0 0 0 0,1 0 1 0 0,-1-1-1 0 0,1 1 1 0 0,-1-1-1 0 0,1 0 0 0 0,0 0 1 0 0,-1 0-1 0 0,1-1 1 0 0,-1 1-1 0 0,1-1 0 0 0,-1 0 1 0 0,0 0-1 0 0,1 0 1 0 0,-1 0-1 0 0,0 0 0 0 0,0-1 1 0 0,1 0-1 0 0,-1 1 1 0 0,0-1-1 0 0,-1-1 0 0 0,1 1 1 0 0,0 0-1 0 0,-1-1 1 0 0,1 1-1 0 0,-1-1 0 0 0,0 0 1 0 0,1 1-1 0 0,-2-1 0 0 0,1 0 1 0 0,0 0-1 0 0,0-1 1 0 0,1-3-1 0 0,-1 0-21 0 0,1-1 0 0 0,-1 1 1 0 0,-1-1-1 0 0,1 1 0 0 0,-1-1 0 0 0,-1 0 0 0 0,0 1 1 0 0,0-1-1 0 0,0 0 0 0 0,-1 0 0 0 0,0 1 0 0 0,0-1 1 0 0,-5-13-1 0 0,1 7-309 0 0,-2 0 0 0 0,0 1 0 0 0,-1-1 0 0 0,-18-23 0 0 0,-6-8-5608 0 0,27 37 2620 0 0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4.3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1 272 0 0,'6'5'542'0'0,"11"8"444"0"0,-1 1 0 0 0,0 1 0 0 0,17 21 0 0 0,-29-32-632 0 0,-1 1 1 0 0,1 1 0 0 0,-1-1 0 0 0,0 0-1 0 0,0 1 1 0 0,-1 0 0 0 0,1-1 0 0 0,-1 1-1 0 0,0 0 1 0 0,-1 0 0 0 0,0 1 0 0 0,0-1-1 0 0,0 0 1 0 0,-1 0 0 0 0,1 0 0 0 0,-2 9-1 0 0,-8 10 4252 0 0,5-35-4105 0 0,4 8-464 0 0,1 0-1 0 0,-1-1 1 0 0,0 1 0 0 0,1-1-1 0 0,0 1 1 0 0,-1 0 0 0 0,1 0-1 0 0,0-1 1 0 0,0 1 0 0 0,0 0 0 0 0,3-3-1 0 0,14-23 153 0 0,-2 9-310 0 0,0 1 0 0 0,1 1 0 0 0,0 0 1 0 0,1 1-1 0 0,33-21 0 0 0,-29 23-999 0 0,1 1-1 0 0,39-16 0 0 0,-50 25-504 0 0,0 0 1 0 0,-1 1-1 0 0,23-2 1 0 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4.8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4 12 512 0 0,'0'0'169'0'0,"0"-1"0"0"0,0 0 1 0 0,0 1-1 0 0,0-1 0 0 0,0 1 0 0 0,1-1 0 0 0,-1 1 0 0 0,0-1 0 0 0,0 1 1 0 0,1-1-1 0 0,-1 1 0 0 0,0-1 0 0 0,1 1 0 0 0,-1-1 0 0 0,1 1 0 0 0,-1 0 1 0 0,1-1-1 0 0,-1 1 0 0 0,0 0 0 0 0,1-1 0 0 0,-1 1 0 0 0,1 0 1 0 0,0 0-1 0 0,-1-1 0 0 0,1 1 0 0 0,0 0 0 0 0,2 0-17 0 0,0 1-1 0 0,-1 0 1 0 0,1 0 0 0 0,0 0-1 0 0,-1 0 1 0 0,1 1-1 0 0,0-1 1 0 0,-1 1 0 0 0,0-1-1 0 0,1 1 1 0 0,-1 0-1 0 0,0 0 1 0 0,0 0 0 0 0,0 0-1 0 0,0 1 1 0 0,0-1 0 0 0,0 0-1 0 0,-1 1 1 0 0,1-1-1 0 0,-1 1 1 0 0,0-1 0 0 0,0 1-1 0 0,0 0 1 0 0,1 4-1 0 0,2 6 70 0 0,-1 0-1 0 0,-1 0 0 0 0,0 1 0 0 0,0-1 0 0 0,-2 1 0 0 0,0 0 0 0 0,0-1 1 0 0,-1 1-1 0 0,-1-1 0 0 0,0 1 0 0 0,-1-1 0 0 0,-6 18 0 0 0,1-7-17 0 0,-1-2 0 0 0,-1 1 0 0 0,-1-1-1 0 0,-2-1 1 0 0,0 0 0 0 0,-16 20 0 0 0,19-30-116 0 0,0 1 0 0 0,-1-2 0 0 0,-1 0 0 0 0,-12 10 0 0 0,23-20-110 0 0,0 1 1 0 0,0 0 0 0 0,1-1-1 0 0,-1 1 1 0 0,0 0-1 0 0,0-1 1 0 0,0 1-1 0 0,0-1 1 0 0,0 0-1 0 0,0 1 1 0 0,0-1-1 0 0,0 0 1 0 0,0 1 0 0 0,0-1-1 0 0,0 0 1 0 0,0 0-1 0 0,0 0 1 0 0,0 0-1 0 0,0 0 1 0 0,0 0-1 0 0,0 0 1 0 0,0 0-1 0 0,0-1 1 0 0,0 1-1 0 0,0 0 1 0 0,0 0 0 0 0,0-1-1 0 0,0 1 1 0 0,0-1-1 0 0,0 1 1 0 0,0-1-1 0 0,0 0 1 0 0,0 1-1 0 0,0-1 1 0 0,1 0-1 0 0,-1 1 1 0 0,0-1 0 0 0,0 0-1 0 0,1 0 1 0 0,-1 0-1 0 0,1 1 1 0 0,-1-1-1 0 0,1 0 1 0 0,-1 0-1 0 0,1 0 1 0 0,-1 0-1 0 0,1 0 1 0 0,0 0 0 0 0,0 0-1 0 0,-1 0 1 0 0,1 0-1 0 0,0 0 1 0 0,0-1-1 0 0,0 1 1 0 0,0 0-1 0 0,0 0 1 0 0,0 0-1 0 0,1 0 1 0 0,-1-1-1 0 0,1-2-24 0 0,0 0-1 0 0,0 0 0 0 0,0 1 0 0 0,1-1 0 0 0,-1 1 0 0 0,1-1 1 0 0,0 1-1 0 0,0 0 0 0 0,0 0 0 0 0,1-1 0 0 0,-1 1 0 0 0,1 1 1 0 0,-1-1-1 0 0,1 0 0 0 0,0 1 0 0 0,0-1 0 0 0,0 1 0 0 0,1 0 0 0 0,-1 0 1 0 0,0 0-1 0 0,1 1 0 0 0,-1-1 0 0 0,1 1 0 0 0,5-2 0 0 0,-3 2 32 0 0,1-1-1 0 0,0 1 0 0 0,0 0 0 0 0,0 1 1 0 0,-1 0-1 0 0,1 0 0 0 0,0 0 0 0 0,0 1 0 0 0,0 0 1 0 0,-1 0-1 0 0,1 1 0 0 0,0-1 0 0 0,7 5 1 0 0,80 38 83 0 0,33 15 114 0 0,-110-52-118 0 0,1-1 0 0 0,-1-1 1 0 0,1-1-1 0 0,0 0 0 0 0,26 1 0 0 0,-36-5-27 0 0,-1 0 1 0 0,1 0-1 0 0,0-1 1 0 0,-1 0-1 0 0,0 0 0 0 0,1-1 1 0 0,-1 0-1 0 0,0-1 0 0 0,0 1 1 0 0,0-1-1 0 0,0-1 1 0 0,0 1-1 0 0,-1-1 0 0 0,1 0 1 0 0,-1-1-1 0 0,0 0 1 0 0,9-9-1 0 0,2-5 537 0 0,-1-1 0 0 0,-1 0 0 0 0,24-43 0 0 0,-38 61-513 0 0,9-15 1118 0 0,23-29 0 0 0,-31 45-893 0 0,-3 27-417 0 0,-6 30 0 0 0,4-30-1242 0 0,-1 31 0 0 0,5-2-1709 0 0,2-19-1838 0 0,-3-22 1258 0 0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5.2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0 542 520 0 0,'-20'-37'4210'0'0,"-6"-11"-491"0"0,-39-53 0 0 0,65 100-3822 0 0,-1 0 1 0 0,0 1-1 0 0,0-1 0 0 0,1 0 1 0 0,-1 0-1 0 0,0 0 0 0 0,1 0 1 0 0,-1 0-1 0 0,1 0 0 0 0,-1 0 1 0 0,1 0-1 0 0,0 0 1 0 0,-1 0-1 0 0,1-1 0 0 0,0 1 1 0 0,0 0-1 0 0,0 0 0 0 0,0 0 1 0 0,0-2-1 0 0,0 2-60 0 0,1 0 0 0 0,0 1 1 0 0,0-1-1 0 0,0 0 0 0 0,0 1 0 0 0,0-1 0 0 0,0 0 0 0 0,0 1 1 0 0,0-1-1 0 0,0 1 0 0 0,0-1 0 0 0,0 1 0 0 0,0 0 0 0 0,0-1 1 0 0,0 1-1 0 0,1 0 0 0 0,1 0 0 0 0,15-4-2023 0 0,1 2-408 0 0</inkml:trace>
  <inkml:trace contextRef="#ctx0" brushRef="#br0" timeOffset="1">478 346 716 0 0,'8'5'512'0'0,"0"0"0"0"0,-1 0-1 0 0,0 1 1 0 0,0 0 0 0 0,0 0 0 0 0,-1 0-1 0 0,1 1 1 0 0,-2 0 0 0 0,1 1 0 0 0,-1-1-1 0 0,0 1 1 0 0,-1 0 0 0 0,0 0 0 0 0,5 12-1 0 0,0 8 266 0 0,-1 0-1 0 0,-1 1 0 0 0,4 32 1 0 0,-5-8 720 0 0,1 76-1 0 0,-7-127-1413 0 0,0-1 0 0 0,0 0-1 0 0,0 0 1 0 0,0 0 0 0 0,0 0 0 0 0,0 0-1 0 0,-1 0 1 0 0,1 0 0 0 0,0 0-1 0 0,0 0 1 0 0,-1 0 0 0 0,1 0 0 0 0,-1 0-1 0 0,1 0 1 0 0,-1 0 0 0 0,1 0-1 0 0,-1 0 1 0 0,0 0 0 0 0,0 1 0 0 0,0-2-48 0 0,0 0 0 0 0,1 1 0 0 0,-1-1 1 0 0,0 0-1 0 0,1 0 0 0 0,-1 1 0 0 0,0-1 0 0 0,0 0 1 0 0,1 0-1 0 0,-1 0 0 0 0,0 0 0 0 0,0 0 1 0 0,1 0-1 0 0,-1 0 0 0 0,0 0 0 0 0,1 0 0 0 0,-1 0 1 0 0,0-1-1 0 0,0 1 0 0 0,0-1 0 0 0,-2 0 8 0 0,0 0 0 0 0,1 0 0 0 0,-1-1-1 0 0,1 0 1 0 0,0 1 0 0 0,-1-1 0 0 0,1 0-1 0 0,0 0 1 0 0,0 0 0 0 0,0 0 0 0 0,-3-4-1 0 0,0-6-24 0 0,0 1-1 0 0,1-1 1 0 0,0 0-1 0 0,1 0 1 0 0,1 0 0 0 0,-1 0-1 0 0,2 0 1 0 0,-1-16-1 0 0,2-11-204 0 0,5-51 0 0 0,0 44-295 0 0,2 0 0 0 0,2 0 0 0 0,29-84 0 0 0,-31 110 84 0 0,0 2 0 0 0,2-1 0 0 0,0 1 0 0 0,1 0 0 0 0,1 1 0 0 0,1 1 0 0 0,0-1 1 0 0,1 2-1 0 0,1 0 0 0 0,1 0 0 0 0,22-17 0 0 0,-27 25-464 0 0,-1 1 1 0 0,1 1-1 0 0,0-1 1 0 0,0 1-1 0 0,13-3 1 0 0,-4 1-2045 0 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5.6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 434 852 0 0,'-10'12'1596'0'0,"2"0"2012"0"0,8-12-3570 0 0,0 1-1 0 0,1-1 1 0 0,-1 1-1 0 0,1-1 1 0 0,-1 0-1 0 0,0 0 1 0 0,1 1-1 0 0,-1-1 1 0 0,1 0-1 0 0,-1 0 1 0 0,1 1 0 0 0,-1-1-1 0 0,1 0 1 0 0,-1 0-1 0 0,1 0 1 0 0,-1 0-1 0 0,1 0 1 0 0,-1 0-1 0 0,1 0 1 0 0,-1 0-1 0 0,1 0 1 0 0,-1 0-1 0 0,1 0 1 0 0,0 0-1 0 0,-1 0 1 0 0,1 0-1 0 0,-1-1 1 0 0,0 1-1 0 0,2 0 1 0 0,97-17 1618 0 0,-62 9-1042 0 0,0 2 1 0 0,50-1-1 0 0,-77 7-474 0 0,0 0 0 0 0,0 1-1 0 0,1 0 1 0 0,-1 0 0 0 0,0 1 0 0 0,0 1 0 0 0,0 0-1 0 0,0 0 1 0 0,-1 1 0 0 0,1 0 0 0 0,-1 0-1 0 0,0 1 1 0 0,9 7 0 0 0,-10-5-49 0 0,-1 0 0 0 0,1 0 0 0 0,-2 1 0 0 0,1 0 0 0 0,-1 0 0 0 0,0 0 0 0 0,-1 1 1 0 0,0 0-1 0 0,0 0 0 0 0,-1 0 0 0 0,4 11 0 0 0,-2 0 74 0 0,0 0 1 0 0,-1 1 0 0 0,-1-1-1 0 0,1 32 1 0 0,-5-48-77 0 0,0 0 1 0 0,0 0 0 0 0,0 0-1 0 0,-1 0 1 0 0,1 0-1 0 0,-1 0 1 0 0,0 0 0 0 0,-1 0-1 0 0,1-1 1 0 0,0 1 0 0 0,-1 0-1 0 0,0-1 1 0 0,0 1 0 0 0,0-1-1 0 0,0 1 1 0 0,-1-1 0 0 0,-5 5-1 0 0,7-7-69 0 0,0 0 1 0 0,0-1-1 0 0,0 1 0 0 0,0-1 1 0 0,0 1-1 0 0,0-1 0 0 0,0 0 1 0 0,-1 1-1 0 0,1-1 0 0 0,0 0 1 0 0,0 0-1 0 0,0 0 0 0 0,0 0 1 0 0,-1 0-1 0 0,1 0 0 0 0,-1 0 1 0 0,-1 0 35 0 0,-1 0-12 0 0,0 0 0 0 0,0 0 0 0 0,0 0 0 0 0,0 0 0 0 0,0-1 0 0 0,1 1 0 0 0,-1-1 1 0 0,0 0-1 0 0,0 0 0 0 0,1-1 0 0 0,-1 1 0 0 0,0-1 0 0 0,1 0 0 0 0,0 0 0 0 0,-1 0 1 0 0,1 0-1 0 0,0 0 0 0 0,-5-5 0 0 0,2 1-5 0 0,0-1 1 0 0,0 0-1 0 0,1 0 0 0 0,-1 0 0 0 0,2 0 1 0 0,-7-13-1 0 0,3 1-41 0 0,1 1-1 0 0,2-1 1 0 0,-1 0-1 0 0,2 0 1 0 0,1-1 0 0 0,0 1-1 0 0,2-1 1 0 0,0 0-1 0 0,1 1 1 0 0,1-1-1 0 0,1 0 1 0 0,5-23 0 0 0,0 11-172 0 0,1 0 1 0 0,1 1 0 0 0,2 0 0 0 0,1 0 0 0 0,1 1 0 0 0,27-43 0 0 0,-30 57-99 0 0,1 1 0 0 0,0 0 1 0 0,1 1-1 0 0,1 0 1 0 0,0 0-1 0 0,1 2 1 0 0,15-12-1 0 0,-23 19-114 0 0,1 1-1 0 0,0-1 1 0 0,0 1 0 0 0,0 1-1 0 0,1 0 1 0 0,-1 0 0 0 0,1 0-1 0 0,0 1 1 0 0,0 0-1 0 0,0 0 1 0 0,0 1 0 0 0,0 0-1 0 0,0 0 1 0 0,0 1 0 0 0,0 0-1 0 0,0 1 1 0 0,0 0-1 0 0,12 2 1 0 0,-3 4-1740 0 0,-1 4-274 0 0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7.0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 78 1024 0 0,'-35'38'6927'0'0,"33"-35"-6089"0"0,2-1 29 0 0,0-2-853 0 0,-1 0-1 0 0,1 0 0 0 0,0 1 1 0 0,0-1-1 0 0,0 0 0 0 0,0 0 1 0 0,0 0-1 0 0,0 0 0 0 0,0 0 1 0 0,0 0-1 0 0,0 1 0 0 0,0-1 1 0 0,0 0-1 0 0,-1 0 0 0 0,1 0 1 0 0,0 0-1 0 0,0 0 0 0 0,0 1 1 0 0,0-1-1 0 0,0 0 0 0 0,0 0 1 0 0,0 0-1 0 0,0 0 0 0 0,0 1 1 0 0,0-1-1 0 0,1 0 0 0 0,-1 0 1 0 0,0 0-1 0 0,0 0 0 0 0,0 0 1 0 0,0 0-1 0 0,0 1 0 0 0,0-1 1 0 0,0 0-1 0 0,0 0 0 0 0,0 0 1 0 0,0 0-1 0 0,0 0 0 0 0,1 0 1 0 0,-1 0-1 0 0,0 1 0 0 0,0-1 1 0 0,0 0-1 0 0,0 0 0 0 0,0 0 1 0 0,0 0-1 0 0,1 0 0 0 0,-1 0 1 0 0,0 0-1 0 0,37 6 337 0 0,0-3-1 0 0,1-1 1 0 0,49-3-1 0 0,-24 0-125 0 0,117-6 1952 0 0,-171 6-1896 0 0,1 0-1 0 0,-1 0 0 0 0,0-1 1 0 0,15-5-1 0 0,-20 6-248 0 0,-1-1-1 0 0,0 1 1 0 0,0-1-1 0 0,0 0 1 0 0,0 0-1 0 0,0 0 1 0 0,0 0-1 0 0,-1-1 1 0 0,1 1-1 0 0,-1-1 1 0 0,0 1 0 0 0,1-1-1 0 0,-1 0 1 0 0,2-4-1 0 0,-3 5-48 0 0,0-1 1 0 0,0 1-1 0 0,0 0 0 0 0,0-1 1 0 0,0 1-1 0 0,-1-1 0 0 0,1 1 0 0 0,-1-1 1 0 0,0 1-1 0 0,0-1 0 0 0,0 1 1 0 0,0-6-1 0 0,0 7 7 0 0,-1 0 1 0 0,1 0-1 0 0,0 0 0 0 0,-1 0 1 0 0,1 0-1 0 0,0 0 0 0 0,-1 0 1 0 0,1 1-1 0 0,-1-1 0 0 0,0 0 1 0 0,1 0-1 0 0,-1 0 1 0 0,0 0-1 0 0,1 1 0 0 0,-1-1 1 0 0,0 0-1 0 0,0 1 0 0 0,0-1 1 0 0,0 1-1 0 0,1-1 0 0 0,-1 1 1 0 0,0-1-1 0 0,0 1 0 0 0,0-1 1 0 0,0 1-1 0 0,0 0 1 0 0,0 0-1 0 0,0 0 0 0 0,0-1 1 0 0,0 1-1 0 0,0 0 0 0 0,0 0 1 0 0,-1 0-1 0 0,1 0 0 0 0,-1 1 1 0 0,-11 1-9 0 0,0 0-1 0 0,0 1 1 0 0,1 0 0 0 0,-1 1 0 0 0,1 0 0 0 0,0 1-1 0 0,0 0 1 0 0,0 1 0 0 0,1 1 0 0 0,0 0 0 0 0,0 0-1 0 0,1 1 1 0 0,0 1 0 0 0,0-1 0 0 0,1 2 0 0 0,0-1 0 0 0,-14 20-1 0 0,21-27 32 0 0,1 0 0 0 0,-1 0 0 0 0,1 1 0 0 0,0-1 0 0 0,-1 0 0 0 0,1 1 0 0 0,0-1 0 0 0,0 1 0 0 0,1 0 0 0 0,-1-1 0 0 0,0 1 0 0 0,1-1 0 0 0,0 1-1 0 0,-1 0 1 0 0,1-1 0 0 0,0 1 0 0 0,0 0 0 0 0,1-1 0 0 0,-1 1 0 0 0,1 0 0 0 0,-1-1 0 0 0,1 1 0 0 0,0 0 0 0 0,0-1 0 0 0,0 1 0 0 0,0-1 0 0 0,0 0 0 0 0,1 1-1 0 0,-1-1 1 0 0,1 0 0 0 0,-1 0 0 0 0,1 0 0 0 0,0 0 0 0 0,0 0 0 0 0,3 2 0 0 0,2 1 18 0 0,0 0 0 0 0,1 0 1 0 0,0-1-1 0 0,-1 0 0 0 0,2 0 0 0 0,-1-1 0 0 0,0 0 0 0 0,1 0 1 0 0,14 1-1 0 0,-4-1-146 0 0,1-1 0 0 0,-1-1 0 0 0,1-1 0 0 0,-1-1 0 0 0,0-1 0 0 0,1 0 0 0 0,-1-2-1 0 0,0 0 1 0 0,0-1 0 0 0,-1-1 0 0 0,33-14 0 0 0,-28 8 224 0 0,0 0 0 0 0,-1-2 0 0 0,-1 0 0 0 0,0-1 0 0 0,-1-1 0 0 0,0-1 0 0 0,-2-1 0 0 0,24-29-1 0 0,-42 47-106 0 0,18-18 301 0 0,-18 17-294 0 0,1 1 1 0 0,-1-1-1 0 0,1 1 0 0 0,0 0 0 0 0,-1-1 1 0 0,1 1-1 0 0,-1 0 0 0 0,1-1 1 0 0,0 1-1 0 0,-1 0 0 0 0,1 0 0 0 0,0 0 1 0 0,-1-1-1 0 0,1 1 0 0 0,0 0 0 0 0,-1 0 1 0 0,1 0-1 0 0,0 0 0 0 0,-1 0 1 0 0,1 0-1 0 0,0 0 0 0 0,-1 1 0 0 0,1-1 1 0 0,0 0-1 0 0,-1 0 0 0 0,1 0 1 0 0,0 1-1 0 0,0 0 0 0 0,0-1-7 0 0,-1 1 0 0 0,1 0 0 0 0,-1 0 0 0 0,1 0 0 0 0,-1 0 0 0 0,0 0-1 0 0,0 0 1 0 0,1 0 0 0 0,-1 0 0 0 0,0 0 0 0 0,0 0 0 0 0,0 0 0 0 0,0 0 0 0 0,0 0 0 0 0,0 0 0 0 0,0 1-1 0 0,0 0 2 0 0,8 51-218 0 0,3-1 0 0 0,34 96 0 0 0,-40-127 136 0 0,-7-17 56 0 0,-3-8 20 0 0,4 2 8 0 0,0 0 1 0 0,0 0-1 0 0,1 0 1 0 0,0 0-1 0 0,-1-1 1 0 0,1 1-1 0 0,0 0 1 0 0,0 0 0 0 0,0 0-1 0 0,0-1 1 0 0,0 1-1 0 0,1 0 1 0 0,-1 0-1 0 0,1 0 1 0 0,-1 0-1 0 0,1-1 1 0 0,0 1-1 0 0,1-3 1 0 0,1-1-9 0 0,0-2-2 0 0,0 1 0 0 0,1-1 0 0 0,0 1 0 0 0,0 0 0 0 0,1 0-1 0 0,0 1 1 0 0,0 0 0 0 0,0 0 0 0 0,12-11 0 0 0,0 4-25 0 0,-1 0-1 0 0,31-17 1 0 0,-25 19 13 0 0,0 1-1 0 0,1 2 1 0 0,-1 0-1 0 0,2 1 1 0 0,-1 2-1 0 0,1 0 1 0 0,29-2-1 0 0,40 3-46 0 0,-90 4 75 0 0,1 0-18 0 0,10-1 15 0 0,-10 0-22 0 0,-2 1 35 0 0,45-5 562 0 0,-45 4-334 0 0,1 0-35 0 0,12-15 1140 0 0,-15 16-1356 0 0,0 1-1 0 0,0-1 1 0 0,1 0 0 0 0,-1 0 0 0 0,0 0-1 0 0,0 0 1 0 0,0 0 0 0 0,0 0 0 0 0,0 0-1 0 0,0 0 1 0 0,0 0 0 0 0,0 1 0 0 0,0-1-1 0 0,1 0 1 0 0,-1 0 0 0 0,0 0 0 0 0,0 0-1 0 0,0 0 1 0 0,0 0 0 0 0,0 0 0 0 0,0 0 0 0 0,1 0-1 0 0,-1 0 1 0 0,0 0 0 0 0,0 0 0 0 0,0 0-1 0 0,0 0 1 0 0,0 0 0 0 0,0 0 0 0 0,1 0-1 0 0,-1 0 1 0 0,0 0 0 0 0,0 0 0 0 0,0 0-1 0 0,0 0 1 0 0,0 0 0 0 0,0 0 0 0 0,0 0-1 0 0,1 0 1 0 0,-1-1 0 0 0,0 1 0 0 0,0 0-1 0 0,0 0 1 0 0,0 0 0 0 0,0 0 0 0 0,0 0-1 0 0,6 11-26 0 0,-4-9 42 0 0,0-2-9 0 0,4 1-8 0 0,-1 0 0 0 0,0-1 1 0 0,1 1-1 0 0,-1-1 0 0 0,1 0 0 0 0,-1-1 1 0 0,0 0-1 0 0,1 0 0 0 0,-1 0 0 0 0,10-3 1 0 0,-12 3-49 0 0,1-1-1 0 0,-1 1 1 0 0,0-1 0 0 0,1 0 0 0 0,-1 0 0 0 0,0 0 0 0 0,0 0-1 0 0,0 0 1 0 0,-1-1 0 0 0,1 1 0 0 0,0-1 0 0 0,-1 0-1 0 0,0 0 1 0 0,0 0 0 0 0,0 0 0 0 0,3-6 0 0 0,-4 8 41 0 0,-1 0 0 0 0,0 0 0 0 0,0 0 0 0 0,0 0 0 0 0,0 1 1 0 0,0-1-1 0 0,0 0 0 0 0,0 0 0 0 0,0 0 0 0 0,0 0 0 0 0,-1 0 0 0 0,1 0 0 0 0,0 1 0 0 0,0-1 1 0 0,-1 0-1 0 0,1 0 0 0 0,-1 0 0 0 0,1 1 0 0 0,-1-1 0 0 0,1 0 0 0 0,-1 1 0 0 0,1-1 0 0 0,-1 0 1 0 0,0 1-1 0 0,1-1 0 0 0,-1 1 0 0 0,0-1 0 0 0,1 1 0 0 0,-1-1 0 0 0,0 1 0 0 0,0-1 1 0 0,-1 0-1 0 0,-25-9-141 0 0,17 8 166 0 0,0 1 0 0 0,0 0 0 0 0,0 1 0 0 0,0 0 0 0 0,0 0 0 0 0,0 1 0 0 0,1 1 0 0 0,-1 0 0 0 0,-15 4 0 0 0,5 1 144 0 0,0 1 0 0 0,0 0 0 0 0,-26 16 0 0 0,34-16-95 0 0,0 0-1 0 0,1 1 0 0 0,0 0 1 0 0,0 0-1 0 0,1 1 0 0 0,0 1 1 0 0,1 0-1 0 0,0 0 0 0 0,0 1 1 0 0,1 0-1 0 0,1 0 0 0 0,-9 21 1 0 0,14-28-47 0 0,-1 1 1 0 0,1 0-1 0 0,1 0 1 0 0,-1 0 0 0 0,1 0-1 0 0,0 0 1 0 0,0 0 0 0 0,1 0-1 0 0,-1 0 1 0 0,1 0-1 0 0,1 0 1 0 0,-1 1 0 0 0,1-1-1 0 0,0 0 1 0 0,1 0 0 0 0,-1 0-1 0 0,1 0 1 0 0,1-1-1 0 0,-1 1 1 0 0,1 0 0 0 0,0-1-1 0 0,0 0 1 0 0,0 0 0 0 0,1 0-1 0 0,0 0 1 0 0,0 0-1 0 0,0 0 1 0 0,0-1 0 0 0,1 0-1 0 0,0 0 1 0 0,6 4 0 0 0,-1-1-141 0 0,1 0 0 0 0,1-1 1 0 0,-1-1-1 0 0,1 1 1 0 0,0-2-1 0 0,0 0 1 0 0,1 0-1 0 0,-1-1 1 0 0,16 2-1 0 0,-10-3-132 0 0,1-2 0 0 0,-1 1 0 0 0,1-2 0 0 0,-1-1 0 0 0,34-6 0 0 0,-20 0-9 0 0,-1-2 1 0 0,0-1 0 0 0,-1-1 0 0 0,0-2 0 0 0,-1-1-1 0 0,52-35 1 0 0,-41 18 892 0 0,-1-1 0 0 0,-2-2 0 0 0,35-42 0 0 0,-49 56-207 0 0,-18 25-373 0 0,-5-4-45 0 0,1 0-1 0 0,-1 0 0 0 0,1 0 0 0 0,-1 1 1 0 0,1-1-1 0 0,-1 0 0 0 0,0 0 1 0 0,1 1-1 0 0,-1-1 0 0 0,1 0 1 0 0,-1 0-1 0 0,1 1 0 0 0,-1-1 0 0 0,0 0 1 0 0,1 1-1 0 0,-1-1 0 0 0,0 1 1 0 0,1-1-1 0 0,-1 0 0 0 0,0 1 1 0 0,0-1-1 0 0,1 1 0 0 0,-1-1 1 0 0,0 1-1 0 0,0 0 0 0 0,7 28 3 0 0,5 58 0 0 0,-6-34 44 0 0,4 11 800 0 0,-9-62-477 0 0,2-3-334 0 0,0 1 0 0 0,0-2-1 0 0,0 1 1 0 0,1 0 0 0 0,-2-1 0 0 0,1 1 0 0 0,0-1 0 0 0,0 0 0 0 0,0 0-1 0 0,-1 0 1 0 0,5-4 0 0 0,29-34 39 0 0,-16 16-25 0 0,-18 22-44 0 0,72-71 239 0 0,-65 65-238 0 0,1 0-1 0 0,1 0 0 0 0,-1 1 0 0 0,1 1 0 0 0,21-10 0 0 0,-13 12-17 0 0,-14 3 7 0 0,-4 1 3 0 0,1 0-1 0 0,-1 0 1 0 0,0 0 0 0 0,0 0-1 0 0,1 0 1 0 0,-1 0 0 0 0,0 0 0 0 0,0 1-1 0 0,1-1 1 0 0,-1 0 0 0 0,0 1-1 0 0,0-1 1 0 0,1 1 0 0 0,-1-1-1 0 0,0 1 1 0 0,0-1 0 0 0,0 1-1 0 0,1 1 1 0 0,2 0 0 0 0,0 1-44 0 0,1-1 0 0 0,-1 1 0 0 0,1 1 0 0 0,-1-1 1 0 0,0 0-1 0 0,-1 1 0 0 0,1 0 0 0 0,0 0 0 0 0,-1 0 0 0 0,0 0 0 0 0,3 6 0 0 0,3 6-748 0 0,12 31-1 0 0,-14-29 138 0 0,2 2-241 0 0,-5-8-211 0 0,1 1 0 0 0,1-1 0 0 0,0 0 0 0 0,1 0 0 0 0,0-1-1 0 0,0 0 1 0 0,18 19 0 0 0,-10-16-2096 0 0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0:57.4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6 149 1324 0 0,'1'-1'292'0'0,"14"-40"4149"0"0,-14 39-4132 0 0,0-1 1 0 0,-1 1-1 0 0,1-1 1 0 0,-1 0-1 0 0,0 1 0 0 0,0-1 1 0 0,0 0-1 0 0,0 1 0 0 0,0-1 1 0 0,0 0-1 0 0,-1 1 1 0 0,1-1-1 0 0,-2-3 0 0 0,1 5-185 0 0,0 0-1 0 0,0-1 1 0 0,0 1 0 0 0,0 0-1 0 0,0 0 1 0 0,0 0-1 0 0,0 0 1 0 0,-1 0-1 0 0,1 0 1 0 0,0 0 0 0 0,-1 0-1 0 0,1 1 1 0 0,0-1-1 0 0,-1 0 1 0 0,1 1-1 0 0,-1-1 1 0 0,1 1 0 0 0,-1 0-1 0 0,0-1 1 0 0,1 1-1 0 0,-1 0 1 0 0,-2 0 0 0 0,-1 0 81 0 0,-1 0 0 0 0,1 0 0 0 0,-1 0 0 0 0,-9 3 1 0 0,8-1-149 0 0,-1 1 0 0 0,1 0 0 0 0,-1 1 1 0 0,1-1-1 0 0,0 2 0 0 0,1-1 0 0 0,-1 1 1 0 0,1 0-1 0 0,-1 0 0 0 0,1 0 1 0 0,1 1-1 0 0,-1 0 0 0 0,1 0 0 0 0,0 1 1 0 0,1-1-1 0 0,-1 1 0 0 0,1 0 0 0 0,1 0 1 0 0,-1 1-1 0 0,1-1 0 0 0,1 1 0 0 0,-1 0 1 0 0,1-1-1 0 0,1 1 0 0 0,-2 16 0 0 0,2-21-149 0 0,2 1 0 0 0,-1 0 0 0 0,0-1 0 0 0,1 1-1 0 0,0-1 1 0 0,-1 1 0 0 0,2-1 0 0 0,-1 1 0 0 0,0-1-1 0 0,1 0 1 0 0,-1 0 0 0 0,1 1 0 0 0,0-1 0 0 0,0 0-1 0 0,0-1 1 0 0,0 1 0 0 0,4 3 0 0 0,-2-2-157 0 0,1-1 1 0 0,-1 1-1 0 0,1-1 1 0 0,0 0-1 0 0,0-1 1 0 0,0 1-1 0 0,1-1 1 0 0,-1 0-1 0 0,11 2 1 0 0,1 0-428 0 0,0-2 1 0 0,0 0 0 0 0,1-1-1 0 0,-1-1 1 0 0,0 0 0 0 0,18-4-1 0 0,-5-1 638 0 0,-1-1 0 0 0,0-2 0 0 0,0 0 0 0 0,-1-2-1 0 0,47-24 1 0 0,-18 2 2511 0 0,84-60 0 0 0,-125 81-2307 0 0,0-1-1 0 0,-1 0 1 0 0,-1-1 0 0 0,1-1 0 0 0,15-20-1 0 0,-30 33-153 0 0,1 1 0 0 0,-1-1 0 0 0,1 1 0 0 0,-1-1 0 0 0,0 1 0 0 0,1-1 0 0 0,-1 1 0 0 0,0-1 0 0 0,1 0 0 0 0,-1 1 0 0 0,0-1 0 0 0,0 1 0 0 0,0-1 0 0 0,0 0 0 0 0,1 1 0 0 0,-1-1 0 0 0,0 0 0 0 0,0 1 0 0 0,0-1 0 0 0,0 0 0 0 0,0 1 0 0 0,-1-1 0 0 0,1 1 0 0 0,0-1 0 0 0,0 0 0 0 0,0 1 0 0 0,-1-1 0 0 0,1 0 0 0 0,-1 0-3 0 0,0 1 0 0 0,0-1-1 0 0,1 0 1 0 0,-1 1 0 0 0,0-1-1 0 0,0 1 1 0 0,0 0 0 0 0,0-1-1 0 0,0 1 1 0 0,0 0 0 0 0,0-1 0 0 0,0 1-1 0 0,0 0 1 0 0,0 0 0 0 0,-2 0-1 0 0,-38 3 142 0 0,23 1-58 0 0,1 0 0 0 0,1 1 0 0 0,-1 1 0 0 0,-30 15 0 0 0,36-16-42 0 0,1 1 0 0 0,0 0-1 0 0,1 1 1 0 0,-1 0-1 0 0,1 1 1 0 0,1 0 0 0 0,-1 0-1 0 0,-9 13 1 0 0,16-18-39 0 0,0-1 0 0 0,1 1 1 0 0,-1-1-1 0 0,0 1 0 0 0,1 0 0 0 0,0 0 1 0 0,0 0-1 0 0,-1 0 0 0 0,2 0 0 0 0,-1 0 0 0 0,0 0 1 0 0,1 0-1 0 0,-1 0 0 0 0,1 0 0 0 0,0 0 1 0 0,0 1-1 0 0,0-1 0 0 0,1 0 0 0 0,-1 0 0 0 0,1 0 1 0 0,1 6-1 0 0,0-5-117 0 0,1 1 0 0 0,-1-1 1 0 0,1 0-1 0 0,0 0 0 0 0,0 0 0 0 0,0-1 0 0 0,1 1 1 0 0,-1-1-1 0 0,1 0 0 0 0,0 0 0 0 0,0 0 0 0 0,0 0 1 0 0,6 3-1 0 0,0-1-889 0 0,1 0 1 0 0,-1 0-1 0 0,1-1 0 0 0,0-1 1 0 0,0 0-1 0 0,20 3 0 0 0,-3-2-2532 0 0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1:56.5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0 73 660 0 0,'-9'-62'8217'0'0,"9"60"-7748"0"0,-4-5 777 0 0,3 5-652 0 0,-2 11-486 0 0,-20 82 1119 0 0,5 2-1 0 0,-10 125 1 0 0,18-128-884 0 0,-5 93-197 0 0,7-72-1226 0 0,1-46-739 0 0,4-39-1770 0 0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1:57.1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9 64 1296 0 0,'-87'-55'5926'0'0,"85"53"-5350"0"0,8 0-69 0 0,-6 2-489 0 0,0-1 0 0 0,1 1-1 0 0,-1 0 1 0 0,1-1 0 0 0,-1 1-1 0 0,0 0 1 0 0,1-1 0 0 0,-1 1-1 0 0,1 0 1 0 0,-1 0 0 0 0,1 0-1 0 0,-1-1 1 0 0,1 1 0 0 0,-1 0-1 0 0,1 0 1 0 0,-1 0 0 0 0,1 0-1 0 0,-1 0 1 0 0,1 0 0 0 0,-1 0-1 0 0,1 0 1 0 0,-1 0 0 0 0,1 0-1 0 0,-1 0 1 0 0,1 0 0 0 0,-1 0-1 0 0,1 1 1 0 0,273 25 1695 0 0,-44-2-1174 0 0,4-10 374 0 0,-46-3 2954 0 0,-170-10-3480 0 0,-12-1-319 0 0,0 0-1 0 0,0 1 0 0 0,0-1 1 0 0,0 2-1 0 0,10 2 0 0 0,-14-3-66 0 0,0 0 1 0 0,0 0-1 0 0,0 0 0 0 0,0 1 0 0 0,0-1 0 0 0,-1 1 1 0 0,1-1-1 0 0,0 1 0 0 0,-1 0 0 0 0,1-1 1 0 0,-1 1-1 0 0,1 0 0 0 0,-1 0 0 0 0,0 0 0 0 0,0 0 1 0 0,0 0-1 0 0,0 1 0 0 0,0 1 0 0 0,4 12 4 0 0,0-1 0 0 0,-2 1-1 0 0,0 0 1 0 0,1 24 0 0 0,-2 68 121 0 0,-2-71-14 0 0,-18 190 986 0 0,10-155 549 0 0,4-62-1060 0 0,-2-13-283 0 0,-4-13-177 0 0,9 11-151 0 0,0 0 0 0 0,0-1 0 0 0,0 1 0 0 0,0-1 0 0 0,1 1 0 0 0,0-1 0 0 0,0 1 0 0 0,1-1 0 0 0,0 1 0 0 0,2-10 0 0 0,3-5-96 0 0,12-29 0 0 0,-12 32 86 0 0,4-6-29 0 0,0 1-1 0 0,2 0 0 0 0,14-23 1 0 0,-20 36 28 0 0,1 1 1 0 0,-1-1 0 0 0,1 1-1 0 0,1 0 1 0 0,0 1 0 0 0,0 0-1 0 0,0 0 1 0 0,1 1-1 0 0,16-10 1 0 0,-22 15 22 0 0,0-1 1 0 0,0 1-1 0 0,0 0 1 0 0,0 0-1 0 0,0 0 0 0 0,0 1 1 0 0,1-1-1 0 0,-1 1 0 0 0,0 0 1 0 0,1 0-1 0 0,-1 0 0 0 0,0 0 1 0 0,0 1-1 0 0,1-1 0 0 0,-1 1 1 0 0,5 1-1 0 0,-2 0 0 0 0,-1 1-1 0 0,0 0 1 0 0,0 0 0 0 0,0 0-1 0 0,0 0 1 0 0,-1 1 0 0 0,1-1 0 0 0,6 9-1 0 0,1 2 5 0 0,-2 0-1 0 0,1 0 0 0 0,-2 1 1 0 0,0 1-1 0 0,8 20 0 0 0,21 68-876 0 0,-28-71-1156 0 0,2-2 0 0 0,21 43 0 0 0,-26-62 810 0 0,3 0-155 0 0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1:57.5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1 208 216 0 0,'2'-2'1615'0'0,"9"-20"1742"0"0,-7 13-2723 0 0,0 1 0 0 0,0 0 0 0 0,1 0 1 0 0,0 1-1 0 0,1-1 0 0 0,9-9 1 0 0,-8 10-403 0 0,0 0 0 0 0,0 0 0 0 0,-1-1 0 0 0,0 0 0 0 0,0 0 0 0 0,-1 0 0 0 0,0-1 0 0 0,6-14 0 0 0,-11 22-216 0 0,1 0 1 0 0,-1 0-1 0 0,1 0 1 0 0,-1 0-1 0 0,0 1 1 0 0,0-1-1 0 0,1 0 0 0 0,-1 0 1 0 0,0 0-1 0 0,0 0 1 0 0,0 0-1 0 0,0 0 1 0 0,0 0-1 0 0,0 0 1 0 0,0 0-1 0 0,0 0 1 0 0,-1 0-1 0 0,1 0 1 0 0,0 1-1 0 0,-1-1 0 0 0,1 0 1 0 0,0 0-1 0 0,-1 0 1 0 0,1 0-1 0 0,-1 0 1 0 0,1 1-1 0 0,-1-1 1 0 0,1 0-1 0 0,-1 1 1 0 0,0-1-1 0 0,0 0 1 0 0,1 1-1 0 0,-1-1 0 0 0,0 1 1 0 0,0-1-1 0 0,1 1 1 0 0,-1-1-1 0 0,0 1 1 0 0,0-1-1 0 0,0 1 1 0 0,0 0-1 0 0,0 0 1 0 0,0-1-1 0 0,0 1 1 0 0,1 0-1 0 0,-1 0 0 0 0,0 0 1 0 0,0 0-1 0 0,0 0 1 0 0,-2 0-1 0 0,-2 0 13 0 0,-1 0 0 0 0,1 1-1 0 0,-1-1 1 0 0,1 1 0 0 0,-1 0-1 0 0,-9 4 1 0 0,0 1 54 0 0,0 1 0 0 0,0 1 0 0 0,1 0 1 0 0,0 1-1 0 0,-21 17 0 0 0,30-22-30 0 0,0 0 0 0 0,0 1 1 0 0,1 0-1 0 0,0-1 0 0 0,0 1 1 0 0,0 1-1 0 0,0-1 0 0 0,1 1 0 0 0,0-1 1 0 0,0 1-1 0 0,1 0 0 0 0,-1 0 1 0 0,1 0-1 0 0,1 0 0 0 0,-1 0 0 0 0,1 1 1 0 0,-1 9-1 0 0,2-11-33 0 0,1 0 0 0 0,0-1 0 0 0,0 1 0 0 0,0 0 0 0 0,1-1 0 0 0,-1 1 0 0 0,1-1 0 0 0,0 0 0 0 0,0 1 0 0 0,1-1 0 0 0,-1 0 0 0 0,1 0 0 0 0,0-1 0 0 0,0 1 0 0 0,0-1 0 0 0,0 1 0 0 0,1-1 0 0 0,-1 0 0 0 0,1 0 0 0 0,0 0 0 0 0,0-1 0 0 0,8 5 0 0 0,7 2-494 0 0,0-1-1 0 0,0 0 1 0 0,35 8 0 0 0,-43-13-361 0 0,-1 0 0 0 0,0-1 0 0 0,1-1 0 0 0,-1 0 0 0 0,1 0 0 0 0,-1-1 0 0 0,1 0 0 0 0,19-3 0 0 0,-5-3-2023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5.4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3 186 1700 0 0,'-20'-95'5506'0'0,"17"85"-5189"0"0,0 0 1 0 0,-1 0-1 0 0,0 1 1 0 0,-1-1-1 0 0,0 1 1 0 0,0 0-1 0 0,-7-8 1 0 0,11 16-420 0 0,1 0 1 0 0,-1 1 0 0 0,1-1 0 0 0,-1 1 0 0 0,1-1 0 0 0,-1 1 0 0 0,0 0 0 0 0,1-1 0 0 0,-1 1 0 0 0,0 0 0 0 0,1-1 0 0 0,-1 1 0 0 0,0 0-1 0 0,0 0 1 0 0,1-1 0 0 0,-1 1 0 0 0,0 0 0 0 0,0 0 0 0 0,1 0 0 0 0,-1 0 0 0 0,0 0 0 0 0,0 0 0 0 0,1 0 0 0 0,-1 0 0 0 0,0 1 0 0 0,0-1 0 0 0,1 0-1 0 0,-1 0 1 0 0,0 1 0 0 0,1-1 0 0 0,-1 0 0 0 0,0 1 0 0 0,1-1 0 0 0,-1 0 0 0 0,0 1 0 0 0,1-1 0 0 0,-1 1 0 0 0,1-1 0 0 0,-1 1 0 0 0,1 0-1 0 0,-1-1 1 0 0,1 1 0 0 0,-1-1 0 0 0,1 1 0 0 0,0 0 0 0 0,-1-1 0 0 0,1 1 0 0 0,0 0 0 0 0,0 0 0 0 0,-1-1 0 0 0,1 1 0 0 0,0 0 0 0 0,0 0-1 0 0,0 1 1 0 0,2 10-1681 0 0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1:57.8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5 1 1808 0 0,'0'3'3563'0'0,"-8"46"-66"0"0,-16 55 0 0 0,7-40-2345 0 0,-12 61 697 0 0,-25 243 0 0 0,51-302-2241 0 0,-7 88-5476 0 0,9-152 5432 0 0,1-1-1 0 0,0 1 1 0 0,-1 0 0 0 0,1 0 0 0 0,-1-1-1 0 0,0 1 1 0 0,0 0 0 0 0,0-1-1 0 0,1 1 1 0 0,-3 2 0 0 0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04.2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1 30 1456 0 0,'-22'-4'2801'0'0,"-5"-1"2730"0"0,27 5-5509 0 0,0 0 1 0 0,0 0-1 0 0,0 0 0 0 0,1 0 136 0 0,-1 0-136 0 0,0 0 0 0 0,0-1 1 0 0,0 1-1 0 0,0 0 1 0 0,0 0-1 0 0,0 0 1 0 0,0 0-1 0 0,0 0 0 0 0,0 0 1 0 0,0 0-1 0 0,0 0 1 0 0,0 0-1 0 0,0 0 1 0 0,0 0-1 0 0,0 0 1 0 0,0 0-1 0 0,0-1 0 0 0,0 1 1 0 0,0 0-1 0 0,0 0 1 0 0,0 0-1 0 0,0 0 1 0 0,0 0-1 0 0,0 0 0 0 0,0 0 1 0 0,0 0-1 0 0,0 0 1 0 0,-1-1 179 0 0,1 1-180 0 0,0 0 1 0 0,0 0-1 0 0,0 0 0 0 0,0 0 1 0 0,0 0-1 0 0,0 0 1 0 0,0 0-1 0 0,0 0 1 0 0,0 0-1 0 0,0 0 1 0 0,0 0-1 0 0,0 0 0 0 0,-1 0 1 0 0,1 0-1 0 0,0 0 1 0 0,0 0-1 0 0,0 0 1 0 0,0 0-1 0 0,0 0 0 0 0,15-3-546 0 0,96-8 2331 0 0,181 7 1 0 0,-249 5-1591 0 0,75 3 195 0 0,140 21 0 0 0,-240-22-792 0 0,1 1-1 0 0,-1 1 0 0 0,1 1 0 0 0,-2 0 0 0 0,19 9 1 0 0,-26-7-1066 0 0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05.0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 0 128 0 0,'2'2'949'0'0,"5"4"-576"0"0,-1 0 0 0 0,0 0 0 0 0,-1 1 0 0 0,0-1 0 0 0,0 1 0 0 0,0 0 0 0 0,-1 1 0 0 0,0-1 0 0 0,0 1 1 0 0,-1 0-1 0 0,4 12 0 0 0,-2-1 169 0 0,0 0 1 0 0,-1 0-1 0 0,3 39 0 0 0,-7-46-278 0 0,1-1-1 0 0,-2 0 0 0 0,0 0 0 0 0,0 1 0 0 0,-1-1 1 0 0,-1 0-1 0 0,0 0 0 0 0,0-1 0 0 0,-1 1 0 0 0,0-1 1 0 0,-1 1-1 0 0,-6 9 0 0 0,9-17-106 0 0,-1-1 1 0 0,0 1-1 0 0,0 0 0 0 0,0-1 0 0 0,-1 0 1 0 0,1 0-1 0 0,-7 3 0 0 0,7-3 67 0 0,0-3-38 0 0,2 0-172 0 0,0 1 0 0 0,0 0 0 0 0,0-1 0 0 0,0 1 0 0 0,0 0 0 0 0,0-1 0 0 0,0 1 1 0 0,1-1-1 0 0,-1 0 0 0 0,0 1 0 0 0,0-1 0 0 0,0 0 0 0 0,1 1 0 0 0,-1-1 0 0 0,0 0 1 0 0,1 0-1 0 0,-1 0 0 0 0,1 0 0 0 0,-1 1 0 0 0,0-3 0 0 0,1 1 1 0 0,-1 0-1 0 0,1 0 0 0 0,0 0 0 0 0,0 0 1 0 0,0 0-1 0 0,0 0 0 0 0,0 0 0 0 0,0 0 1 0 0,0 0-1 0 0,1 0 0 0 0,0-3 1 0 0,2-3-3 0 0,0 1 1 0 0,0-1-1 0 0,1 1 1 0 0,0 0-1 0 0,1 0 1 0 0,-1 1-1 0 0,1-1 1 0 0,1 1-1 0 0,-1 0 1 0 0,10-8-1 0 0,6-4 4 0 0,39-25 0 0 0,-27 23-3 0 0,0 2 0 0 0,1 1 0 0 0,1 2 0 0 0,56-16 0 0 0,-13 10-35 0 0,82-11-1 0 0,-100 21 220 0 0,-63 13-207 0 0,-1-1-1 0 0,1 1 0 0 0,0-1 1 0 0,0 1-1 0 0,0 0 1 0 0,-4 4-1 0 0,-2 0-3 0 0,-16 9-20 0 0,0 2 0 0 0,-40 35 0 0 0,54-42 25 0 0,0 1 1 0 0,1 1 0 0 0,0 0-1 0 0,1 0 1 0 0,0 1-1 0 0,1 0 1 0 0,-8 18-1 0 0,13-26 10 0 0,2 0 1 0 0,-1 0-1 0 0,1 0 0 0 0,-1 0 0 0 0,1 0 0 0 0,1 0 0 0 0,-1 0 0 0 0,1 1 1 0 0,0-1-1 0 0,0 7 0 0 0,1-9 1 0 0,-1-1 0 0 0,0 0 1 0 0,1 0-1 0 0,-1 0 0 0 0,1 0 0 0 0,0-1 1 0 0,0 1-1 0 0,-1 0 0 0 0,1 0 0 0 0,1 0 1 0 0,-1 0-1 0 0,0-1 0 0 0,0 1 0 0 0,1-1 1 0 0,-1 1-1 0 0,0-1 0 0 0,1 1 0 0 0,0-1 1 0 0,-1 0-1 0 0,1 0 0 0 0,0 0 0 0 0,0 0 1 0 0,-1 0-1 0 0,1 0 0 0 0,0 0 0 0 0,0 0 1 0 0,0-1-1 0 0,3 1 0 0 0,2 0 6 0 0,-1 0 0 0 0,1 0 0 0 0,0-1-1 0 0,0 0 1 0 0,-1 0 0 0 0,1 0 0 0 0,0-1 0 0 0,-1 0 0 0 0,1-1-1 0 0,-1 1 1 0 0,1-1 0 0 0,9-4 0 0 0,-8 1 2 0 0,0 1 0 0 0,0-1 1 0 0,0-1-1 0 0,-1 1 0 0 0,1-1 1 0 0,-1-1-1 0 0,-1 1 0 0 0,7-9 1 0 0,6-11 18 0 0,-1-1-1 0 0,-1-1 1 0 0,-1 0 0 0 0,12-34 0 0 0,-18 41-16 0 0,4-10-340 0 0,-14 56 383 0 0,1 0 0 0 0,6 34-1 0 0,-5-51-1 0 0,0 0-1 0 0,0 0 0 0 0,0 0 1 0 0,1 0-1 0 0,0-1 0 0 0,0 1 0 0 0,1-1 1 0 0,0 0-1 0 0,0 0 0 0 0,1-1 0 0 0,9 11 1 0 0,-11-14-37 0 0,0 0 1 0 0,0 0 0 0 0,1-1-1 0 0,-1 0 1 0 0,1 1 0 0 0,-1-1 0 0 0,1 0-1 0 0,0-1 1 0 0,0 1 0 0 0,-1-1-1 0 0,1 0 1 0 0,0 0 0 0 0,0 0-1 0 0,1 0 1 0 0,3 0 0 0 0,-1-1-1 0 0,0-1-1 0 0,0 1 1 0 0,-1-1 0 0 0,1 0 0 0 0,0-1-1 0 0,-1 0 1 0 0,1 0 0 0 0,9-4 0 0 0,1-3 1 0 0,-1 0 0 0 0,1-1 0 0 0,-1-1 0 0 0,-1-1 0 0 0,21-20 0 0 0,-4 1 66 0 0,36-32 1126 0 0,-44 46-1008 0 0,-24 18-198 0 0,1 0-1 0 0,0-1 1 0 0,-1 1-1 0 0,1 0 0 0 0,-1-1 1 0 0,1 1-1 0 0,-1 0 1 0 0,1 0-1 0 0,-1 0 0 0 0,0-1 1 0 0,1 1-1 0 0,-1 0 0 0 0,0 0 1 0 0,0 0-1 0 0,1 0 1 0 0,-1 0-1 0 0,0 0 0 0 0,0 0 1 0 0,0-1-1 0 0,0 1 0 0 0,0 0 1 0 0,0 0-1 0 0,0 0 1 0 0,-1 2-1 0 0,-1 25 36 0 0,2-28-38 0 0,-30 181-269 0 0,3-62-5832 0 0,22-98 1604 0 0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05.4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 86 1112 0 0,'-4'-17'1692'0'0,"-1"3"-368"0"0,1 1-276 0 0,2 5-271 0 0,-2-2 307 0 0,-1-5-376 0 0,1 7-500 0 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05.8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420 0 0,'9'11'1506'0'0,"0"2"0"0"0,-1-1 0 0 0,10 21 0 0 0,-9-14-390 0 0,-1 1-1 0 0,-2 0 0 0 0,9 39 0 0 0,-7-14 1030 0 0,-3 1 0 0 0,-1 67 0 0 0,-4-113-2103 0 0,-1-1 0 0 0,1 1 0 0 0,0 0 0 0 0,0-1 0 0 0,0 1 0 0 0,-1 0 0 0 0,1 0 0 0 0,0-1 0 0 0,0 1 0 0 0,-1 0 0 0 0,1 0 0 0 0,0 0 0 0 0,0-1 0 0 0,-1 1 0 0 0,1 0 1 0 0,0 0-1 0 0,-1 0 0 0 0,1 0 0 0 0,0-1 0 0 0,-1 1 0 0 0,1 0 0 0 0,0 0 0 0 0,-1 0 0 0 0,1 0 0 0 0,0 0 0 0 0,-1 0 0 0 0,1 0 0 0 0,-1 0 0 0 0,1 0 0 0 0,0 0 0 0 0,-1 0 0 0 0,1 0 0 0 0,0 1 1 0 0,-1-1-1 0 0,1 0 0 0 0,0 0 0 0 0,-1 0 0 0 0,1 0 0 0 0,0 1 0 0 0,0-1 0 0 0,-1 0 0 0 0,1 0 0 0 0,0 0 0 0 0,0 1 0 0 0,-1-1 0 0 0,1 0 0 0 0,0 0 0 0 0,0 1 0 0 0,-1-1 0 0 0,1 0 1 0 0,0 1-1 0 0,0-1 0 0 0,0 0 0 0 0,0 1 0 0 0,0-1 0 0 0,0 0 0 0 0,-1 1 0 0 0,1-1 0 0 0,0 0 0 0 0,0 1 0 0 0,0-1 0 0 0,0 1 0 0 0,0-10-118 0 0,0 1 0 0 0,1-1 0 0 0,0 0 0 0 0,0 1 0 0 0,1-1 1 0 0,0 1-1 0 0,0 0 0 0 0,1 0 0 0 0,0 0 0 0 0,1 0 0 0 0,-1 0 0 0 0,2 0 0 0 0,-1 1 0 0 0,1 0 0 0 0,0 0 0 0 0,7-7 0 0 0,-5 5-34 0 0,0 1 0 0 0,1 0 0 0 0,0 1 0 0 0,0 0 0 0 0,1 0 0 0 0,0 1 0 0 0,0 0 0 0 0,0 0 0 0 0,1 1 0 0 0,0 0 0 0 0,0 1 0 0 0,14-5 0 0 0,-19 9 81 0 0,0-1 0 0 0,0 0-1 0 0,0 1 1 0 0,0 0-1 0 0,0 0 1 0 0,0 1 0 0 0,0 0-1 0 0,0-1 1 0 0,0 2 0 0 0,-1-1-1 0 0,1 0 1 0 0,0 1 0 0 0,0 0-1 0 0,-1 0 1 0 0,1 0 0 0 0,-1 1-1 0 0,0-1 1 0 0,0 1-1 0 0,5 5 1 0 0,6 5-1 0 0,0 2 0 0 0,-2 0 0 0 0,19 24 0 0 0,-3-2 5 0 0,-26-33 72 0 0,1 0 0 0 0,0 0 0 0 0,0 0 0 0 0,0 0 0 0 0,0-1 0 0 0,1 1 1 0 0,7 4-1 0 0,-10-8-35 0 0,0 1 1 0 0,0-1-1 0 0,0 1 0 0 0,1-1 1 0 0,-1 0-1 0 0,0 0 1 0 0,0 0-1 0 0,0 0 1 0 0,0 0-1 0 0,0 0 1 0 0,0 0-1 0 0,0-1 1 0 0,0 1-1 0 0,0-1 1 0 0,0 0-1 0 0,0 1 1 0 0,0-1-1 0 0,0 0 1 0 0,0 0-1 0 0,0 0 1 0 0,-1-1-1 0 0,4-1 1 0 0,12-12-81 0 0,-1 0 1 0 0,0-1 0 0 0,-1 0 0 0 0,0-2 0 0 0,-2 0-1 0 0,19-30 1 0 0,-7 10 18 0 0,45-65 249 0 0,-70 102-193 0 0,1 1 0 0 0,-1-1 1 0 0,0 1-1 0 0,0-1 0 0 0,1 1 1 0 0,-1-1-1 0 0,0 1 0 0 0,1 0 1 0 0,-1-1-1 0 0,1 1 1 0 0,-1-1-1 0 0,1 1 0 0 0,-1 0 1 0 0,0-1-1 0 0,1 1 0 0 0,-1 0 1 0 0,1 0-1 0 0,0-1 0 0 0,-1 1 1 0 0,1 0-1 0 0,0 0 0 0 0,5 7 246 0 0,-4 17-59 0 0,-8 223-527 0 0,6-221-783 0 0,0 22-1599 0 0,-3-14-4464 0 0,2-22 3438 0 0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06.2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 70 1528 0 0,'-7'-13'1376'0'0,"3"1"-328"0"0,0 2-208 0 0,-3 1 301 0 0,3-5-469 0 0,-3 2-236 0 0,38 14-5073 0 0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06.5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1052 0 0,'16'13'987'0'0,"-1"2"0"0"0,-1 0 1 0 0,0 0-1 0 0,-1 1 0 0 0,0 1 0 0 0,-2 0 1 0 0,0 1-1 0 0,16 34 0 0 0,-13-10 258 0 0,-1 1 1 0 0,-3 0-1 0 0,-1 1 0 0 0,5 85 0 0 0,-14-110 823 0 0,0-19-2049 0 0,0 0-1 0 0,0 0 0 0 0,0 0 1 0 0,-1 0-1 0 0,1 0 0 0 0,0 0 1 0 0,0 0-1 0 0,0 0 0 0 0,0 0 1 0 0,0 0-1 0 0,0 0 0 0 0,-1 0 1 0 0,1 0-1 0 0,0 0 1 0 0,0 0-1 0 0,0 0 0 0 0,0 0 1 0 0,0 0-1 0 0,0 0 0 0 0,-1 0 1 0 0,1 0-1 0 0,0 0 0 0 0,0 0 1 0 0,0 0-1 0 0,0 0 0 0 0,0 0 1 0 0,0 0-1 0 0,-1-1 1 0 0,1 1-1 0 0,0 0 0 0 0,0 0 1 0 0,0 0-1 0 0,0 0 0 0 0,0 0 1 0 0,0 0-1 0 0,0 0 0 0 0,0 0 1 0 0,0-1-1 0 0,0 1 0 0 0,0 0 1 0 0,0 0-1 0 0,-1 0 1 0 0,1 0-1 0 0,0 0 0 0 0,0 0 1 0 0,0-1-1 0 0,0 1 0 0 0,0 0 1 0 0,0 0-1 0 0,0 0 0 0 0,0 0 1 0 0,0 0-1 0 0,0 0 0 0 0,0-1 1 0 0,1 1-1 0 0,-2-3-34 0 0,0 1-1 0 0,0-1 0 0 0,0 0 0 0 0,1 0 1 0 0,0 0-1 0 0,-1 0 0 0 0,1 0 1 0 0,0 1-1 0 0,0-1 0 0 0,1-6 1 0 0,5-10-152 0 0,1 0 0 0 0,1 0-1 0 0,0 0 1 0 0,1 1 0 0 0,1 0 0 0 0,1 1 0 0 0,0 0 0 0 0,1 1 0 0 0,1 0 0 0 0,1 1 0 0 0,0 1-1 0 0,1 0 1 0 0,19-14 0 0 0,-31 26 137 0 0,0 0 0 0 0,0 0 0 0 0,0 0 0 0 0,0 1 0 0 0,0-1 0 0 0,0 1 0 0 0,1 0 0 0 0,-1 0 0 0 0,0 0 0 0 0,1 0-1 0 0,-1 1 1 0 0,1-1 0 0 0,-1 1 0 0 0,1 0 0 0 0,-1 0 0 0 0,0 0 0 0 0,1 1 0 0 0,-1-1 0 0 0,1 1 0 0 0,-1 0 0 0 0,1-1 0 0 0,-1 2 0 0 0,4 0 0 0 0,0 2-14 0 0,-1 0 0 0 0,1 0 0 0 0,-1 1-1 0 0,0-1 1 0 0,0 1 0 0 0,-1 1 0 0 0,1-1 0 0 0,-1 1 0 0 0,7 9 0 0 0,8 16-475 0 0,33 65 0 0 0,-8-12-1373 0 0,-43-80 1745 0 0,1 0 0 0 0,-1-1-1 0 0,1 0 1 0 0,0 1 0 0 0,0-1-1 0 0,0 0 1 0 0,0-1 0 0 0,1 1-1 0 0,-1 0 1 0 0,1-1 0 0 0,-1 0 0 0 0,1 0-1 0 0,0 0 1 0 0,8 3 0 0 0,-5-4-44 0 0,0 1 1 0 0,0-1-1 0 0,0 0 1 0 0,0 0 0 0 0,0-1-1 0 0,1 0 1 0 0,-1 0-1 0 0,10-2 1 0 0,-3-1 48 0 0,1 0 0 0 0,-1-1 0 0 0,1-1 0 0 0,-1 0-1 0 0,-1-1 1 0 0,1-1 0 0 0,-1 0 0 0 0,13-9 0 0 0,-12 5 184 0 0,0 0-1 0 0,-1 0 1 0 0,-1-1-1 0 0,0 0 1 0 0,0-2-1 0 0,13-19 1 0 0,-21 27 80 0 0,0-1 1 0 0,0 0-1 0 0,0 1 1 0 0,-1-1-1 0 0,0 0 0 0 0,-1-1 1 0 0,1 1-1 0 0,-1-1 1 0 0,-1 1-1 0 0,1-1 0 0 0,-1 1 1 0 0,-1-1-1 0 0,1 0 0 0 0,-1 1 1 0 0,-1-1-1 0 0,-2-14 1 0 0,2 19-96 0 0,0 0 0 0 0,0-1 1 0 0,0 1-1 0 0,0 0 0 0 0,-1 0 1 0 0,1 1-1 0 0,-1-1 1 0 0,0 0-1 0 0,0 0 0 0 0,0 1 1 0 0,0-1-1 0 0,-1 1 0 0 0,1 0 1 0 0,-1 0-1 0 0,1 0 0 0 0,-1 0 1 0 0,0 0-1 0 0,0 0 1 0 0,0 1-1 0 0,0-1 0 0 0,0 1 1 0 0,0 0-1 0 0,0 0 0 0 0,0 0 1 0 0,0 0-1 0 0,-1 1 1 0 0,1-1-1 0 0,-7 1 0 0 0,5 0 1 0 0,-1 1-1 0 0,1 0 1 0 0,0 1-1 0 0,-1-1 1 0 0,1 1-1 0 0,0 0 1 0 0,0 1-1 0 0,0-1 1 0 0,0 1 0 0 0,1 0-1 0 0,-1 0 1 0 0,1 0-1 0 0,0 1 1 0 0,0 0-1 0 0,0-1 1 0 0,0 1-1 0 0,-5 7 1 0 0,-1 6 22 0 0,1 0 1 0 0,0 0 0 0 0,2 0 0 0 0,0 1-1 0 0,0 0 1 0 0,2 1 0 0 0,-6 29-1 0 0,-8 141 409 0 0,15-120 57 0 0,3-56-448 0 0,-2 29 335 0 0,-2 0 1 0 0,-10 42 0 0 0,12-73-147 0 0,0 0 0 0 0,-1 1 0 0 0,0-1 0 0 0,-1-1 0 0 0,0 1 0 0 0,-1-1 0 0 0,0 0 0 0 0,0 0 0 0 0,-1 0 0 0 0,0-1 0 0 0,-1 0 0 0 0,-10 9 0 0 0,15-15-200 0 0,-1 0 0 0 0,1-1 0 0 0,0 1 0 0 0,-1-1 0 0 0,1 0 0 0 0,-1 0 0 0 0,0-1 0 0 0,0 1 0 0 0,1-1 0 0 0,-1 0 0 0 0,0 0 0 0 0,0 0 0 0 0,0 0 0 0 0,-1-1 0 0 0,1 1 0 0 0,0-1 0 0 0,0 0 0 0 0,0-1 0 0 0,0 1 0 0 0,0-1 0 0 0,0 1 0 0 0,0-1 0 0 0,0 0 0 0 0,0-1 0 0 0,0 1 0 0 0,0-1 0 0 0,1 0 0 0 0,-1 0 0 0 0,0 0 0 0 0,1 0 0 0 0,0 0 0 0 0,-1-1 0 0 0,1 0 0 0 0,0 1 1 0 0,0-1-1 0 0,1 0 0 0 0,-1-1 0 0 0,1 1 0 0 0,-1 0 0 0 0,1-1 0 0 0,0 1 0 0 0,0-1 0 0 0,1 0 0 0 0,-1 0 0 0 0,1 1 0 0 0,0-1 0 0 0,0 0 0 0 0,0 0 0 0 0,0-5 0 0 0,-1-7-314 0 0,1 1 1 0 0,1-1-1 0 0,0 1 1 0 0,1-1-1 0 0,1 1 1 0 0,0 0-1 0 0,1 0 1 0 0,1 0-1 0 0,0 0 1 0 0,11-25-1 0 0,-3 15-1424 0 0,0 1 0 0 0,2 0-1 0 0,0 1 1 0 0,2 1 0 0 0,22-27-1 0 0,-18 27-2708 0 0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07.6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1 104 580 0 0,'0'-1'119'0'0,"0"-1"0"0"0,1 1 0 0 0,-1 0 0 0 0,1 0 0 0 0,-1 0 1 0 0,1 0-1 0 0,0 0 0 0 0,0 0 0 0 0,-1 0 0 0 0,1 0 0 0 0,0 0 0 0 0,0 0 0 0 0,0 1 0 0 0,0-1 0 0 0,0 0 0 0 0,0 0 0 0 0,0 1 0 0 0,0-1 1 0 0,0 1-1 0 0,0-1 0 0 0,0 1 0 0 0,0-1 0 0 0,1 1 0 0 0,-1 0 0 0 0,0 0 0 0 0,0-1 0 0 0,0 1 0 0 0,1 0 0 0 0,-1 0 0 0 0,0 0 0 0 0,0 0 1 0 0,1 0-1 0 0,-1 1 0 0 0,0-1 0 0 0,0 0 0 0 0,0 1 0 0 0,0-1 0 0 0,1 0 0 0 0,-1 1 0 0 0,0-1 0 0 0,0 1 0 0 0,0 0 0 0 0,0-1 0 0 0,0 1 1 0 0,0 0-1 0 0,0 0 0 0 0,0 0 0 0 0,1 1 0 0 0,2 2 124 0 0,0 1-1 0 0,0 0 1 0 0,-1 0 0 0 0,1 0-1 0 0,-1 0 1 0 0,0 0-1 0 0,-1 1 1 0 0,5 9 0 0 0,-3 3 27 0 0,0-1 0 0 0,-2 1-1 0 0,1-1 1 0 0,-2 1 0 0 0,-1 0 0 0 0,0-1 0 0 0,-1 1 0 0 0,-1 0 0 0 0,0 0 0 0 0,-1-1-1 0 0,-2 0 1 0 0,1 0 0 0 0,-2 0 0 0 0,0 0 0 0 0,-12 22 0 0 0,4-14-11 0 0,0 0-1 0 0,-2-1 1 0 0,0-1 0 0 0,-1 0 0 0 0,-2-2 0 0 0,0 0-1 0 0,-1-1 1 0 0,-44 34 0 0 0,52-46-181 0 0,0 1-1 0 0,0-2 1 0 0,-1 0 0 0 0,0 0 0 0 0,0-1-1 0 0,0-1 1 0 0,-1 0 0 0 0,-23 5-1 0 0,35-10-91 0 0,1 0-1 0 0,-1 0 0 0 0,1 0 1 0 0,-1 0-1 0 0,1 0 0 0 0,-1 0 0 0 0,1 0 1 0 0,-1 0-1 0 0,1 0 0 0 0,-1-1 1 0 0,1 1-1 0 0,-1-1 0 0 0,1 1 0 0 0,0-1 1 0 0,-3-1-1 0 0,-1 0-54 0 0,3 1 25 0 0,1 1 0 0 0,-1-1 0 0 0,0 0 0 0 0,1 1 0 0 0,-1-1 1 0 0,0 0-1 0 0,1 0 0 0 0,-1 0 0 0 0,1 0 0 0 0,-1-1 0 0 0,1 1 0 0 0,0 0 0 0 0,0 0 1 0 0,-1-1-1 0 0,1 1 0 0 0,0-1 0 0 0,0 1 0 0 0,0-1 0 0 0,1 1 0 0 0,-1-1 0 0 0,0 0 1 0 0,1 0-1 0 0,-1 1 0 0 0,1-1 0 0 0,-1 0 0 0 0,1 0 0 0 0,0 1 0 0 0,0-1 0 0 0,-1 0 1 0 0,1 0-1 0 0,1 0 0 0 0,-1 0 0 0 0,0 1 0 0 0,0-1 0 0 0,1 0 0 0 0,-1 0 0 0 0,1 1 0 0 0,-1-1 1 0 0,2-3-1 0 0,1 0-51 0 0,-1-1 0 0 0,1 0 1 0 0,0 1-1 0 0,0 0 0 0 0,0 0 1 0 0,1 0-1 0 0,0 0 0 0 0,0 0 1 0 0,0 1-1 0 0,7-7 1 0 0,-3 7 40 0 0,0-1 0 0 0,-1 1 1 0 0,2 0-1 0 0,-1 1 1 0 0,0-1-1 0 0,1 2 0 0 0,-1-1 1 0 0,1 1-1 0 0,0 1 1 0 0,0-1-1 0 0,0 2 0 0 0,0-1 1 0 0,0 1-1 0 0,0 0 1 0 0,-1 1-1 0 0,15 3 1 0 0,12 4 40 0 0,0 1 0 0 0,62 25 0 0 0,-40-12 29 0 0,-49-19-18 0 0,31 11 92 0 0,0-2 0 0 0,1-1 0 0 0,66 9-1 0 0,-95-18-54 0 0,-1-1 0 0 0,1-1 0 0 0,0 0-1 0 0,0-1 1 0 0,0 0 0 0 0,-1 0-1 0 0,1-1 1 0 0,0-1 0 0 0,-1 0-1 0 0,0 0 1 0 0,1-1 0 0 0,-2 0-1 0 0,1-1 1 0 0,0 0 0 0 0,-1-1-1 0 0,0 1 1 0 0,0-2 0 0 0,16-14-1 0 0,-14 10-1 0 0,-1-1 0 0 0,0-1-1 0 0,10-16 1 0 0,-17 24-31 0 0,1-1 0 0 0,-1 0 0 0 0,0-1 0 0 0,-1 1 1 0 0,1 0-1 0 0,-1-1 0 0 0,-1 1 0 0 0,1-1 0 0 0,-1 0 0 0 0,1-7 0 0 0,-2 13-4 0 0,-1 0 0 0 0,1-1-1 0 0,0 1 1 0 0,0 0 0 0 0,0 0-1 0 0,-1-1 1 0 0,1 1 0 0 0,-1 0-1 0 0,1 0 1 0 0,-1 0 0 0 0,1 0-1 0 0,-1 0 1 0 0,0 0 0 0 0,1 0-1 0 0,-1 0 1 0 0,0 0 0 0 0,0 0-1 0 0,0 0 1 0 0,0 0 0 0 0,0 0-1 0 0,0 1 1 0 0,0-1 0 0 0,0 0-1 0 0,0 1 1 0 0,0-1 0 0 0,0 1-1 0 0,0-1 1 0 0,-1 1 0 0 0,1-1-1 0 0,0 1 1 0 0,-3 0 0 0 0,-2-2-7 0 0,0 2 1 0 0,-1-1 0 0 0,1 1 0 0 0,-10 1-1 0 0,15-1 10 0 0,-10 1-8 0 0,0 1 1 0 0,0 1-1 0 0,1-1 1 0 0,-1 2-1 0 0,1-1 1 0 0,-1 2-1 0 0,1-1 1 0 0,1 1-1 0 0,-1 1 1 0 0,1 0-1 0 0,-1 0 1 0 0,2 1-1 0 0,-1 0 1 0 0,1 0-1 0 0,0 1 1 0 0,0 0-1 0 0,1 1 1 0 0,-10 15 0 0 0,15-21 13 0 0,1-1 0 0 0,0 0 0 0 0,0 1 1 0 0,0-1-1 0 0,0 1 0 0 0,0-1 0 0 0,0 1 1 0 0,1-1-1 0 0,-1 1 0 0 0,1-1 1 0 0,0 1-1 0 0,0 0 0 0 0,0-1 0 0 0,0 1 1 0 0,0-1-1 0 0,1 1 0 0 0,0 4 0 0 0,0-5 3 0 0,1 0-1 0 0,-1 0 0 0 0,0 0 1 0 0,0 0-1 0 0,1 0 0 0 0,-1 0 0 0 0,1 0 1 0 0,0-1-1 0 0,-1 1 0 0 0,1-1 0 0 0,0 1 1 0 0,0-1-1 0 0,0 0 0 0 0,0 0 1 0 0,0 0-1 0 0,3 1 0 0 0,2 1 7 0 0,1-1 0 0 0,-1 0 1 0 0,1-1-1 0 0,0 1 0 0 0,-1-1 0 0 0,1-1 0 0 0,0 0 0 0 0,0 0 0 0 0,-1 0 0 0 0,13-3 1 0 0,1-3 4 0 0,-1-1 0 0 0,-1 0 0 0 0,1-1 0 0 0,-1-2 0 0 0,33-20 0 0 0,-2 0 89 0 0,-45 28-118 0 0,6-3 13 0 0,-10 6-2 0 0,-1 1 0 0 0,0-1 0 0 0,0 1 0 0 0,0-1 0 0 0,0 1 0 0 0,0-1 0 0 0,0 1 0 0 0,-1-1 0 0 0,1 1 0 0 0,0-1 0 0 0,-2 3 0 0 0,-3 8 116 0 0,-1 1 1 0 0,2 1-1 0 0,0-1 1 0 0,1 1-1 0 0,-3 18 0 0 0,5-28-59 0 0,1 0-1 0 0,0 0 0 0 0,0 0 0 0 0,0 0 0 0 0,0 0 0 0 0,0 0 1 0 0,1-1-1 0 0,0 1 0 0 0,0 0 0 0 0,0 0 0 0 0,0 0 1 0 0,0 0-1 0 0,1-1 0 0 0,0 1 0 0 0,0-1 0 0 0,0 1 0 0 0,0-1 1 0 0,0 0-1 0 0,1 0 0 0 0,-1 0 0 0 0,1 0 0 0 0,0 0 1 0 0,4 3-1 0 0,-3-4-20 0 0,0 0 0 0 0,-1-1 0 0 0,1 1 1 0 0,0-1-1 0 0,0 0 0 0 0,0 0 0 0 0,0 0 1 0 0,-1-1-1 0 0,1 1 0 0 0,0-1 0 0 0,8 0 0 0 0,-6-1-9 0 0,1 1 0 0 0,0-1-1 0 0,0-1 1 0 0,0 1 0 0 0,-1-1-1 0 0,8-3 1 0 0,-4 1-25 0 0,1-2 0 0 0,-1 0 1 0 0,0 0-1 0 0,-1 0 0 0 0,0-1 0 0 0,0-1 1 0 0,0 0-1 0 0,-1 0 0 0 0,8-10 0 0 0,-5 4-129 0 0,0-2-1 0 0,-1 0 0 0 0,-1 0 0 0 0,14-35 0 0 0,-6 3-149 0 0,-2-2-1 0 0,-3 0 0 0 0,7-56 1 0 0,-3 9-17 0 0,18-141 1698 0 0,-36 230-578 0 0,-4 14-629 0 0,-7 20-116 0 0,2 17 50 0 0,2 1 1 0 0,3 0-1 0 0,1 0 0 0 0,0 63 0 0 0,22 182-1202 0 0,-9-186-1046 0 0,-6-77 1030 0 0,2 21-1406 0 0,-3-17-2145 0 0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08.0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286 1036 0 0,'-1'-2'1094'0'0,"-8"-16"722"0"0,9 17-1749 0 0,0 1 0 0 0,-1-1 0 0 0,1 0-1 0 0,0 0 1 0 0,0 0 0 0 0,0 0 0 0 0,-1 0-1 0 0,1 0 1 0 0,0 0 0 0 0,0 0-1 0 0,0 0 1 0 0,1 0 0 0 0,-1 0 0 0 0,0 0-1 0 0,0 1 1 0 0,0-1 0 0 0,1 0-1 0 0,-1 0 1 0 0,0 0 0 0 0,1 0 0 0 0,-1 0-1 0 0,1 0 1 0 0,-1 1 0 0 0,1-2 0 0 0,7-3 193 0 0,-1-1 0 0 0,1 2 0 0 0,-1-1 1 0 0,1 1-1 0 0,1 0 0 0 0,-1 0 1 0 0,11-2-1 0 0,69-16 944 0 0,-55 14-814 0 0,0 0-2 0 0,140-38 1277 0 0,-147 37-1276 0 0,0-1-1 0 0,-1-2 1 0 0,0 0-1 0 0,34-23 1 0 0,-57 34-347 0 0,0-1 1 0 0,0 0 0 0 0,0 1-1 0 0,0-1 1 0 0,0 0 0 0 0,0 0 0 0 0,-1 0-1 0 0,1-1 1 0 0,-1 1 0 0 0,1 0-1 0 0,-1 0 1 0 0,0-1 0 0 0,2-3 0 0 0,-4 5-38 0 0,1 1 0 0 0,0-1 1 0 0,-1 0-1 0 0,1 1 1 0 0,0-1-1 0 0,-1 1 1 0 0,1-1-1 0 0,0 1 1 0 0,-1-1-1 0 0,1 1 0 0 0,-1-1 1 0 0,1 1-1 0 0,-1-1 1 0 0,1 1-1 0 0,-1 0 1 0 0,1-1-1 0 0,-1 1 0 0 0,0 0 1 0 0,1-1-1 0 0,-1 1 1 0 0,1 0-1 0 0,-1 0 1 0 0,0-1-1 0 0,1 1 1 0 0,-1 0-1 0 0,0 0 0 0 0,1 0 1 0 0,-1 0-1 0 0,0 0 1 0 0,1 0-1 0 0,-2 0 1 0 0,-15 2-14 0 0,0-1 1 0 0,0 2-1 0 0,0 0 1 0 0,0 1-1 0 0,1 1 0 0 0,0 0 1 0 0,0 2-1 0 0,0-1 1 0 0,-22 15-1 0 0,18-10-4 0 0,1 2-1 0 0,0 0 1 0 0,1 1-1 0 0,1 1 0 0 0,0 1 1 0 0,-28 34-1 0 0,30-26 26 0 0,15-23-8 0 0,-1 0 1 0 0,1 0-1 0 0,-1 0 0 0 0,1 0 0 0 0,-1 0 0 0 0,1 0 0 0 0,0 0 0 0 0,-1 0 0 0 0,1 0 0 0 0,0 0 0 0 0,0 0 0 0 0,0 1 0 0 0,0-1 0 0 0,0 0 0 0 0,0 0 0 0 0,0 0 0 0 0,0 0 0 0 0,0 0 0 0 0,1 0 0 0 0,-1 0 0 0 0,0 1 0 0 0,1-1 1 0 0,-1 0-1 0 0,2 1 0 0 0,1 0 3 0 0,-1 0 1 0 0,1 0 0 0 0,0 0-1 0 0,0-1 1 0 0,1 1 0 0 0,-1-1-1 0 0,0 0 1 0 0,0 0 0 0 0,1 0-1 0 0,-1-1 1 0 0,0 1 0 0 0,1-1-1 0 0,-1 0 1 0 0,1 0 0 0 0,-1 0-1 0 0,0 0 1 0 0,1 0 0 0 0,-1-1-1 0 0,0 0 1 0 0,6-1 0 0 0,14-4 66 0 0,41-17 1 0 0,-43 15 6 0 0,24-10 222 0 0,-26 10-3 0 0,2 0 0 0 0,33-8 0 0 0,-52 16-285 0 0,-1 0 0 0 0,1 0 0 0 0,0 0 0 0 0,-1 0 0 0 0,1 0 0 0 0,0 0-1 0 0,-1 0 1 0 0,1 1 0 0 0,0-1 0 0 0,-1 1 0 0 0,1-1 0 0 0,-1 1 0 0 0,1-1-1 0 0,-1 1 1 0 0,1 0 0 0 0,-1 0 0 0 0,1 0 0 0 0,-1 0 0 0 0,0 0 0 0 0,0 0-1 0 0,1 0 1 0 0,-1 1 0 0 0,0-1 0 0 0,0 0 0 0 0,0 1 0 0 0,0-1 0 0 0,0 0-1 0 0,0 3 1 0 0,3 3 15 0 0,-1 0 1 0 0,0 1-1 0 0,-1-1 0 0 0,3 11 0 0 0,-4-14-5 0 0,4 21-580 0 0,-1 1 0 0 0,2 43-1 0 0,-5 12-5742 0 0,-1-64 3931 0 0,0-1-1203 0 0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08.9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99 30 1056 0 0,'-2'-29'5212'0'0,"2"46"-3580"0"0,-3 10-677 0 0,-1 0-1 0 0,-2 0 1 0 0,-12 41-1 0 0,-38 75 971 0 0,43-114-1558 0 0,-2-1 0 0 0,-1-1 0 0 0,-1 0 0 0 0,-1-1 0 0 0,-1-1 0 0 0,-25 25 0 0 0,27-33-181 0 0,-1 0 0 0 0,0-2-1 0 0,-1 0 1 0 0,-1-1 0 0 0,0-1-1 0 0,-1-1 1 0 0,0-1-1 0 0,-38 15 1 0 0,54-24-203 0 0,-1-1 1 0 0,0 1-1 0 0,0-1 0 0 0,-1 0 1 0 0,1 0-1 0 0,0-1 0 0 0,0 1 0 0 0,0-1 1 0 0,0-1-1 0 0,0 1 0 0 0,-1-1 1 0 0,1 0-1 0 0,0-1 0 0 0,0 1 1 0 0,-5-4-1 0 0,7 4-76 0 0,1-1 1 0 0,-1 0-1 0 0,1 0 1 0 0,0 0-1 0 0,0-1 0 0 0,0 1 1 0 0,0-1-1 0 0,1 1 1 0 0,-1-1-1 0 0,1 0 0 0 0,-1 0 1 0 0,1 0-1 0 0,0-1 0 0 0,0 1 1 0 0,0 0-1 0 0,1-1 1 0 0,-1 1-1 0 0,1-1 0 0 0,0 0 1 0 0,0 1-1 0 0,0-1 1 0 0,0 0-1 0 0,1 0 0 0 0,-1-6 1 0 0,2 1-50 0 0,-1 0 0 0 0,1-1 1 0 0,1 1-1 0 0,0 0 0 0 0,0 0 0 0 0,0 0 1 0 0,2 1-1 0 0,-1-1 0 0 0,1 1 1 0 0,0-1-1 0 0,0 1 0 0 0,1 0 1 0 0,0 1-1 0 0,1-1 0 0 0,0 1 0 0 0,12-12 1 0 0,-13 14 102 0 0,0 0 1 0 0,1 0 0 0 0,-1 1 0 0 0,1 0 0 0 0,0 0-1 0 0,1 0 1 0 0,-1 1 0 0 0,1-1 0 0 0,-1 2-1 0 0,1-1 1 0 0,0 1 0 0 0,0 0 0 0 0,0 0-1 0 0,0 1 1 0 0,0 0 0 0 0,1 0 0 0 0,-1 1-1 0 0,0 0 1 0 0,0 0 0 0 0,1 0 0 0 0,11 4-1 0 0,8 5 137 0 0,0 2-1 0 0,0 1 0 0 0,-1 1 1 0 0,39 26-1 0 0,35 18 429 0 0,-86-50-419 0 0,1-1 0 0 0,0 0 1 0 0,0-1-1 0 0,0-1 0 0 0,19 3 1 0 0,-23-6-73 0 0,0-1 1 0 0,0 0 0 0 0,0 0 0 0 0,0-1 0 0 0,0 0-1 0 0,-1-1 1 0 0,1-1 0 0 0,0 0 0 0 0,-1 0 0 0 0,1-1-1 0 0,-1 0 1 0 0,0 0 0 0 0,11-9 0 0 0,-7 5-31 0 0,0-1 0 0 0,-1-1 0 0 0,0 0 0 0 0,-1-1 0 0 0,-1 0 0 0 0,1-1 0 0 0,-2-1 0 0 0,12-16 0 0 0,-22 29-7 0 0,0 0 1 0 0,0 0-1 0 0,1 0 1 0 0,-1 0-1 0 0,0 0 1 0 0,0 0 0 0 0,0 0-1 0 0,0 0 1 0 0,0 0-1 0 0,0 0 1 0 0,1 0-1 0 0,-1 0 1 0 0,0 0-1 0 0,0-1 1 0 0,0 1 0 0 0,0 0-1 0 0,0 0 1 0 0,0 0-1 0 0,0 0 1 0 0,0 0-1 0 0,0 0 1 0 0,1 0-1 0 0,-1-1 1 0 0,0 1 0 0 0,0 0-1 0 0,0 0 1 0 0,0 0-1 0 0,0 0 1 0 0,0 0-1 0 0,0 0 1 0 0,0-1-1 0 0,0 1 1 0 0,0 0 0 0 0,0 0-1 0 0,0 0 1 0 0,0 0-1 0 0,0 0 1 0 0,0-1-1 0 0,0 1 1 0 0,0 0-1 0 0,0 0 1 0 0,0 0 0 0 0,0 0-1 0 0,-1 0 1 0 0,1 0-1 0 0,0-1 1 0 0,0 1-1 0 0,0 0 1 0 0,0 0-1 0 0,0 0 1 0 0,0 0 0 0 0,0 0-1 0 0,0 0 1 0 0,0 0-1 0 0,-1-1 1 0 0,-8 7-33 0 0,-14 12-19 0 0,18-13 99 0 0,1-1 1 0 0,1 1 0 0 0,-1 0 0 0 0,1 1 0 0 0,-1-1 0 0 0,2 1 0 0 0,-1-1 0 0 0,0 1-1 0 0,1 0 1 0 0,0 0 0 0 0,1 0 0 0 0,-1 0 0 0 0,1 0 0 0 0,0 0 0 0 0,1 0-1 0 0,-1 1 1 0 0,1-1 0 0 0,1 0 0 0 0,-1 0 0 0 0,1 0 0 0 0,0 1 0 0 0,0-1-1 0 0,1 0 1 0 0,0 0 0 0 0,0 0 0 0 0,0-1 0 0 0,1 1 0 0 0,-1 0 0 0 0,1-1 0 0 0,1 0-1 0 0,-1 0 1 0 0,1 0 0 0 0,0 0 0 0 0,0 0 0 0 0,1-1 0 0 0,-1 0 0 0 0,10 7-1 0 0,-7-6 39 0 0,0-1-1 0 0,0 0 0 0 0,0 0 0 0 0,0-1 0 0 0,1 0 0 0 0,-1-1 1 0 0,1 1-1 0 0,0-1 0 0 0,0-1 0 0 0,0 1 0 0 0,0-2 1 0 0,0 1-1 0 0,0-1 0 0 0,14-1 0 0 0,-17 0-51 0 0,0 0 1 0 0,0 0-1 0 0,0 0 0 0 0,0-1 0 0 0,0 0 1 0 0,0 0-1 0 0,-1 0 0 0 0,1-1 1 0 0,0 1-1 0 0,-1-1 0 0 0,0 0 1 0 0,0-1-1 0 0,0 1 0 0 0,0-1 0 0 0,0 1 1 0 0,-1-1-1 0 0,1 0 0 0 0,-1-1 1 0 0,0 1-1 0 0,-1 0 0 0 0,1-1 0 0 0,-1 0 1 0 0,3-6-1 0 0,-1 1-15 0 0,-1 0 0 0 0,0 0 0 0 0,-1 0 0 0 0,0 0 0 0 0,-1 0 0 0 0,0-1 0 0 0,-1 1 0 0 0,1 0 0 0 0,-2-1-1 0 0,-2-17 1 0 0,2 24-193 0 0,0-1-1 0 0,0 0 1 0 0,-1 1-1 0 0,1-1 1 0 0,-1 1-1 0 0,0 0 0 0 0,0-1 1 0 0,-1 1-1 0 0,1 0 1 0 0,-1 0-1 0 0,0 1 1 0 0,0-1-1 0 0,0 1 0 0 0,-1-1 1 0 0,1 1-1 0 0,-1 0 1 0 0,1 0-1 0 0,-1 0 1 0 0,0 1-1 0 0,0-1 1 0 0,-1 1-1 0 0,1 0 0 0 0,0 0 1 0 0,-9-2-1 0 0,9 3-140 0 0,1 1 0 0 0,-1-1 0 0 0,0 1 0 0 0,0 0 0 0 0,1 0 0 0 0,-1 0 0 0 0,0 1 0 0 0,0-1 1 0 0,-5 2-1 0 0,-9 6-4494 0 0,3 2 1448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5.9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41 1464 0 0,'3'0'1625'0'0,"4"-2"-737"0"0,1 0-1 0 0,0 1 1 0 0,0 0 0 0 0,0 1-1 0 0,0 0 1 0 0,15 1 0 0 0,-18 1-729 0 0,0 0 1 0 0,0 0-1 0 0,0 0 1 0 0,0 0-1 0 0,-1 1 1 0 0,1-1-1 0 0,-1 1 1 0 0,1 1-1 0 0,-1-1 0 0 0,0 0 1 0 0,0 1-1 0 0,0 0 1 0 0,-1 0-1 0 0,1 0 1 0 0,-1 1-1 0 0,4 6 1 0 0,2 7 168 0 0,0 0 0 0 0,-1 1 0 0 0,6 21 0 0 0,7 16 67 0 0,-14-22 562 0 0,-6-31-386 0 0,-1-3-547 0 0,0 0 0 0 0,0 0 0 0 0,0 0 0 0 0,1 0 0 0 0,-1 0 1 0 0,0 0-1 0 0,0 1 0 0 0,0-1 0 0 0,0 0 0 0 0,1 0 0 0 0,-1 0 0 0 0,0 0 0 0 0,0 0 1 0 0,0 0-1 0 0,0 1 0 0 0,0-1 0 0 0,1 0 0 0 0,-1 0 0 0 0,0 0 0 0 0,0 1 0 0 0,0-1 1 0 0,0 0-1 0 0,0 0 0 0 0,0 0 0 0 0,0 0 0 0 0,0 1 0 0 0,0-1 0 0 0,0 0 1 0 0,0 0-1 0 0,0 0 0 0 0,0 1 0 0 0,0-1 0 0 0,0 0 0 0 0,0 0 0 0 0,0 0 0 0 0,0 1 1 0 0,0-1-1 0 0,0 0 0 0 0,0 0 0 0 0,0 0 0 0 0,0 1 0 0 0,0-1 0 0 0,0 0 0 0 0,0 0 1 0 0,0 0-1 0 0,-1 1 0 0 0,0-1 457 0 0,2-11-198 0 0,1 3-369 0 0,0-1 1 0 0,1 1-1 0 0,-1 0 1 0 0,2 0-1 0 0,-1 0 1 0 0,1 0-1 0 0,0 1 1 0 0,0-1 0 0 0,1 1-1 0 0,0 0 1 0 0,1 0-1 0 0,0 1 1 0 0,-1 0-1 0 0,2 0 1 0 0,-1 0-1 0 0,1 1 1 0 0,8-6-1 0 0,-12 9 61 0 0,1 1-1 0 0,-1-1 1 0 0,0 1-1 0 0,1 0 1 0 0,-1 0-1 0 0,1 0 1 0 0,-1 0 0 0 0,1 0-1 0 0,-1 1 1 0 0,1-1-1 0 0,-1 1 1 0 0,1 0-1 0 0,0 1 1 0 0,-1-1 0 0 0,1 0-1 0 0,-1 1 1 0 0,1 0-1 0 0,-1 0 1 0 0,1 0-1 0 0,-1 0 1 0 0,0 1 0 0 0,1-1-1 0 0,-1 1 1 0 0,0 0-1 0 0,3 2 1 0 0,8 6 6 0 0,0 1 1 0 0,-1 1-1 0 0,-1 0 1 0 0,13 15-1 0 0,3 3 11 0 0,-2-2 23 0 0,-20-21 8 0 0,0 1 1 0 0,1-1-1 0 0,1 0 1 0 0,-1-1 0 0 0,14 10-1 0 0,-18-15-15 0 0,0 0 0 0 0,0 1 0 0 0,1-1 0 0 0,-1-1 0 0 0,0 1 0 0 0,0 0 0 0 0,1-1 0 0 0,-1 1 0 0 0,1-1 0 0 0,-1 0 0 0 0,0 0 0 0 0,1-1 0 0 0,-1 1 0 0 0,1 0 0 0 0,-1-1 0 0 0,0 0 0 0 0,0 0 0 0 0,1 0 0 0 0,-1 0 0 0 0,0-1 0 0 0,4-2 0 0 0,-2 1-2 0 0,1 0-1 0 0,-1-1 0 0 0,0 0 1 0 0,0 0-1 0 0,-1 0 0 0 0,1-1 1 0 0,-1 0-1 0 0,0 1 0 0 0,0-1 0 0 0,4-8 1 0 0,69-156-23 0 0,-51 104-72 0 0,-25 63 70 0 0,1-1-1 0 0,-1 1 1 0 0,0-1 0 0 0,1 1 0 0 0,0 0-1 0 0,-1-1 1 0 0,1 1 0 0 0,0 0 0 0 0,0 0 0 0 0,2-2-1 0 0,-2 3-21 0 0,9 14-4 0 0,-8-8 41 0 0,-1 1 1 0 0,0-1 0 0 0,-1 1 0 0 0,1-1 0 0 0,-1 1-1 0 0,0 0 1 0 0,-1-1 0 0 0,1 1 0 0 0,-2 10 0 0 0,2 6-3 0 0,14 228 656 0 0,-21-128-321 0 0,5-109-282 0 0,1-13-42 0 0,0 4 34 0 0,0 1-1 0 0,-1-1 1 0 0,1 0-1 0 0,-1 0 1 0 0,0 0-1 0 0,0 0 1 0 0,-3 5-1 0 0,3-9-35 0 0,-1-1-1 0 0,1 1 0 0 0,0-1 1 0 0,0 0-1 0 0,-1 1 0 0 0,1-1 1 0 0,0 0-1 0 0,0 0 0 0 0,0 0 1 0 0,-2-1-1 0 0,3 2-2 0 0,-1-3-8 0 0,0 1 0 0 0,0 0-1 0 0,0 0 1 0 0,0-1 0 0 0,1 1 0 0 0,-1 0-1 0 0,1-1 1 0 0,-1 1 0 0 0,1-1 0 0 0,0 1-1 0 0,0-1 1 0 0,0 1 0 0 0,1-5 0 0 0,-1-1-25 0 0,8-207-764 0 0,-4-99 265 0 0,-4 304 513 0 0,-1 1 0 0 0,0-1 0 0 0,-1 1 0 0 0,0-1 0 0 0,-1 1 0 0 0,0 0 0 0 0,0 0 0 0 0,-1 0 0 0 0,0 0 0 0 0,-7-10 0 0 0,9 16 11 0 0,-1-1 0 0 0,1 1-1 0 0,-1 0 1 0 0,0 0 0 0 0,0 0 0 0 0,0 1 0 0 0,-1-1 0 0 0,1 1-1 0 0,-1 0 1 0 0,1 0 0 0 0,-1 0 0 0 0,1 0 0 0 0,-1 0 0 0 0,0 1-1 0 0,0 0 1 0 0,0 0 0 0 0,0 0 0 0 0,0 0 0 0 0,0 1 0 0 0,0-1-1 0 0,0 1 1 0 0,-1 0 0 0 0,1 0 0 0 0,0 1 0 0 0,0-1-1 0 0,-5 2 1 0 0,4-1 12 0 0,0 0-1 0 0,0 1 0 0 0,0 0 0 0 0,0-1 1 0 0,1 1-1 0 0,-1 1 0 0 0,0-1 0 0 0,1 1 1 0 0,0 0-1 0 0,0 0 0 0 0,0 0 1 0 0,0 0-1 0 0,0 1 0 0 0,1 0 0 0 0,-1 0 1 0 0,1 0-1 0 0,0 0 0 0 0,0 0 1 0 0,1 0-1 0 0,-1 1 0 0 0,-2 5 0 0 0,3-4-32 0 0,1 0-1 0 0,-1 0 1 0 0,1 0 0 0 0,0 0-1 0 0,0 0 1 0 0,0 0-1 0 0,1 0 1 0 0,0 0-1 0 0,1 0 1 0 0,-1 0-1 0 0,1 0 1 0 0,0 0 0 0 0,0 0-1 0 0,1 0 1 0 0,0 0-1 0 0,0 0 1 0 0,6 9-1 0 0,-1-2-466 0 0,1 0-1 0 0,1-1 1 0 0,0 0-1 0 0,1-1 1 0 0,20 19-1 0 0,-18-19-1225 0 0,1-1-1 0 0,23 14 1 0 0,-14-12-1523 0 0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09.3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95 260 0 0,'28'-4'990'0'0,"-1"0"1"0"0,1-2-1 0 0,-1-2 1 0 0,0 0-1 0 0,-1-2 0 0 0,29-14 1 0 0,-24 8-347 0 0,0-1 1 0 0,0-2-1 0 0,-2-1 1 0 0,38-34-1 0 0,-62 50-501 0 0,0-1 0 0 0,0 0 0 0 0,-1 0-1 0 0,1-1 1 0 0,-1 1 0 0 0,6-12 0 0 0,-9 16-135 0 0,-1 0 1 0 0,0 0-1 0 0,0 0 0 0 0,0 0 0 0 0,0 0 1 0 0,0 0-1 0 0,0 0 0 0 0,-1 0 0 0 0,1 0 1 0 0,0 0-1 0 0,0 0 0 0 0,-1 0 0 0 0,1 0 1 0 0,0 0-1 0 0,-1 1 0 0 0,1-1 1 0 0,-1 0-1 0 0,0 0 0 0 0,1 0 0 0 0,-1 1 1 0 0,1-1-1 0 0,-1 0 0 0 0,0 1 0 0 0,0-1 1 0 0,1 0-1 0 0,-1 1 0 0 0,0-1 0 0 0,0 1 1 0 0,0-1-1 0 0,0 1 0 0 0,0-1 1 0 0,1 1-1 0 0,-1 0 0 0 0,0 0 0 0 0,0-1 1 0 0,0 1-1 0 0,0 0 0 0 0,0 0 0 0 0,0 0 1 0 0,0 0-1 0 0,0 0 0 0 0,-1 0 0 0 0,-10 2 46 0 0,0 0-1 0 0,0 1 1 0 0,1 0-1 0 0,-1 0 1 0 0,1 1-1 0 0,0 1 1 0 0,0 0-1 0 0,1 1 1 0 0,0 0-1 0 0,0 0 1 0 0,-14 12-1 0 0,12-9 92 0 0,1 1 0 0 0,0 1 0 0 0,0 0 0 0 0,1 0 0 0 0,1 1-1 0 0,0 1 1 0 0,1-1 0 0 0,-14 28 0 0 0,20-36-87 0 0,0 0-1 0 0,1 0 1 0 0,-1 1-1 0 0,1-1 1 0 0,0 1 0 0 0,0-1-1 0 0,0 1 1 0 0,1-1 0 0 0,-1 1-1 0 0,1-1 1 0 0,0 1 0 0 0,0 0-1 0 0,1-1 1 0 0,0 1-1 0 0,0-1 1 0 0,0 1 0 0 0,0-1-1 0 0,0 0 1 0 0,1 1 0 0 0,0-1-1 0 0,0 0 1 0 0,0 0-1 0 0,0 0 1 0 0,1 0 0 0 0,0 0-1 0 0,0-1 1 0 0,0 1 0 0 0,0-1-1 0 0,0 0 1 0 0,1 0 0 0 0,-1 0-1 0 0,1 0 1 0 0,0-1-1 0 0,0 1 1 0 0,0-1 0 0 0,0 0-1 0 0,0 0 1 0 0,0-1 0 0 0,0 1-1 0 0,1-1 1 0 0,-1 0 0 0 0,7 1-1 0 0,1 0-20 0 0,1 0-1 0 0,-1-1 1 0 0,0 0-1 0 0,1-1 1 0 0,-1-1-1 0 0,0 0 1 0 0,0 0-1 0 0,0-2 0 0 0,0 1 1 0 0,0-1-1 0 0,0-1 1 0 0,0 0-1 0 0,-1-1 1 0 0,0 0-1 0 0,17-11 1 0 0,-13 6-21 0 0,-1 0 0 0 0,0-2 0 0 0,-1 0 0 0 0,0 0 0 0 0,-1-1 0 0 0,0-1 1 0 0,-1 0-1 0 0,-1-1 0 0 0,0 0 0 0 0,9-18 0 0 0,-7 9 6 0 0,-1 0 0 0 0,-2-1-1 0 0,0 0 1 0 0,8-42 0 0 0,-16 55-86 0 0,-6 15-4 0 0,-5 18 18 0 0,6 8 52 0 0,0 2 1 0 0,3-1-1 0 0,0 0 1 0 0,2 0-1 0 0,7 50 1 0 0,-3-38-50 0 0,-1 83 0 0 0,-5-118-117 0 0,1 1-1 0 0,-2-1 1 0 0,1 0-1 0 0,-1 0 1 0 0,0 0 0 0 0,-5 10-1 0 0,5-13-180 0 0,0-1-1 0 0,0 1 0 0 0,0-1 1 0 0,0 0-1 0 0,-1 0 0 0 0,-3 4 0 0 0,4-5-240 0 0,0-1 0 0 0,0 1-1 0 0,0-1 1 0 0,-1 1-1 0 0,1-1 1 0 0,0 0-1 0 0,-1 0 1 0 0,1 0-1 0 0,0 0 1 0 0,-5 1-1 0 0,-9 1-3790 0 0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10.1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 8 1012 0 0,'-7'-8'4537'0'0,"6"8"-4347"0"0,-4 11 412 0 0,0 0 0 0 0,1 1 1 0 0,1-1-1 0 0,0 1 0 0 0,0 0 1 0 0,1 0-1 0 0,0 0 0 0 0,1 0 1 0 0,1 0-1 0 0,0 0 0 0 0,2 18 1 0 0,1-5-95 0 0,1-1 1 0 0,1 0 0 0 0,2 0-1 0 0,15 40 1 0 0,-20-60-443 0 0,-1 0 0 0 0,1 0 1 0 0,1 0-1 0 0,-1 0 0 0 0,0-1 0 0 0,1 1 1 0 0,0 0-1 0 0,0-1 0 0 0,0 0 0 0 0,0 0 0 0 0,1 0 1 0 0,-1 0-1 0 0,1 0 0 0 0,0-1 0 0 0,6 4 0 0 0,-7-5-43 0 0,1 0 0 0 0,0 0 1 0 0,0 0-1 0 0,-1 0 0 0 0,1-1 0 0 0,0 1 0 0 0,0-1 0 0 0,0 0 0 0 0,0 0 0 0 0,0 0 0 0 0,0-1 0 0 0,0 1 0 0 0,-1-1 0 0 0,1 0 0 0 0,0 0 0 0 0,0-1 0 0 0,-1 1 0 0 0,6-3 1 0 0,4-4-119 0 0,0 1 0 0 0,-1-2 0 0 0,0 1 0 0 0,-1-2 0 0 0,13-12 0 0 0,49-59-645 0 0,-31 31 529 0 0,-28 34 133 0 0,-11 11 21 0 0,1 1 1 0 0,0-1-1 0 0,0 1 0 0 0,1 0 1 0 0,-1 0-1 0 0,1 0 0 0 0,6-3 0 0 0,-9 5 17 0 0,0 4-8 0 0,2 5 61 0 0,0-1 0 0 0,0 1 0 0 0,0 0 0 0 0,-1 0 0 0 0,0 0 0 0 0,-1 0 0 0 0,0 1 0 0 0,3 13 0 0 0,10 30 269 0 0,-10-40-204 0 0,0-1 0 0 0,0-1 0 0 0,1 1 0 0 0,0-1 0 0 0,1 0 0 0 0,0 0 0 0 0,0-1 0 0 0,1 0 0 0 0,0 0 0 0 0,10 7 0 0 0,-14-12-50 0 0,1 0-1 0 0,-1 0 1 0 0,1 0 0 0 0,0-1 0 0 0,0 0 0 0 0,0 0 0 0 0,0 0 0 0 0,0 0 0 0 0,0-1 0 0 0,1 0 0 0 0,-1 0 0 0 0,0-1-1 0 0,1 1 1 0 0,-1-1 0 0 0,0 0 0 0 0,1 0 0 0 0,-1-1 0 0 0,0 0 0 0 0,1 0 0 0 0,-1 0 0 0 0,0 0 0 0 0,0-1 0 0 0,5-2 0 0 0,-2 0-11 0 0,0 0 1 0 0,0-1-1 0 0,0 0 1 0 0,-1 0-1 0 0,0-1 1 0 0,0 0 0 0 0,10-12-1 0 0,-1-1-22 0 0,19-31 0 0 0,-25 36-29 0 0,-10 13 29 0 0,0 1 0 0 0,0-1 1 0 0,0 1-1 0 0,1 0 1 0 0,-1-1-1 0 0,0 1 1 0 0,0-1-1 0 0,0 1 0 0 0,0-1 1 0 0,0 1-1 0 0,0 0 1 0 0,0-1-1 0 0,0 1 0 0 0,0-1 1 0 0,0 1-1 0 0,0-1 1 0 0,0 1-1 0 0,0-1 1 0 0,0 1-1 0 0,0 0 0 0 0,0-1 1 0 0,-1 1-1 0 0,1-1 1 0 0,0 1-1 0 0,0-1 1 0 0,0 1-1 0 0,-1 0 0 0 0,1-1 1 0 0,0 1-1 0 0,-1 0 1 0 0,1-1-1 0 0,0 1 0 0 0,-1 0 1 0 0,1-1-1 0 0,0 1 1 0 0,-1 0-1 0 0,1 0 1 0 0,0 0-1 0 0,-1-1 0 0 0,1 1 1 0 0,-1 0-1 0 0,1 0 1 0 0,-1 0-1 0 0,0-1-3 0 0,0 1-1 0 0,0-1 1 0 0,0 1 0 0 0,-1 0-1 0 0,1 0 1 0 0,0-1 0 0 0,0 1-1 0 0,0 0 1 0 0,0 0 0 0 0,0 0-1 0 0,0 0 1 0 0,-1 0 0 0 0,1 1-1 0 0,0-1 1 0 0,0 0 0 0 0,0 0-1 0 0,0 1 1 0 0,-2 0 0 0 0,1 1 2 0 0,0-1 0 0 0,-1 1 0 0 0,1 0 0 0 0,0 0 0 0 0,0 0 1 0 0,0 0-1 0 0,1 0 0 0 0,-1 0 0 0 0,0 0 0 0 0,1 1 1 0 0,0-1-1 0 0,-1 1 0 0 0,1-1 0 0 0,0 1 0 0 0,-1 4 1 0 0,2-6 2 0 0,0 1 0 0 0,-1 0 1 0 0,1 0-1 0 0,0 0 0 0 0,0 0 1 0 0,0 0-1 0 0,1-1 0 0 0,-1 1 1 0 0,0 0-1 0 0,1 0 1 0 0,-1 0-1 0 0,1 0 0 0 0,0-1 1 0 0,0 1-1 0 0,-1 0 0 0 0,1-1 1 0 0,0 1-1 0 0,0-1 1 0 0,0 1-1 0 0,1-1 0 0 0,-1 1 1 0 0,0-1-1 0 0,1 0 0 0 0,-1 0 1 0 0,0 1-1 0 0,3 0 1 0 0,4 2 12 0 0,0 1 0 0 0,1-2 1 0 0,0 1-1 0 0,0-1 0 0 0,0 0 1 0 0,0-1-1 0 0,0 0 0 0 0,0-1 1 0 0,1 0-1 0 0,-1 0 0 0 0,0-1 1 0 0,1 0-1 0 0,-1-1 0 0 0,0 0 1 0 0,1 0-1 0 0,-1-1 0 0 0,0 0 1 0 0,0-1-1 0 0,12-4 0 0 0,-17 5-9 0 0,-1 0 0 0 0,0 0 0 0 0,1 0 0 0 0,-1-1 0 0 0,0 1 0 0 0,0 0 0 0 0,-1-1 0 0 0,1 0 0 0 0,-1 0 0 0 0,1 0 0 0 0,-1 0 0 0 0,0 0 0 0 0,0-1-1 0 0,0 1 1 0 0,0 0 0 0 0,-1-1 0 0 0,1 0 0 0 0,-1 1 0 0 0,0-1 0 0 0,0 0 0 0 0,0 1 0 0 0,-1-1 0 0 0,1 0 0 0 0,-1 0 0 0 0,0 0 0 0 0,0 0 0 0 0,0 1 0 0 0,-2-8 0 0 0,1 5-63 0 0,-1 1 1 0 0,1-1-1 0 0,-1 0 0 0 0,-1 1 1 0 0,1-1-1 0 0,-1 1 1 0 0,0-1-1 0 0,0 1 1 0 0,0 0-1 0 0,-1 1 0 0 0,1-1 1 0 0,-1 0-1 0 0,-1 1 1 0 0,1 0-1 0 0,0 0 1 0 0,-1 0-1 0 0,-8-5 0 0 0,1 4-666 0 0,1-1 0 0 0,-1 2-1 0 0,0-1 1 0 0,-20-3 0 0 0,-20 0-5989 0 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10.4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7 2548 0 0,'8'-7'1257'0'0,"-7"5"-870"0"0,1 1-1 0 0,0-1 1 0 0,0 0-1 0 0,0 1 1 0 0,0-1 0 0 0,0 1-1 0 0,0 0 1 0 0,0 0-1 0 0,1 0 1 0 0,-1 0-1 0 0,0 0 1 0 0,1 0-1 0 0,-1 0 1 0 0,0 1-1 0 0,1-1 1 0 0,-1 1-1 0 0,1 0 1 0 0,-1 0-1 0 0,5 0 1 0 0,-7 1-271 0 0,1 0 0 0 0,-1 0 0 0 0,1 0 0 0 0,-1 0 0 0 0,1 0 0 0 0,-1 0 0 0 0,0 0 0 0 0,1 0 0 0 0,-1 0 0 0 0,0 0 0 0 0,0 0 0 0 0,0 0 0 0 0,0 0 0 0 0,0 0 0 0 0,0 3 0 0 0,0 18 1256 0 0,-1-1 0 0 0,-6 42 0 0 0,0-3-48 0 0,1 55 24 0 0,13 158 0 0 0,-7-269-1376 0 0,1 10-90 0 0,0 0 0 0 0,1 0-1 0 0,1 0 1 0 0,8 25 0 0 0,-10-36-139 0 0,0 1 1 0 0,1-1-1 0 0,-1 0 0 0 0,1 0 0 0 0,-1 0 0 0 0,1-1 1 0 0,0 1-1 0 0,0 0 0 0 0,1-1 0 0 0,-1 1 0 0 0,0-1 1 0 0,1 0-1 0 0,0 1 0 0 0,-1-1 0 0 0,1-1 0 0 0,0 1 0 0 0,0 0 1 0 0,0-1-1 0 0,0 1 0 0 0,0-1 0 0 0,1 0 0 0 0,-1 0 1 0 0,0 0-1 0 0,1-1 0 0 0,-1 1 0 0 0,0-1 0 0 0,5 1 1 0 0,-1-1-535 0 0,0-1 1 0 0,0 1-1 0 0,-1-1 1 0 0,1 0-1 0 0,0 0 1 0 0,-1-1-1 0 0,1 0 1 0 0,6-3 0 0 0,5-6-3411 0 0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10.8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4 139 1236 0 0,'-27'-9'2721'0'0,"-1"-1"-1"0"0,2-1 1 0 0,-35-20-1 0 0,61 31-2696 0 0,0 0-1 0 0,-1-1 0 0 0,1 1 0 0 0,0 0 0 0 0,0-1 1 0 0,0 1-1 0 0,0 0 0 0 0,-1-1 0 0 0,1 1 0 0 0,0 0 1 0 0,0-1-1 0 0,0 1 0 0 0,0 0 0 0 0,0-1 1 0 0,0 1-1 0 0,0-1 0 0 0,0 1 0 0 0,0 0 0 0 0,0-1 1 0 0,0 1-1 0 0,0 0 0 0 0,1-1 0 0 0,-1 1 0 0 0,0 0 1 0 0,0-1-1 0 0,0 1 0 0 0,0 0 0 0 0,0-1 0 0 0,1 1 1 0 0,-1 0-1 0 0,0-1 0 0 0,0 1 0 0 0,1 0 0 0 0,-1 0 1 0 0,0-1-1 0 0,1 1 0 0 0,-1 0 0 0 0,0 0 0 0 0,0-1 1 0 0,1 1-1 0 0,-1 0 0 0 0,0 0 0 0 0,1 0 0 0 0,-1 0 1 0 0,1 0-1 0 0,-1-1 0 0 0,17-8 252 0 0,-17 9-256 0 0,34-12 189 0 0,1 2 1 0 0,0 2-1 0 0,1 1 0 0 0,53-4 0 0 0,-52 7-256 0 0,-29 3-619 0 0,-1 0 0 0 0,0 0 0 0 0,0 1 0 0 0,1 0 0 0 0,13 2 0 0 0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12.5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20 1812 0 0,'7'-19'7637'0'0,"-7"28"-6413"0"0,0 28-881 0 0,0-19-9 0 0,0 41-219 0 0,-1 87-371 0 0,-5-49-5519 0 0,2-77 2745 0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15.7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6 57 580 0 0,'-2'-2'1546'0'0,"-45"-45"5486"0"0,46 46-6861 0 0,-5-5-1649 0 0,17 27-2162 0 0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16.1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932 0 0,'0'0'1917'0'0,"1"0"-1762"0"0,0 0-1 0 0,0 0 1 0 0,0 0 0 0 0,0 1 0 0 0,0-1 0 0 0,0 0-1 0 0,0 1 1 0 0,0-1 0 0 0,0 1 0 0 0,-1-1-1 0 0,1 1 1 0 0,0-1 0 0 0,1 2 0 0 0,7 19 976 0 0,-1 0-1 0 0,-1 1 1 0 0,7 40 0 0 0,5 74 680 0 0,-15-103-1347 0 0,0-5 373 0 0,-2 1 0 0 0,-1 1-1 0 0,-1-1 1 0 0,-4 33 0 0 0,4-61-787 0 0,0 0 0 0 0,-1-1 0 0 0,1 1 0 0 0,0 0 0 0 0,0-1 0 0 0,0 1 1 0 0,-1 0-1 0 0,1-1 0 0 0,0 1 0 0 0,-1-1 0 0 0,1 1 0 0 0,-1 0 0 0 0,1-1 0 0 0,0 1 0 0 0,-1-1 0 0 0,1 1 0 0 0,-1-1 0 0 0,0 1 0 0 0,1-1 0 0 0,-1 0 0 0 0,1 1 0 0 0,-1-1 0 0 0,0 0 1 0 0,1 1-1 0 0,-1-1 0 0 0,1 0 0 0 0,-1 0 0 0 0,0 0 0 0 0,0 1 0 0 0,1-1 0 0 0,-1 0 0 0 0,0 0 0 0 0,1 0 0 0 0,-1 0 0 0 0,0 0 0 0 0,0-1 0 0 0,-1 1-19 0 0,1 0 0 0 0,-1 0 0 0 0,1-1 0 0 0,0 1 0 0 0,-1 0 0 0 0,1-1 0 0 0,0 0-1 0 0,-1 1 1 0 0,1-1 0 0 0,0 0 0 0 0,0 0 0 0 0,0 1 0 0 0,0-1 0 0 0,-2-2 0 0 0,1 0-32 0 0,0 0 1 0 0,1 0 0 0 0,-1 0 0 0 0,1-1-1 0 0,0 1 1 0 0,0 0 0 0 0,0-1-1 0 0,1 1 1 0 0,-1-1 0 0 0,1 1-1 0 0,0-1 1 0 0,-1 1 0 0 0,2-1 0 0 0,-1 1-1 0 0,0-1 1 0 0,1 1 0 0 0,0-1-1 0 0,1-5 1 0 0,1-1-32 0 0,1 0 0 0 0,0 1 1 0 0,0-1-1 0 0,1 1 0 0 0,6-9 0 0 0,-2 4-42 0 0,1 1-1 0 0,1 0 1 0 0,0 1 0 0 0,0 0-1 0 0,1 1 1 0 0,1 0 0 0 0,0 1-1 0 0,0 0 1 0 0,1 1 0 0 0,24-11-1 0 0,-32 17 22 0 0,1 0 0 0 0,-1 0 0 0 0,1 1 0 0 0,-1 0 0 0 0,1 1 0 0 0,0-1 0 0 0,0 1 0 0 0,-1 1 0 0 0,1-1 0 0 0,0 1 0 0 0,0 0 0 0 0,0 1 0 0 0,0 0 0 0 0,0 0 0 0 0,-1 0 0 0 0,1 1 0 0 0,0 0 0 0 0,-1 0 0 0 0,1 0 0 0 0,-1 1 0 0 0,0 0 0 0 0,0 1 0 0 0,0-1 0 0 0,0 1 0 0 0,-1 0 0 0 0,1 1 0 0 0,8 8 0 0 0,-9-7-87 0 0,0 0-1 0 0,-1 0 0 0 0,1 0 1 0 0,-1 1-1 0 0,0 0 0 0 0,-1 0 1 0 0,0 0-1 0 0,4 11 0 0 0,-1 6-1051 0 0,5 32 1 0 0,-8-36-510 0 0,1 0 1 0 0,12 36 0 0 0,-4-40-1155 0 0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16.5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6 11 80 0 0,'0'0'209'0'0,"0"-1"-1"0"0,0 1 1 0 0,0-1 0 0 0,0 0-1 0 0,-1 1 1 0 0,1-1 0 0 0,0 1-1 0 0,0-1 1 0 0,-1 1 0 0 0,-1-3 1043 0 0,1 2-1043 0 0,1 1-1 0 0,-1-1 1 0 0,-4 1 79 0 0,0-1 0 0 0,0 1 0 0 0,0 0 0 0 0,0 1 0 0 0,0-1 0 0 0,0 1 0 0 0,0 0 0 0 0,0 0 0 0 0,0 1-1 0 0,1 0 1 0 0,-1-1 0 0 0,0 1 0 0 0,1 1 0 0 0,0-1 0 0 0,-5 4 0 0 0,-6 4 148 0 0,0 0-1 0 0,1 1 1 0 0,-14 13-1 0 0,24-19-344 0 0,-1 0 0 0 0,1 0-1 0 0,0 0 1 0 0,0 0-1 0 0,0 0 1 0 0,1 1 0 0 0,0-1-1 0 0,0 1 1 0 0,1 0-1 0 0,-1 0 1 0 0,1 0 0 0 0,0 1-1 0 0,-1 10 1 0 0,3-13-64 0 0,-1 0 1 0 0,1 0-1 0 0,0 1 1 0 0,1-1-1 0 0,-1 0 0 0 0,1 0 1 0 0,0 0-1 0 0,0 0 1 0 0,0 0-1 0 0,0 0 0 0 0,1 0 1 0 0,0 0-1 0 0,0-1 1 0 0,0 1-1 0 0,0 0 0 0 0,0-1 1 0 0,1 0-1 0 0,-1 1 1 0 0,1-1-1 0 0,0 0 0 0 0,0-1 1 0 0,4 4-1 0 0,0-1-145 0 0,-1 0 1 0 0,2 0-1 0 0,-1-1 0 0 0,0 0 1 0 0,1-1-1 0 0,0 1 0 0 0,0-1 1 0 0,0-1-1 0 0,0 0 0 0 0,0 0 0 0 0,0 0 1 0 0,0-1-1 0 0,1 0 0 0 0,-1-1 1 0 0,1 0-1 0 0,-1 0 0 0 0,1-1 1 0 0,-1 0-1 0 0,14-4 0 0 0,-13 3-226 0 0,0-1-1 0 0,0-1 0 0 0,-1 0 0 0 0,0 0 0 0 0,1-1 1 0 0,-2 0-1 0 0,1 0 0 0 0,0 0 0 0 0,-1-1 1 0 0,0-1-1 0 0,-1 1 0 0 0,1-1 0 0 0,-1 0 1 0 0,0-1-1 0 0,-1 1 0 0 0,0-1 0 0 0,7-13 1 0 0,3-12-986 0 0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16.9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3 236 2068 0 0,'9'-40'1757'0'0,"-2"1"0"0"0,-2-1 0 0 0,2-62 0 0 0,-7 101-1693 0 0,0 1 0 0 0,0-1 1 0 0,0 0-1 0 0,0 1 0 0 0,0-1 0 0 0,0 1 0 0 0,0-1 0 0 0,0 1 0 0 0,0-1 0 0 0,0 0 1 0 0,0 1-1 0 0,0-1 0 0 0,0 1 0 0 0,-1-1 0 0 0,1 1 0 0 0,0-1 0 0 0,0 1 0 0 0,-1-1 1 0 0,1 1-1 0 0,0-1 0 0 0,-1 1 0 0 0,1-1 0 0 0,0 1 0 0 0,-1-1 0 0 0,1 1 1 0 0,-1-1-1 0 0,0 1-31 0 0,0 0 0 0 0,1 1 0 0 0,-1-1 1 0 0,1 0-1 0 0,-1 0 0 0 0,0 0 0 0 0,1 1 1 0 0,-1-1-1 0 0,1 0 0 0 0,-1 0 1 0 0,1 1-1 0 0,-1-1 0 0 0,1 1 0 0 0,-1-1 1 0 0,1 0-1 0 0,-1 1 0 0 0,1-1 0 0 0,-1 2 1 0 0,-19 26 648 0 0,10-4-355 0 0,1 1 0 0 0,2 0-1 0 0,0 0 1 0 0,1 1 0 0 0,-3 43-1 0 0,2 135 151 0 0,7-186-430 0 0,5 85-1227 0 0,-3-89 454 0 0,1 0 0 0 0,0-1-1 0 0,0 1 1 0 0,2-1 0 0 0,7 17 0 0 0,5-7-3267 0 0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17.6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 472 1516 0 0,'18'-28'7772'0'0,"-23"35"-6658"0"0,2-3-1008 0 0,1-1-1 0 0,1 1 1 0 0,-1 0 0 0 0,0 0 0 0 0,1 0 0 0 0,0 0 0 0 0,0 0 0 0 0,0 0 0 0 0,0 0 0 0 0,1 0 0 0 0,-1 7 0 0 0,1-1 48 0 0,1 1 0 0 0,0-1 1 0 0,2 11-1 0 0,-2-14-124 0 0,1-1-1 0 0,0 0 1 0 0,0-1 0 0 0,0 1 0 0 0,1 0-1 0 0,-1 0 1 0 0,2-1 0 0 0,-1 0 0 0 0,0 0 0 0 0,1 0-1 0 0,0 0 1 0 0,0 0 0 0 0,0-1 0 0 0,1 1-1 0 0,0-1 1 0 0,0 0 0 0 0,0-1 0 0 0,0 1 0 0 0,0-1-1 0 0,1 0 1 0 0,-1 0 0 0 0,1-1 0 0 0,0 0-1 0 0,0 0 1 0 0,0 0 0 0 0,0-1 0 0 0,7 2 0 0 0,-3-2-46 0 0,0 0 1 0 0,0-1-1 0 0,0 0 1 0 0,0 0-1 0 0,-1-1 1 0 0,1 0 0 0 0,0-1-1 0 0,0 0 1 0 0,-1 0-1 0 0,1-1 1 0 0,-1-1-1 0 0,0 1 1 0 0,0-2-1 0 0,0 1 1 0 0,-1-1 0 0 0,14-10-1 0 0,-11 6-75 0 0,-1 0 0 0 0,0-1-1 0 0,16-21 1 0 0,-23 27 77 0 0,1-1-1 0 0,-1 0 1 0 0,0 0 0 0 0,-1 0 0 0 0,1 0 0 0 0,-1 0-1 0 0,0-1 1 0 0,0 1 0 0 0,-1-1 0 0 0,1 1 0 0 0,-1-1-1 0 0,0-6 1 0 0,-1 11 12 0 0,0 0 0 0 0,0 0 0 0 0,0 0 0 0 0,0 0 0 0 0,0 0-1 0 0,0 0 1 0 0,0 0 0 0 0,0 0 0 0 0,-1 0 0 0 0,1 0 0 0 0,0 0 0 0 0,0 0 0 0 0,-1 0 0 0 0,1 0-1 0 0,-1 0 1 0 0,1 0 0 0 0,-1 0 0 0 0,0 0 0 0 0,1 0 0 0 0,-1 1 0 0 0,0-1 0 0 0,1 0 0 0 0,-1 0-1 0 0,0 1 1 0 0,0-1 0 0 0,0 0 0 0 0,0 1 0 0 0,0-1 0 0 0,0 1 0 0 0,0-1 0 0 0,1 1 0 0 0,-1 0-1 0 0,0-1 1 0 0,-1 1 0 0 0,1 0 0 0 0,0 0 0 0 0,0 0 0 0 0,0 0 0 0 0,0 0 0 0 0,0 0 0 0 0,0 0-1 0 0,0 0 1 0 0,0 0 0 0 0,0 0 0 0 0,0 0 0 0 0,0 1 0 0 0,0-1 0 0 0,0 0 0 0 0,0 1 0 0 0,0-1-1 0 0,-1 1 1 0 0,-3 1-9 0 0,0 0 0 0 0,0 0 0 0 0,0 1 0 0 0,1 0 0 0 0,-1 0 0 0 0,1 0 0 0 0,-1 0 0 0 0,-6 7 0 0 0,7-5 30 0 0,0 0 0 0 0,1 0 0 0 0,-1 0 0 0 0,1 0 0 0 0,0 1 0 0 0,1 0 0 0 0,-1-1 0 0 0,1 1-1 0 0,0 0 1 0 0,1 0 0 0 0,-2 8 0 0 0,3-11-9 0 0,-1 0-1 0 0,1 0 0 0 0,0 0 1 0 0,0 0-1 0 0,1 0 1 0 0,-1 0-1 0 0,1 0 1 0 0,-1 0-1 0 0,1-1 0 0 0,0 1 1 0 0,0 0-1 0 0,0 0 1 0 0,1-1-1 0 0,-1 1 1 0 0,0-1-1 0 0,1 1 0 0 0,0-1 1 0 0,-1 1-1 0 0,1-1 1 0 0,0 0-1 0 0,0 0 1 0 0,1 0-1 0 0,-1 0 1 0 0,0 0-1 0 0,1-1 0 0 0,2 2 1 0 0,2 1 6 0 0,0 0 1 0 0,1-1-1 0 0,-1 0 0 0 0,1 0 1 0 0,-1-1-1 0 0,1 0 1 0 0,0 0-1 0 0,0-1 0 0 0,0 0 1 0 0,0 0-1 0 0,0-1 1 0 0,10-1-1 0 0,-6 0-2 0 0,-1-1 0 0 0,1-1-1 0 0,-1 0 1 0 0,1 0 0 0 0,-1-1 0 0 0,-1-1 0 0 0,19-9 0 0 0,-10 2-1 0 0,-1 0 0 0 0,0-2 0 0 0,-1 0 0 0 0,-1 0 0 0 0,0-2 0 0 0,-1 0 0 0 0,-1 0 0 0 0,19-29 0 0 0,-6 0 6 0 0,-3-1 0 0 0,-2-2-1 0 0,-2 0 1 0 0,22-77 0 0 0,-3-29 560 0 0,-36 144-558 0 0,1 11-11 0 0,-1 17 8 0 0,-5 13 22 0 0,-21 172 180 0 0,19-176-180 0 0,-2-1 1 0 0,-1 0-1 0 0,-1-1 0 0 0,-1 1 1 0 0,-20 36-1 0 0,22-49-31 0 0,-1-1-1 0 0,0 1 0 0 0,-1-1 1 0 0,-1 0-1 0 0,0-1 0 0 0,0 0 0 0 0,-1-1 1 0 0,0 0-1 0 0,-1-1 0 0 0,0 0 1 0 0,-1-1-1 0 0,-16 9 0 0 0,25-16-64 0 0,0 1 0 0 0,0-1 0 0 0,0 0 0 0 0,-1 0 0 0 0,1 0 0 0 0,0-1 0 0 0,0 1 0 0 0,-1-1 0 0 0,-6-1 0 0 0,9 1 18 0 0,1 0 0 0 0,-1 0 0 0 0,0 0 0 0 0,1-1 0 0 0,-1 1 0 0 0,1-1 1 0 0,-1 1-1 0 0,0-1 0 0 0,1 1 0 0 0,-1-1 0 0 0,1 0 0 0 0,0 0 0 0 0,-1 0 0 0 0,1 0 0 0 0,0 0 0 0 0,-1 0 0 0 0,1 0 1 0 0,0 0-1 0 0,0 0 0 0 0,0 0 0 0 0,0-1 0 0 0,0 1 0 0 0,0-1 0 0 0,1 1 0 0 0,-2-3 0 0 0,1 1 14 0 0,1 1 1 0 0,0 0-1 0 0,0 0 0 0 0,0-1 0 0 0,0 1 0 0 0,0 0 0 0 0,0 0 1 0 0,1-1-1 0 0,-1 1 0 0 0,1 0 0 0 0,-1 0 0 0 0,1 0 1 0 0,0 0-1 0 0,0 0 0 0 0,0 0 0 0 0,0 0 0 0 0,0 0 0 0 0,1 0 1 0 0,-1 0-1 0 0,1 0 0 0 0,-1 1 0 0 0,1-1 0 0 0,-1 1 1 0 0,1-1-1 0 0,0 1 0 0 0,3-2 0 0 0,0-1 4 0 0,1 0-1 0 0,0 1 0 0 0,0 0 1 0 0,0 0-1 0 0,0 1 1 0 0,0 0-1 0 0,12-3 1 0 0,-9 4 30 0 0,0 1 1 0 0,0 0 0 0 0,0 0-1 0 0,-1 1 1 0 0,1 0 0 0 0,0 0-1 0 0,0 1 1 0 0,-1 0 0 0 0,1 1-1 0 0,12 5 1 0 0,11 7-68 0 0,40 25 0 0 0,-38-21-230 0 0,-13-7-52 0 0,0-1 0 0 0,1-1 0 0 0,0 0 0 0 0,25 5 0 0 0,-40-13 288 0 0,1 0-1 0 0,0-1 1 0 0,0 0 0 0 0,0 0 0 0 0,0-1 0 0 0,0 0-1 0 0,0 0 1 0 0,0-1 0 0 0,0 0 0 0 0,0-1 0 0 0,-1 1-1 0 0,1-1 1 0 0,0-1 0 0 0,-1 0 0 0 0,1 0-1 0 0,6-4 1 0 0,4-4 164 0 0,0-1-1 0 0,-1 0 1 0 0,26-25-1 0 0,-33 27 117 0 0,-1 0 0 0 0,0 0 0 0 0,0-1 0 0 0,-1 0 0 0 0,0-1-1 0 0,9-19 1 0 0,-17 30-210 0 0,1 0 0 0 0,-1 0 0 0 0,0-1 0 0 0,1 1 0 0 0,-1 0-1 0 0,0 0 1 0 0,0-1 0 0 0,1 1 0 0 0,-1 0 0 0 0,0-1 0 0 0,0 1-1 0 0,-1 0 1 0 0,1-1 0 0 0,0 1 0 0 0,0 0 0 0 0,-1-1 0 0 0,1 1-1 0 0,-1 0 1 0 0,0-3 0 0 0,-2-2 433 0 0,3 6-443 0 0,1 1-1 0 0,-1-1 1 0 0,0 1 0 0 0,0 0-1 0 0,0-1 1 0 0,1 1-1 0 0,-1-1 1 0 0,0 1 0 0 0,0-1-1 0 0,1 1 1 0 0,-1-1-1 0 0,1 1 1 0 0,-1-1 0 0 0,0 0-1 0 0,1 1 1 0 0,-1-1-1 0 0,1 1 1 0 0,-1-1 0 0 0,1 0-1 0 0,-1 0 1 0 0,1 1-1 0 0,-1-1 1 0 0,1 0 0 0 0,-1 0-1 0 0,1 1 1 0 0,-1-1 0 0 0,1 0-1 0 0,0 0 1 0 0,-1 0-1 0 0,1 0 1 0 0,-1 0 0 0 0,2 0-1 0 0,0 0 49 0 0,2 0-10 0 0,5 0-17 0 0,-1-1-1 0 0,0-1 0 0 0,1 0 1 0 0,-1 0-1 0 0,0-1 0 0 0,0 1 1 0 0,0-2-1 0 0,0 1 1 0 0,-1-1-1 0 0,0 0 0 0 0,10-8 1 0 0,-11 8 24 0 0,0 0 0 0 0,-1 0 0 0 0,0-1 0 0 0,0 0 1 0 0,0 0-1 0 0,0 0 0 0 0,-1-1 0 0 0,0 1 0 0 0,0-1 1 0 0,-1 0-1 0 0,1 0 0 0 0,-1 0 0 0 0,-1-1 0 0 0,5-12 1 0 0,-7 18-50 0 0,0 0 1 0 0,1 0 0 0 0,-1 0 0 0 0,0 1 0 0 0,0-1 0 0 0,0 0 0 0 0,0 0 0 0 0,0 0 0 0 0,0 0 0 0 0,0 0 0 0 0,0 0-1 0 0,-1 0 1 0 0,1 0 0 0 0,0 0 0 0 0,0 0 0 0 0,-1 0 0 0 0,1 0 0 0 0,-1 0 0 0 0,1 0 0 0 0,-2-1 0 0 0,-9-9 32 0 0,6 9-24 0 0,0 1 1 0 0,0-1-1 0 0,0 1 1 0 0,0 0-1 0 0,0 0 1 0 0,0 1-1 0 0,0-1 1 0 0,0 1-1 0 0,0 0 0 0 0,-1 1 1 0 0,1-1-1 0 0,0 1 1 0 0,0 0-1 0 0,0 0 1 0 0,-9 4-1 0 0,1 0 103 0 0,-1 0 0 0 0,1 1-1 0 0,1 0 1 0 0,-22 14-1 0 0,25-13-60 0 0,0-1-1 0 0,1 1 1 0 0,0 0-1 0 0,1 1 1 0 0,0 0 0 0 0,0 0-1 0 0,-9 13 1 0 0,15-18-37 0 0,-1 0 1 0 0,0 0-1 0 0,1 1 1 0 0,-1-1-1 0 0,1 0 1 0 0,0 1-1 0 0,0-1 1 0 0,0 0-1 0 0,1 1 1 0 0,-1-1-1 0 0,1 1 1 0 0,0 0 0 0 0,0-1-1 0 0,0 1 1 0 0,0-1-1 0 0,1 1 1 0 0,-1-1-1 0 0,1 1 1 0 0,0-1-1 0 0,0 0 1 0 0,0 1-1 0 0,0-1 1 0 0,1 0-1 0 0,0 0 1 0 0,3 6-1 0 0,1-2-6 0 0,0 0-1 0 0,0-1 0 0 0,1 1 0 0 0,0-1 0 0 0,0-1 0 0 0,1 1 1 0 0,0-1-1 0 0,0 0 0 0 0,0-1 0 0 0,11 5 0 0 0,14 3-596 0 0,45 12-1 0 0,-65-20 288 0 0,16 4-1123 0 0,39 5-1 0 0,-54-11-345 0 0,-1-1 0 0 0,25-2 0 0 0,-14-1-1876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6.6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 315 1132 0 0,'0'0'3921'0'0,"-1"4"-2807"0"0,-6 38 1246 0 0,-1 60-1 0 0,6-78-1948 0 0,7 342 2228 0 0,3-110-3257 0 0,-16-289-337 0 0,1-45 538 0 0,3 0 0 0 0,4 0-1 0 0,3 0 1 0 0,4 0 0 0 0,3 1-1 0 0,3 0 1 0 0,34-110 0 0 0,-36 153 410 0 0,1 0 0 0 0,1 0 0 0 0,2 1 0 0 0,2 1 1 0 0,1 0-1 0 0,36-48 0 0 0,-49 74 38 0 0,-1 0 1 0 0,2 1-1 0 0,-1-1 1 0 0,1 1-1 0 0,-1 0 0 0 0,1 1 1 0 0,1-1-1 0 0,-1 1 1 0 0,1 1-1 0 0,-1-1 1 0 0,1 1-1 0 0,0 0 0 0 0,12-3 1 0 0,-16 6-10 0 0,-1-1 1 0 0,1 1-1 0 0,-1 0 1 0 0,1 0-1 0 0,-1 0 1 0 0,1 1-1 0 0,-1-1 0 0 0,1 0 1 0 0,-1 1-1 0 0,1 0 1 0 0,-1-1-1 0 0,0 1 1 0 0,1 0-1 0 0,-1 0 0 0 0,0 1 1 0 0,0-1-1 0 0,1 0 1 0 0,-1 1-1 0 0,3 2 1 0 0,-3-1 6 0 0,0 0 1 0 0,0 0 0 0 0,0 0 0 0 0,0 0 0 0 0,0 0-1 0 0,-1 0 1 0 0,1 1 0 0 0,-1-1 0 0 0,0 1-1 0 0,0-1 1 0 0,0 1 0 0 0,0 4 0 0 0,0 2 27 0 0,-1 0 0 0 0,0 1 1 0 0,0-1-1 0 0,-1 0 1 0 0,0 0-1 0 0,-1 0 0 0 0,0 1 1 0 0,-5 12-1 0 0,-1-5-2 0 0,0-1 0 0 0,-2 0 0 0 0,0 0 0 0 0,-1-1 0 0 0,0 0 0 0 0,-1-1 0 0 0,-17 16 0 0 0,3-6-544 0 0,-1-1 0 0 0,-58 39 0 0 0,46-40-2657 0 0,34-21 1165 0 0,-9-1-230 0 0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19.7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75 84 660 0 0,'-4'-6'373'0'0,"0"-1"-1"0"0,-1 2 1 0 0,1-1-1 0 0,-2 1 1 0 0,1-1-1 0 0,0 2 1 0 0,-1-1-1 0 0,0 0 1 0 0,0 1-1 0 0,-1 0 1 0 0,1 1-1 0 0,-1-1 1 0 0,0 1-1 0 0,0 1 1 0 0,-13-5-1 0 0,12 5-194 0 0,0 0-1 0 0,-1 1 1 0 0,1 0-1 0 0,-1 0 1 0 0,1 0-1 0 0,0 1 1 0 0,-1 1-1 0 0,1-1 1 0 0,-1 1-1 0 0,1 1 1 0 0,0-1-1 0 0,0 2 1 0 0,-15 5 0 0 0,20-7-131 0 0,0 0 0 0 0,1 1 0 0 0,0-1 0 0 0,-1 1 0 0 0,1-1 1 0 0,0 1-1 0 0,0 0 0 0 0,0 0 0 0 0,0 0 0 0 0,0 0 0 0 0,0 0 1 0 0,1 1-1 0 0,-1-1 0 0 0,1 1 0 0 0,-1-1 0 0 0,1 1 1 0 0,0-1-1 0 0,0 1 0 0 0,0-1 0 0 0,0 1 0 0 0,1 0 0 0 0,-1 0 1 0 0,1-1-1 0 0,-1 1 0 0 0,1 0 0 0 0,0 0 0 0 0,0 0 1 0 0,0 0-1 0 0,1-1 0 0 0,-1 1 0 0 0,1 0 0 0 0,0 0 0 0 0,1 3 1 0 0,3 9 37 0 0,1 0 0 0 0,0 0 1 0 0,2-1-1 0 0,14 22 1 0 0,-17-28-71 0 0,33 52 86 0 0,-18-32-58 0 0,-2 1-1 0 0,0 2 1 0 0,17 42 0 0 0,-35-70-39 0 0,1 0 0 0 0,0 0 0 0 0,0 1 0 0 0,-1-1 0 0 0,0 0 0 0 0,0 0 0 0 0,0 1 1 0 0,0-1-1 0 0,0 0 0 0 0,0 0 0 0 0,-2 5 0 0 0,2-7 0 0 0,-1 0 1 0 0,1 1-1 0 0,0-1 0 0 0,-1 0 1 0 0,0 1-1 0 0,1-1 1 0 0,-1 0-1 0 0,0 0 0 0 0,1 0 1 0 0,-1 0-1 0 0,0 0 0 0 0,0 0 1 0 0,0 0-1 0 0,0 0 0 0 0,0 0 1 0 0,0 0-1 0 0,0 0 1 0 0,0 0-1 0 0,0-1 0 0 0,-1 1 1 0 0,1 0-1 0 0,0-1 0 0 0,0 1 1 0 0,-1-1-1 0 0,1 0 1 0 0,0 1-1 0 0,-1-1 0 0 0,1 0 1 0 0,-1 0-1 0 0,0 0 0 0 0,0 0-22 0 0,0 0 0 0 0,0 0 0 0 0,0 0 0 0 0,0 0 0 0 0,0-1 0 0 0,0 1 0 0 0,0-1 0 0 0,1 1 0 0 0,-1-1 0 0 0,0 0 0 0 0,0 0 0 0 0,1 0 0 0 0,-1 0 0 0 0,0 0 0 0 0,1 0 0 0 0,-1 0 0 0 0,1 0 0 0 0,0-1 0 0 0,-1 1 0 0 0,1-1 0 0 0,0 1 0 0 0,0-1 0 0 0,0 1 0 0 0,0-1 0 0 0,0 0 0 0 0,0 1 0 0 0,0-1 0 0 0,0 0 0 0 0,1 0 0 0 0,-1 0 0 0 0,1 0 0 0 0,-1 0 0 0 0,1 1 0 0 0,0-3 0 0 0,-1-9-89 0 0,0 0 0 0 0,1 0-1 0 0,1 0 1 0 0,2-15-1 0 0,0-3 65 0 0,0 20 50 0 0,-3 10-8 0 0,1-1 0 0 0,-1 1 0 0 0,1 0-1 0 0,-1 0 1 0 0,0-1 0 0 0,0 1 0 0 0,1 0 0 0 0,-1-1 0 0 0,0 1-1 0 0,0 0 1 0 0,0-1 0 0 0,0 1 0 0 0,0 0 0 0 0,-1-1 0 0 0,1 1 0 0 0,0 0-1 0 0,-1-1 1 0 0,1 1 0 0 0,-1 0 0 0 0,1 0 0 0 0,-1-1 0 0 0,1 1 0 0 0,-1 0-1 0 0,-1-2 1 0 0,-3 1-10 0 0,-7 3 30 0 0,0 1 0 0 0,0 0 0 0 0,0 0 0 0 0,0 1-1 0 0,1 1 1 0 0,-17 7 0 0 0,-72 37 188 0 0,85-40-191 0 0,-43 26-1019 0 0,23-10-3203 0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20.7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7 99 372 0 0,'95'-51'6498'0'0,"-92"49"-6272"0"0,0 1 0 0 0,0-1 0 0 0,0 0-1 0 0,0 0 1 0 0,0 0 0 0 0,0 0 0 0 0,0-1 0 0 0,-1 1 0 0 0,1-1 0 0 0,-1 1-1 0 0,0-1 1 0 0,3-3 0 0 0,-4 4-74 0 0,-1 1-9 0 0,0 0-136 0 0,0 1 1 0 0,0 0-1 0 0,1-1 1 0 0,-1 1-1 0 0,0 0 0 0 0,0 0 1 0 0,0-1-1 0 0,0 1 1 0 0,0 0-1 0 0,0-1 1 0 0,0 1-1 0 0,0 0 1 0 0,0 0-1 0 0,0-1 0 0 0,0 1 1 0 0,0 0-1 0 0,0-1 1 0 0,0 1-1 0 0,0 0 1 0 0,0-1-1 0 0,0 1 1 0 0,0 0-1 0 0,0 0 0 0 0,0-1 1 0 0,0 1-1 0 0,-1 0 1 0 0,1-1-1 0 0,0 1 1 0 0,0 0-1 0 0,-1-1 1 0 0,-3 0 13 0 0,0 1 1 0 0,0-1 0 0 0,-1 1 0 0 0,1 0 0 0 0,0 0-1 0 0,-1 0 1 0 0,1 1 0 0 0,0-1 0 0 0,-1 1 0 0 0,1 0 0 0 0,0 0-1 0 0,0 1 1 0 0,-8 3 0 0 0,-10 5 137 0 0,-25 14-1 0 0,39-19-104 0 0,-12 6 110 0 0,1 2 1 0 0,1-1-1 0 0,-32 30 0 0 0,43-35-77 0 0,0 0 0 0 0,0 0 0 0 0,1 1 0 0 0,1-1 1 0 0,-1 1-1 0 0,1 1 0 0 0,0-1 0 0 0,1 1 1 0 0,0-1-1 0 0,1 1 0 0 0,-5 16 0 0 0,8-24-64 0 0,-1 0 0 0 0,1 1 0 0 0,0-1 0 0 0,-1 1 0 0 0,1-1 0 0 0,0 0 0 0 0,0 1 0 0 0,0-1-1 0 0,0 1 1 0 0,1-1 0 0 0,-1 0 0 0 0,0 1 0 0 0,0-1 0 0 0,1 0 0 0 0,-1 1 0 0 0,1-1 0 0 0,-1 0 0 0 0,1 1 0 0 0,0-1 0 0 0,-1 0-1 0 0,1 0 1 0 0,0 0 0 0 0,0 0 0 0 0,0 0 0 0 0,0 0 0 0 0,0 0 0 0 0,0 0 0 0 0,0 0 0 0 0,0 0 0 0 0,0 0 0 0 0,2 0 0 0 0,0 0-8 0 0,-1 0-1 0 0,1 0 1 0 0,-1-1 0 0 0,1 1 0 0 0,0-1 0 0 0,-1 0 0 0 0,1 0 0 0 0,0 0 0 0 0,-1 0 0 0 0,1 0 0 0 0,-1-1 0 0 0,1 1 0 0 0,0-1 0 0 0,-1 1 0 0 0,5-3 0 0 0,5-2 13 0 0,0-2 0 0 0,0 0 1 0 0,-1 0-1 0 0,0-1 0 0 0,0 0 0 0 0,12-13 1 0 0,-11 10-44 0 0,1 0 0 0 0,1 1 0 0 0,26-16 1 0 0,-40 26 13 0 0,0 0 0 0 0,1-1 1 0 0,-1 1-1 0 0,0 0 1 0 0,1 0-1 0 0,-1-1 1 0 0,0 1-1 0 0,1 0 1 0 0,-1 0-1 0 0,1-1 0 0 0,-1 1 1 0 0,0 0-1 0 0,1 0 1 0 0,-1 0-1 0 0,1 0 1 0 0,-1 0-1 0 0,0 0 0 0 0,1 0 1 0 0,-1 0-1 0 0,1 0 1 0 0,-1 0-1 0 0,1 0 1 0 0,-1 0-1 0 0,0 0 1 0 0,1 0-1 0 0,-1 0 0 0 0,1 0 1 0 0,-1 0-1 0 0,1 1 1 0 0,-1-1-1 0 0,0 0 1 0 0,1 0-1 0 0,-1 0 0 0 0,0 1 1 0 0,1-1-1 0 0,-1 0 1 0 0,0 1-1 0 0,1-1 1 0 0,0 7 8 0 0,-2 2 41 0 0,0 0 0 0 0,0 0 0 0 0,0 0-1 0 0,-1 0 1 0 0,-5 15 0 0 0,0-3 117 0 0,-46 203 1631 0 0,42-162-1096 0 0,-6 104-1 0 0,14-123-498 0 0,1-23 214 0 0,1 0 0 0 0,1 0 0 0 0,4 30 0 0 0,-4-49-394 0 0,0 0 0 0 0,1 0 0 0 0,-1-1-1 0 0,0 1 1 0 0,1-1 0 0 0,-1 1-1 0 0,1 0 1 0 0,-1-1 0 0 0,1 1 0 0 0,-1-1-1 0 0,1 1 1 0 0,-1-1 0 0 0,1 1-1 0 0,-1-1 1 0 0,1 1 0 0 0,0-1-1 0 0,-1 0 1 0 0,1 1 0 0 0,0-1 0 0 0,-1 0-1 0 0,1 0 1 0 0,0 1 0 0 0,0-1-1 0 0,-1 0 1 0 0,1 0 0 0 0,0 0 0 0 0,0 0-1 0 0,-1 0 1 0 0,1 0 0 0 0,0 0-1 0 0,-1 0 1 0 0,1 0 0 0 0,0 0-1 0 0,0-1 1 0 0,-1 1 0 0 0,1 0 0 0 0,0 0-1 0 0,-1-1 1 0 0,2 0 0 0 0,28-12 184 0 0,-16 3-225 0 0,-1 0 1 0 0,-1-1 0 0 0,1 0 0 0 0,-2-1 0 0 0,0 0 0 0 0,14-20 0 0 0,51-89-509 0 0,-67 105 474 0 0,147-286-879 0 0,-128 244 835 0 0,8-19-160 0 0,-35 76 209 0 0,-2 1-61 0 0,0 0 103 0 0,1 1 0 0 0,-1-1 0 0 0,0 0 0 0 0,1 1 0 0 0,-1-1 0 0 0,0 1 0 0 0,1-1 0 0 0,-1 1 0 0 0,1-1 0 0 0,-1 1 0 0 0,1-1 1 0 0,0 1-1 0 0,-1 0 0 0 0,1-1 0 0 0,-1 2 0 0 0,-3 9-1 0 0,1 0 0 0 0,0 1 0 0 0,1-1 0 0 0,0 1 0 0 0,1-1-1 0 0,0 1 1 0 0,1 19 0 0 0,1-27 15 0 0,-1 0-1 0 0,1 0 0 0 0,0 0 1 0 0,0 0-1 0 0,0 0 0 0 0,0 0 1 0 0,1-1-1 0 0,-1 1 0 0 0,1-1 1 0 0,0 1-1 0 0,0-1 0 0 0,1 1 1 0 0,-1-1-1 0 0,1 0 0 0 0,-1 0 1 0 0,1 0-1 0 0,0-1 0 0 0,0 1 0 0 0,0-1 1 0 0,1 1-1 0 0,-1-1 0 0 0,0 0 1 0 0,1 0-1 0 0,0 0 0 0 0,-1-1 1 0 0,7 2-1 0 0,-3-1-27 0 0,-1-1 0 0 0,0 0 0 0 0,1 0 0 0 0,-1-1 0 0 0,1 0 0 0 0,-1 0 0 0 0,1 0 0 0 0,-1-1 0 0 0,1 0 0 0 0,-1-1 0 0 0,0 1 0 0 0,0-1 0 0 0,1 0 0 0 0,-1-1 0 0 0,0 1 0 0 0,-1-1 0 0 0,1 0 0 0 0,0-1 0 0 0,6-5 0 0 0,7-6-211 0 0,0-1 0 0 0,-2-1 0 0 0,28-33 0 0 0,8-20 83 0 0,-52 69 119 0 0,-20 34-95 0 0,14-22 120 0 0,1 0 0 0 0,0 0 0 0 0,1 0 0 0 0,-4 24 0 0 0,6-30 17 0 0,1 1 1 0 0,-1-1-1 0 0,1 1 0 0 0,0-1 1 0 0,1 1-1 0 0,-1-1 1 0 0,1 0-1 0 0,0 1 1 0 0,1-1-1 0 0,-1 0 1 0 0,1 1-1 0 0,5 9 1 0 0,-6-14-6 0 0,0 1 0 0 0,0-1-1 0 0,0 1 1 0 0,0-1 0 0 0,1 0 0 0 0,-1 1 0 0 0,0-1 0 0 0,1 0 0 0 0,-1 0-1 0 0,1 0 1 0 0,-1 0 0 0 0,1 0 0 0 0,0 0 0 0 0,0 0 0 0 0,-1-1 0 0 0,1 1-1 0 0,3 0 1 0 0,14 1 10 0 0,-12-3-27 0 0,0 0 0 0 0,-1 0 1 0 0,1-1-1 0 0,-1 0 0 0 0,1 0 1 0 0,-1 0-1 0 0,0-1 0 0 0,0 0 1 0 0,0 0-1 0 0,0 0 0 0 0,0-1 1 0 0,6-6-1 0 0,9-7-17 0 0,32-38 0 0 0,-5 6 610 0 0,-46 48-552 0 0,12-13 37 0 0,-13 14-66 0 0,-1-1 0 0 0,0 1 0 0 0,1 0 0 0 0,-1-1 0 0 0,1 1 0 0 0,-1 0 0 0 0,1-1 0 0 0,-1 1 0 0 0,1 0 0 0 0,-1-1 0 0 0,1 1 0 0 0,-1 0 1 0 0,1 0-1 0 0,-1 0 0 0 0,1-1 0 0 0,-1 1 0 0 0,1 0 0 0 0,0 0 0 0 0,-1 0 0 0 0,1 0 0 0 0,-1 0 0 0 0,1 0 0 0 0,1 0 0 0 0,-2 1-2 0 0,1-1-1 0 0,0 1 1 0 0,0 0-1 0 0,-1-1 1 0 0,1 1 0 0 0,0 0-1 0 0,-1 0 1 0 0,1-1 0 0 0,-1 1-1 0 0,1 0 1 0 0,-1 0-1 0 0,1 0 1 0 0,-1 0 0 0 0,0 0-1 0 0,1 0 1 0 0,-1 0 0 0 0,0 0-1 0 0,0 0 1 0 0,0 0-1 0 0,0 0 1 0 0,1 0 0 0 0,-1 0-1 0 0,-1-1 1 0 0,1 1 0 0 0,0 2-1 0 0,0-1 3 0 0,-1 121-1327 0 0,-5-43-4621 0 0,4-53 2146 0 0,0-14-333 0 0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21.5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153 1316 0 0,'-32'-125'4603'0'0,"32"124"-4592"0"0,0 0 0 0 0,0 0 0 0 0,1 0 0 0 0,-1 0 0 0 0,0 0-1 0 0,0 0 1 0 0,0 0 0 0 0,1 0 0 0 0,-1 0 0 0 0,1 0 0 0 0,-1 0 0 0 0,1 0-1 0 0,-1 0 1 0 0,1 0 0 0 0,-1 0 0 0 0,1 1 0 0 0,0-1 0 0 0,-1 0 0 0 0,1 0-1 0 0,0 1 1 0 0,0-1 0 0 0,0 0 0 0 0,-1 1 0 0 0,1-1 0 0 0,0 1 0 0 0,0-1-1 0 0,0 1 1 0 0,0 0 0 0 0,0-1 0 0 0,0 1 0 0 0,0 0 0 0 0,0-1 0 0 0,0 1-1 0 0,1 0 1 0 0,3-1-10 0 0,0 1-1 0 0,0-1 1 0 0,-1 1-1 0 0,1 0 1 0 0,0 0-1 0 0,0 0 1 0 0,8 2-1 0 0,-3 0 10 0 0,5 1 172 0 0,-1 1 0 0 0,1 0 0 0 0,-1 0 0 0 0,0 1 0 0 0,0 1 0 0 0,-1 1 0 0 0,0 0 0 0 0,0 0-1 0 0,0 2 1 0 0,15 12 0 0 0,-4 0 249 0 0,0 1 0 0 0,-1 0 0 0 0,32 44 0 0 0,-45-53-341 0 0,0 1 1 0 0,-1 0-1 0 0,-1 0 0 0 0,0 1 0 0 0,-1 0 0 0 0,-1 1 0 0 0,0-1 0 0 0,3 18 1 0 0,-7-25 1 0 0,-1 0 1 0 0,0-1 0 0 0,0 1-1 0 0,-1-1 1 0 0,0 1 0 0 0,0 0-1 0 0,-1 0 1 0 0,0-1 0 0 0,0 1-1 0 0,-1-1 1 0 0,0 1 0 0 0,0-1-1 0 0,0 0 1 0 0,-1 0 0 0 0,0 0-1 0 0,-1 0 1 0 0,0 0 0 0 0,0-1-1 0 0,-6 9 1 0 0,9-14-64 0 0,0-1 0 0 0,0 1 0 0 0,-1 0 1 0 0,1 0-1 0 0,0-1 0 0 0,0 1 0 0 0,0-1 0 0 0,0 1 0 0 0,-1-1 0 0 0,1 1 0 0 0,0-1 0 0 0,0 0 0 0 0,-1 0 0 0 0,1 1 1 0 0,0-1-1 0 0,-1 0 0 0 0,1 0 0 0 0,0 0 0 0 0,-1 0 0 0 0,1-1 0 0 0,0 1 0 0 0,0 0 0 0 0,-3-1 0 0 0,3 0-41 0 0,1 1 17 0 0,-1 0-1 0 0,1 0 1 0 0,-1 0-1 0 0,1-1 0 0 0,-1 1 1 0 0,1 0-1 0 0,-1-1 1 0 0,1 1-1 0 0,0 0 1 0 0,-1-1-1 0 0,1 1 0 0 0,-1-1 1 0 0,1 1-1 0 0,0 0 1 0 0,0-1-1 0 0,-1 1 1 0 0,1-1-1 0 0,0 1 0 0 0,0-1 1 0 0,-1 1-1 0 0,1-1 1 0 0,0 1-1 0 0,0-1 1 0 0,0 0-1 0 0,0 1 0 0 0,0-1 1 0 0,0 1-1 0 0,0-2 1 0 0,1-13 41 0 0,3 4-39 0 0,0-1 0 0 0,0 1 0 0 0,2 0-1 0 0,-1 1 1 0 0,1-1 0 0 0,1 1 0 0 0,0 0 0 0 0,13-14 0 0 0,9-7-45 0 0,36-30 1 0 0,-39 38 30 0 0,-23 20-5 0 0,1 1 0 0 0,-1-1 0 0 0,1 0 0 0 0,0 1 0 0 0,0 0 1 0 0,0 0-1 0 0,0 0 0 0 0,0 0 0 0 0,0 0 0 0 0,0 1 0 0 0,1 0 0 0 0,-1 0 0 0 0,0 0 0 0 0,9 0 1 0 0,-10 1 5 0 0,0 0 0 0 0,0 1 1 0 0,0-1-1 0 0,0 1 1 0 0,0 0-1 0 0,0 0 0 0 0,0 0 1 0 0,0 0-1 0 0,0 0 0 0 0,0 1 1 0 0,0-1-1 0 0,-1 1 1 0 0,1 0-1 0 0,-1 0 0 0 0,1 0 1 0 0,-1 0-1 0 0,0 0 1 0 0,0 1-1 0 0,0-1 0 0 0,0 0 1 0 0,0 1-1 0 0,2 3 1 0 0,4 9 10 0 0,0-1 1 0 0,-2 1 0 0 0,1 0 0 0 0,-2 0 0 0 0,0 1-1 0 0,4 20 1 0 0,-9-32 25 0 0,1 1 0 0 0,-1 0 0 0 0,0 0 0 0 0,-1-1 0 0 0,1 1-1 0 0,-3 8 1 0 0,3-11 109 0 0,-16-8-128 0 0,15 5-13 0 0,1 1 1 0 0,-1-1 0 0 0,1 1-1 0 0,-1-1 1 0 0,1 0 0 0 0,-1 1-1 0 0,1-1 1 0 0,0 1 0 0 0,-1-1-1 0 0,1 0 1 0 0,0 1 0 0 0,-1-1-1 0 0,1 0 1 0 0,0 1 0 0 0,0-1-1 0 0,0 0 1 0 0,0 1 0 0 0,0-1-1 0 0,0 0 1 0 0,0 0 0 0 0,0 1-1 0 0,0-1 1 0 0,0 0 0 0 0,0 1-1 0 0,0-1 1 0 0,0 0 0 0 0,1 0-1 0 0,-1 0 1 0 0,6-15-22 0 0,-3 8 7 0 0,1 1 0 0 0,0 0 0 0 0,0 0 0 0 0,1 0 1 0 0,0 1-1 0 0,0-1 0 0 0,1 1 0 0 0,-1 0 0 0 0,1 1 1 0 0,1 0-1 0 0,-1 0 0 0 0,10-6 0 0 0,-3 3-1 0 0,0 1 0 0 0,0 1 0 0 0,1 0 0 0 0,0 0 1 0 0,20-4-1 0 0,8 4-39 0 0,-27 5 48 0 0,37-1 1 0 0,-30 1 9 0 0,-10 1 18 0 0,0-1-1 0 0,1 0 1 0 0,-1-1-1 0 0,0 0 0 0 0,0-1 1 0 0,0-1-1 0 0,15-5 1 0 0,-24 7-32 0 0,-1-1 1 0 0,1 1-1 0 0,0-1 0 0 0,-1 0 1 0 0,1 0-1 0 0,-1 0 0 0 0,0 0 1 0 0,0 0-1 0 0,0 0 0 0 0,0-1 1 0 0,0 1-1 0 0,-1-1 0 0 0,0 1 1 0 0,0-1-1 0 0,0 1 0 0 0,0-1 1 0 0,0-5-1 0 0,0 9 6 0 0,-2-1 0 0 0,1 0 0 0 0,0 0 0 0 0,0 0 0 0 0,0 0 0 0 0,0 1 0 0 0,0-1 0 0 0,-1 0 0 0 0,1 0 0 0 0,0 1 0 0 0,-1-1 0 0 0,1 0 0 0 0,0 0 0 0 0,-1 1 0 0 0,1-1 0 0 0,-1 0 0 0 0,1 1 0 0 0,-1-1 0 0 0,0 1 0 0 0,1-1 0 0 0,-1 1 0 0 0,0-1 1 0 0,1 1-1 0 0,-1-1 0 0 0,0 1 0 0 0,1-1 0 0 0,-1 1 0 0 0,0 0 0 0 0,0-1 0 0 0,0 1 0 0 0,1 0 0 0 0,-1 0 0 0 0,0 0 0 0 0,0 0 0 0 0,-1 0 0 0 0,-29-2-75 0 0,30 2 80 0 0,-5 0-4 0 0,-1 1 1 0 0,1 0 0 0 0,-1 0 0 0 0,1 1 0 0 0,0 0 0 0 0,0 0 0 0 0,-1 0 0 0 0,1 1 0 0 0,0-1 0 0 0,1 2 0 0 0,-1-1 0 0 0,1 1 0 0 0,-1-1 0 0 0,1 1 0 0 0,0 1 0 0 0,0-1-1 0 0,1 1 1 0 0,-1 0 0 0 0,1 0 0 0 0,0 0 0 0 0,1 1 0 0 0,-1-1 0 0 0,1 1 0 0 0,0 0 0 0 0,0 0 0 0 0,1 0 0 0 0,0 0 0 0 0,0 0 0 0 0,0 1 0 0 0,1-1 0 0 0,0 1-1 0 0,0-1 1 0 0,1 1 0 0 0,0-1 0 0 0,0 1 0 0 0,0-1 0 0 0,1 1 0 0 0,0-1 0 0 0,0 1 0 0 0,0-1 0 0 0,4 7 0 0 0,-1-1-293 0 0,2-1 1 0 0,0 0 0 0 0,0 0-1 0 0,1 0 1 0 0,0-1-1 0 0,1 0 1 0 0,0-1-1 0 0,12 12 1 0 0,-11-13-575 0 0,0-1 0 0 0,1 1-1 0 0,-1-2 1 0 0,1 1 0 0 0,12 5 0 0 0,0-2-1690 0 0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21.9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4 80 2308 0 0,'-4'-80'8646'0'0,"-12"89"-7803"0"0,14-7-767 0 0,0 0 0 0 0,0 0 1 0 0,0 0-1 0 0,0 1 0 0 0,0-1 0 0 0,1 1 0 0 0,-1-1 1 0 0,1 1-1 0 0,0 0 0 0 0,0 0 0 0 0,-2 5 0 0 0,-6 36 426 0 0,8-36-428 0 0,-7 63-352 0 0,3-1 1 0 0,9 122 0 0 0,-2-141-1158 0 0,0 30-3930 0 0,0-59 2114 0 0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25.38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84 380 1168 0 0,'-10'-4'438'0'0,"0"1"0"0"0,0 0 0 0 0,0 1 0 0 0,0 0 0 0 0,0 1 0 0 0,-1 0 0 0 0,1 0 0 0 0,-1 1 0 0 0,1 0 0 0 0,0 1-1 0 0,0 0 1 0 0,-1 1 0 0 0,1 0 0 0 0,0 1 0 0 0,0 0 0 0 0,0 0 0 0 0,-17 10 0 0 0,12-6-201 0 0,1 1-1 0 0,-1 1 1 0 0,1 1 0 0 0,1 0 0 0 0,0 0-1 0 0,0 1 1 0 0,1 1 0 0 0,1 0 0 0 0,0 1-1 0 0,-13 19 1 0 0,20-26-171 0 0,0 0 0 0 0,1 1 1 0 0,0-1-1 0 0,0 1 0 0 0,0-1 0 0 0,1 1 0 0 0,0 0 0 0 0,1 0 0 0 0,-1 0 1 0 0,1 0-1 0 0,1 0 0 0 0,-1 0 0 0 0,1 1 0 0 0,1-1 0 0 0,-1 0 1 0 0,1 0-1 0 0,2 8 0 0 0,-1-7-31 0 0,1 0 1 0 0,0 0-1 0 0,1-1 1 0 0,-1 0-1 0 0,1 1 1 0 0,1-1-1 0 0,-1-1 1 0 0,1 1-1 0 0,1-1 1 0 0,-1 0-1 0 0,1 0 0 0 0,0 0 1 0 0,0-1-1 0 0,11 8 1 0 0,-4-5-18 0 0,0 0 0 0 0,0-1 1 0 0,1 0-1 0 0,0-1 0 0 0,0-1 0 0 0,1 0 1 0 0,0-1-1 0 0,-1 0 0 0 0,1-2 0 0 0,0 1 1 0 0,1-2-1 0 0,-1 0 0 0 0,0-1 0 0 0,0 0 1 0 0,0-1-1 0 0,1-1 0 0 0,-1-1 0 0 0,0 0 1 0 0,-1 0-1 0 0,1-2 0 0 0,-1 0 0 0 0,0-1 1 0 0,24-12-1 0 0,-9 0-24 0 0,-1 0 1 0 0,0-2-1 0 0,-2-1 1 0 0,0-2-1 0 0,-2 0 1 0 0,-1-1-1 0 0,0-1 0 0 0,-2-2 1 0 0,-1 0-1 0 0,-1-1 1 0 0,-1-1-1 0 0,-2 0 1 0 0,-1-1-1 0 0,17-51 1 0 0,-22 50-51 0 0,-1-2 0 0 0,-1 1 0 0 0,-2-1 0 0 0,-2 0 1 0 0,-1 0-1 0 0,-2-64 0 0 0,-1 93 62 0 0,0 0-6 0 0,0 0 0 0 0,0 0 0 0 0,-1 0 0 0 0,1 0 1 0 0,-1 0-1 0 0,0 0 0 0 0,0 0 0 0 0,0 0 0 0 0,-1 0 0 0 0,1 0 1 0 0,-1 0-1 0 0,-4-6 0 0 0,1 9-9 0 0,0 1 4 0 0,-1 0-1 0 0,1 0 0 0 0,0 0 0 0 0,0 1 1 0 0,0 0-1 0 0,0 0 0 0 0,0 1 1 0 0,0-1-1 0 0,1 1 0 0 0,-1 0 1 0 0,-5 3-1 0 0,1 0 14 0 0,1 1-1 0 0,0 0 1 0 0,0 0 0 0 0,1 0-1 0 0,-11 12 1 0 0,8-6 32 0 0,1-1-1 0 0,0 1 1 0 0,1 1-1 0 0,0 0 1 0 0,1 0 0 0 0,0 0-1 0 0,-8 28 1 0 0,11-24-12 0 0,0-1 1 0 0,2 1-1 0 0,0 0 1 0 0,0 1-1 0 0,2-1 1 0 0,0 0-1 0 0,1 0 1 0 0,1 0-1 0 0,1 0 1 0 0,0 0-1 0 0,1-1 1 0 0,1 1-1 0 0,0-1 1 0 0,1 0-1 0 0,1 0 0 0 0,1-1 1 0 0,0 0-1 0 0,1 0 1 0 0,0-1-1 0 0,1 0 1 0 0,1-1-1 0 0,0 0 1 0 0,1 0-1 0 0,1-1 1 0 0,-1-1-1 0 0,2 0 1 0 0,-1-1-1 0 0,2 0 1 0 0,-1-2-1 0 0,1 1 1 0 0,1-2-1 0 0,-1 0 1 0 0,25 8-1 0 0,-23-11-11 0 0,-1 0 0 0 0,1-1 0 0 0,0-1 1 0 0,0-1-1 0 0,0 0 0 0 0,0-1 0 0 0,1-1 0 0 0,-1 0 0 0 0,-1-2 0 0 0,1 0 0 0 0,0 0 1 0 0,-1-2-1 0 0,29-11 0 0 0,-25 7 13 0 0,0-1 0 0 0,0-1 1 0 0,-1-1-1 0 0,0 0 0 0 0,-1-2 0 0 0,-1 0 0 0 0,0-1 1 0 0,-1 0-1 0 0,28-36 0 0 0,-42 49-23 0 0,-1 0 1 0 0,0 0-1 0 0,1 0 0 0 0,-1 0 0 0 0,0 0 1 0 0,0 0-1 0 0,0 0 0 0 0,0 0 1 0 0,-1-1-1 0 0,1 1 0 0 0,-1 0 0 0 0,1-1 1 0 0,-1 1-1 0 0,0 0 0 0 0,0-1 0 0 0,0 1 1 0 0,0 0-1 0 0,0-1 0 0 0,0 1 1 0 0,-1 0-1 0 0,1-1 0 0 0,-2-2 0 0 0,-3 1-13 0 0,-3 2-1 0 0,0 1 0 0 0,0 0 0 0 0,-1 1 0 0 0,1 0 0 0 0,0 0-1 0 0,0 1 1 0 0,0 0 0 0 0,0 0 0 0 0,0 1 0 0 0,0 0 0 0 0,0 0 0 0 0,1 1-1 0 0,-1 0 1 0 0,1 0 0 0 0,-1 1 0 0 0,-8 6 0 0 0,9-6-2 0 0,0 0 1 0 0,0 1 0 0 0,1 0-1 0 0,0 0 1 0 0,0 1 0 0 0,0-1-1 0 0,0 1 1 0 0,1 0 0 0 0,0 1-1 0 0,1-1 1 0 0,-1 1 0 0 0,1 0-1 0 0,1 0 1 0 0,-1 1-1 0 0,1-1 1 0 0,0 1 0 0 0,-2 10-1 0 0,5-16 11 0 0,-1 1-1 0 0,1 0 0 0 0,0 0 0 0 0,0 0 1 0 0,0 0-1 0 0,0 0 0 0 0,0 0 0 0 0,1 0 1 0 0,-1 0-1 0 0,1 0 0 0 0,0-1 0 0 0,0 1 1 0 0,0 0-1 0 0,0 0 0 0 0,0-1 0 0 0,1 1 1 0 0,-1-1-1 0 0,1 1 0 0 0,-1-1 1 0 0,1 1-1 0 0,0-1 0 0 0,0 0 0 0 0,0 0 1 0 0,1 0-1 0 0,-1 0 0 0 0,0 0 0 0 0,1-1 1 0 0,-1 1-1 0 0,1-1 0 0 0,-1 1 0 0 0,1-1 1 0 0,0 0-1 0 0,0 0 0 0 0,2 0 0 0 0,1 1-25 0 0,-1-1-1 0 0,1 0 0 0 0,-1-1 1 0 0,1 1-1 0 0,0-1 0 0 0,-1 0 1 0 0,1 0-1 0 0,-1-1 0 0 0,1 0 1 0 0,0 0-1 0 0,-1 0 0 0 0,0-1 1 0 0,1 1-1 0 0,-1-1 0 0 0,0-1 1 0 0,0 1-1 0 0,8-6 0 0 0,-3 0-18 0 0,0 0-1 0 0,0-1 0 0 0,-1 0 0 0 0,-1 0 1 0 0,1-1-1 0 0,-2 0 0 0 0,1-1 0 0 0,-1 0 0 0 0,-1 0 1 0 0,6-14-1 0 0,-11 22 6 0 0,-1 3 32 0 0,0-1 0 0 0,-1 1 0 0 0,1-1-1 0 0,-1 1 1 0 0,1-1 0 0 0,-1 1 0 0 0,1 0 0 0 0,0-1 0 0 0,-1 1 0 0 0,0-1 0 0 0,1 1-1 0 0,-1 0 1 0 0,1 0 0 0 0,-1-1 0 0 0,1 1 0 0 0,-1 0 0 0 0,1 0 0 0 0,-1 0 0 0 0,0-1 0 0 0,1 1-1 0 0,-2 0 1 0 0,-1 1-2 0 0,0 0 0 0 0,0 0-1 0 0,0 0 1 0 0,0 0 0 0 0,0 1-1 0 0,0-1 1 0 0,0 1-1 0 0,0 0 1 0 0,1 0 0 0 0,-1 0-1 0 0,1 0 1 0 0,-1 0 0 0 0,1 1-1 0 0,0-1 1 0 0,0 1 0 0 0,-4 4-1 0 0,4-2-3 0 0,0 0-1 0 0,0-1 0 0 0,0 1 0 0 0,0 0 1 0 0,1 0-1 0 0,-1 1 0 0 0,1-1 0 0 0,0 9 1 0 0,1-12 15 0 0,0 0 0 0 0,0 0 0 0 0,0 0 1 0 0,0 0-1 0 0,0 1 0 0 0,1-1 0 0 0,-1 0 0 0 0,1 0 1 0 0,0 0-1 0 0,0 0 0 0 0,-1 0 0 0 0,1 0 0 0 0,0 0 1 0 0,1 0-1 0 0,-1-1 0 0 0,0 1 0 0 0,0 0 0 0 0,1-1 1 0 0,-1 1-1 0 0,1-1 0 0 0,0 1 0 0 0,-1-1 0 0 0,1 0 1 0 0,0 1-1 0 0,3 0 0 0 0,0 0 11 0 0,0 0-1 0 0,0 0 1 0 0,1-1 0 0 0,-1 1-1 0 0,1-1 1 0 0,-1 0 0 0 0,1-1 0 0 0,-1 0-1 0 0,1 0 1 0 0,-1 0 0 0 0,10-1-1 0 0,-5-1 3 0 0,0 0-1 0 0,0-1 1 0 0,0 0-1 0 0,0-1 1 0 0,-1 1-1 0 0,10-7 1 0 0,-9 5-2 0 0,-1 0 0 0 0,1-1 1 0 0,-1-1-1 0 0,-1 1 0 0 0,1-1 1 0 0,-1-1-1 0 0,0 0 0 0 0,-1 0 0 0 0,0 0 1 0 0,0-1-1 0 0,-1 0 0 0 0,0 0 1 0 0,-1-1-1 0 0,0 0 0 0 0,0 0 1 0 0,-1 0-1 0 0,0 0 0 0 0,4-22 1 0 0,-6 24-23 0 0,-2 4 6 0 0,-2-21-16 0 0,1-1 6 0 0,1 23 8 0 0,0 1-4 0 0,0-7-14 0 0,0-12 8 0 0,0 14-28 0 0,0 11-166 0 0,1 18 194 0 0,8 42-1 0 0,0 8-66 0 0,-7 70 304 0 0,-2-89-65 0 0,-2 4 429 0 0,2-55-465 0 0,-8 5-48 0 0,8-7-79 0 0,0 0 0 0 0,-1 1 0 0 0,1-1 0 0 0,0 0 0 0 0,0 0-1 0 0,0 0 1 0 0,0 1 0 0 0,-1-1 0 0 0,1 0 0 0 0,0 0 0 0 0,0 0 0 0 0,-1 0 0 0 0,1 0 0 0 0,0 1 0 0 0,0-1 0 0 0,0 0-1 0 0,-1 0 1 0 0,1 0 0 0 0,0 0 0 0 0,0 0 0 0 0,-1 0 0 0 0,1 0 0 0 0,0 0 0 0 0,-1 0 0 0 0,1 0 0 0 0,0 0 0 0 0,0 0-1 0 0,-1 0 1 0 0,1 0 0 0 0,0 0 0 0 0,0 0 0 0 0,-1 0 0 0 0,1-1 0 0 0,0 1 0 0 0,0 0 0 0 0,0 0 0 0 0,-1 0 0 0 0,1 0-1 0 0,0-1 1 0 0,1-1-71 0 0,0-1 0 0 0,0 0 0 0 0,0 0 0 0 0,1 1 0 0 0,-1-1-1 0 0,1 1 1 0 0,0 0 0 0 0,3-5 0 0 0,-4 7 61 0 0,85-84-1199 0 0,-63 64 1135 0 0,-1 0 1 0 0,-1-1 0 0 0,29-40 0 0 0,25-67 1532 0 0,-74 126-1417 0 0,1 1-3 0 0,-2 1-32 0 0,1 0 1 0 0,-1-1-1 0 0,1 1 0 0 0,-1 0 0 0 0,1-1 1 0 0,0 1-1 0 0,-1 0 0 0 0,1 0 0 0 0,-1 0 0 0 0,1 0 1 0 0,0 0-1 0 0,-1 0 0 0 0,1 0 0 0 0,0 0 1 0 0,-1 0-1 0 0,1 0 0 0 0,-1 0 0 0 0,1 0 1 0 0,0 0-1 0 0,0 1 0 0 0,8 11 56 0 0,0 1 0 0 0,0 0 0 0 0,-1 0 0 0 0,-1 1 1 0 0,0 0-1 0 0,-1 0 0 0 0,-1 0 0 0 0,0 1 0 0 0,-1 0 0 0 0,-1 0 0 0 0,0 0 0 0 0,1 31 0 0 0,-4-36-50 0 0,-1-1 1 0 0,0 0-1 0 0,0 0 0 0 0,-1 1 0 0 0,0-1 0 0 0,-1 0 0 0 0,0-1 0 0 0,0 1 0 0 0,-1 0 0 0 0,0-1 0 0 0,-1 0 0 0 0,0 0 0 0 0,0 0 0 0 0,-1-1 0 0 0,-6 8 1 0 0,2-4-584 0 0,-1-1 1 0 0,1 0 0 0 0,-20 12 0 0 0,13-11-1530 0 0,0-1 0 0 0,-20 8-1 0 0,16-8-1976 0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38.6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2 140 660 0 0,'32'-22'3457'0'0,"-21"15"-2710"0"0,0-1 1 0 0,0 0-1 0 0,-1 0 1 0 0,14-15-1 0 0,-19 18-324 0 0,-1-1 0 0 0,1 0 1 0 0,-1 0-1 0 0,0-1 0 0 0,4-8 0 0 0,-8 15-416 0 0,0 0 1 0 0,0-1-1 0 0,0 1 0 0 0,0-1 0 0 0,0 1 1 0 0,0-1-1 0 0,0 1 0 0 0,0-1 1 0 0,0 1-1 0 0,0 0 0 0 0,0-1 0 0 0,0 1 1 0 0,-1-1-1 0 0,1 1 0 0 0,0-1 1 0 0,0 1-1 0 0,0 0 0 0 0,-1-1 1 0 0,1 1-1 0 0,0-1 0 0 0,0 1 0 0 0,-1 0 1 0 0,1-1-1 0 0,0 1 0 0 0,-1 0 1 0 0,1-1-1 0 0,0 1 0 0 0,-1 0 0 0 0,1 0 1 0 0,0-1-1 0 0,-1 1 0 0 0,1 0 1 0 0,-1 0-1 0 0,0 0 0 0 0,-19-5 133 0 0,8 4-130 0 0,1 1 0 0 0,-1 0 0 0 0,1 1-1 0 0,0 1 1 0 0,-1 0 0 0 0,1 0 0 0 0,0 1 0 0 0,0 0-1 0 0,-13 7 1 0 0,20-9-9 0 0,1 1-1 0 0,-1 0 1 0 0,1 0-1 0 0,-1 0 1 0 0,1 0-1 0 0,0 1 1 0 0,0-1-1 0 0,0 1 0 0 0,0 0 1 0 0,1 0-1 0 0,-1 0 1 0 0,1 0-1 0 0,-1 0 1 0 0,1 1-1 0 0,0-1 1 0 0,1 1-1 0 0,-1 0 1 0 0,1-1-1 0 0,-1 1 1 0 0,1 0-1 0 0,0 0 1 0 0,0 0-1 0 0,1 0 1 0 0,-1-1-1 0 0,1 1 1 0 0,0 0-1 0 0,0 0 1 0 0,0 0-1 0 0,0 0 1 0 0,2 7-1 0 0,1-2 13 0 0,0-1-1 0 0,0 1 1 0 0,0-1-1 0 0,1 0 1 0 0,0-1 0 0 0,1 1-1 0 0,5 7 1 0 0,42 49 77 0 0,-8-13-11 0 0,-15-21-87 0 0,-2 1 0 0 0,-2 1 0 0 0,-1 2 0 0 0,27 48 0 0 0,-49-79 42 0 0,-1-1-1 0 0,0 1 1 0 0,0 0-1 0 0,0 0 1 0 0,0 0-1 0 0,-1-1 1 0 0,1 1-1 0 0,-1 0 1 0 0,1 0 0 0 0,-1 0-1 0 0,0 0 1 0 0,0 0-1 0 0,-1 5 1 0 0,0-6-10 0 0,0 0 0 0 0,1 0 0 0 0,-1-1 0 0 0,0 1 0 0 0,0-1 0 0 0,0 1 0 0 0,0 0 0 0 0,0-1 0 0 0,0 0 1 0 0,-1 1-1 0 0,1-1 0 0 0,0 0 0 0 0,-1 1 0 0 0,1-1 0 0 0,-1 0 0 0 0,1 0 0 0 0,-1 0 0 0 0,0-1 0 0 0,1 1 0 0 0,-1 0 0 0 0,0 0 0 0 0,0-1 0 0 0,-3 1 0 0 0,-2 1 25 0 0,-1-1 0 0 0,1 0 0 0 0,-1-1 0 0 0,1 0 0 0 0,-1 0 0 0 0,0-1-1 0 0,1 1 1 0 0,-1-2 0 0 0,1 1 0 0 0,-1-1 0 0 0,1 0 0 0 0,0-1-1 0 0,0 1 1 0 0,0-1 0 0 0,0-1 0 0 0,0 1 0 0 0,1-1 0 0 0,-10-8-1 0 0,8 6-44 0 0,1 0 0 0 0,0-1-1 0 0,0 0 1 0 0,0 0 0 0 0,1 0-1 0 0,0-1 1 0 0,1 0-1 0 0,0 0 1 0 0,0 0 0 0 0,1-1-1 0 0,-1 1 1 0 0,2-1-1 0 0,0 0 1 0 0,-4-13 0 0 0,4 6-117 0 0,1 0 1 0 0,-2-29-1 0 0,4 42 77 0 0,-1 4-53 0 0,0 0 86 0 0,0-1 0 0 0,0 1-1 0 0,0 0 1 0 0,1 0-1 0 0,-1-1 1 0 0,0 1-1 0 0,0 0 1 0 0,0 0-1 0 0,1 0 1 0 0,-1 0 0 0 0,0 0-1 0 0,1 0 1 0 0,-1 1-1 0 0,1-1 1 0 0,-1 2-1 0 0,-2 2 1 0 0,-11 16 23 0 0,-28 32 0 0 0,6-9-1 0 0,-6 8-13 0 0,21-27-461 0 0,1 1 0 0 0,-30 50 0 0 0,42-56-502 0 0,8-19 819 0 0,0 0 0 0 0,0-1 0 0 0,-1 1-1 0 0,1-1 1 0 0,0 1 0 0 0,0 0 0 0 0,0-1 0 0 0,0 1-1 0 0,0-1 1 0 0,0 1 0 0 0,0 0 0 0 0,0-1 0 0 0,0 1-1 0 0,0-1 1 0 0,0 1 0 0 0,0 0 0 0 0,0-1 0 0 0,0 1-1 0 0,1-1 1 0 0,-1 1 0 0 0,0 0 0 0 0,0-1 0 0 0,1 1-1 0 0,-1-1 1 0 0,0 1 0 0 0,1-1 0 0 0,-1 1 0 0 0,1-1-1 0 0,-1 1 1 0 0,1-1 0 0 0,-1 0 0 0 0,0 1 0 0 0,1-1-1 0 0,0 0 1 0 0,-1 1 0 0 0,2-1 0 0 0,17 5-2728 0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3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4 1432 0 0,'7'-3'1071'0'0,"1"0"1"0"0,-1 0-1 0 0,15-2 0 0 0,-19 5-41 0 0,0 6 307 0 0,-3-6-1298 0 0,1 1 0 0 0,-1-1 0 0 0,0 0 0 0 0,0 0 0 0 0,1 1 0 0 0,-1-1 1 0 0,0 0-1 0 0,0 1 0 0 0,1-1 0 0 0,-1 0 0 0 0,0 1 0 0 0,0-1 0 0 0,0 0 0 0 0,0 1 0 0 0,0-1 0 0 0,0 1 0 0 0,1-1 0 0 0,-1 0 0 0 0,0 1 1 0 0,0-1-1 0 0,0 1 0 0 0,0-1 0 0 0,0 0 0 0 0,0 1 0 0 0,0-1 0 0 0,-1 0 0 0 0,1 2 0 0 0,-3 18 748 0 0,1-4-220 0 0,0 0 0 0 0,1 1 1 0 0,1 24-1 0 0,1-35-483 0 0,0 0 0 0 0,0 0 0 0 0,1 0 0 0 0,0 0-1 0 0,0 0 1 0 0,0 0 0 0 0,1 0 0 0 0,-1-1 0 0 0,1 1 0 0 0,1-1 0 0 0,-1 0 0 0 0,1 0 0 0 0,5 6 0 0 0,-2-4 46 0 0,1 1 1 0 0,-1-1-1 0 0,1-1 1 0 0,1 1-1 0 0,-1-2 1 0 0,1 1 0 0 0,0-1-1 0 0,0 0 1 0 0,1-1-1 0 0,0 0 1 0 0,-1 0-1 0 0,18 3 1 0 0,-22-7-69 0 0,0 1 0 0 0,-1-1 0 0 0,1 0 0 0 0,0-1 0 0 0,0 1 0 0 0,0-1 0 0 0,0 0 0 0 0,-1 0 0 0 0,1 0 0 0 0,0-1 0 0 0,-1 1 0 0 0,1-1 0 0 0,-1-1 0 0 0,0 1 0 0 0,1 0 0 0 0,-1-1 0 0 0,0 0 0 0 0,5-4 0 0 0,-3 1-15 0 0,-1 1 0 0 0,1-1 0 0 0,-1 0-1 0 0,0 0 1 0 0,0-1 0 0 0,-1 0-1 0 0,0 1 1 0 0,0-1 0 0 0,5-15 0 0 0,-6 15-21 0 0,-1 0 1 0 0,0-1 0 0 0,-1 1 0 0 0,0 0 0 0 0,0-1 0 0 0,0 0 0 0 0,-1 1 0 0 0,0-1-1 0 0,-2-12 1 0 0,1 16-59 0 0,0 1-1 0 0,0-1 0 0 0,0 1 1 0 0,0-1-1 0 0,-1 1 0 0 0,1 0 1 0 0,-1 0-1 0 0,0 0 0 0 0,0 0 1 0 0,0 0-1 0 0,0 0 0 0 0,0 0 1 0 0,-1 1-1 0 0,1-1 0 0 0,-1 1 1 0 0,0 0-1 0 0,1 0 0 0 0,-1 0 1 0 0,0 0-1 0 0,-1 0 0 0 0,1 0 1 0 0,-4-1-1 0 0,1 1-331 0 0,-1 0 0 0 0,1 0 1 0 0,-1 1-1 0 0,1 0 0 0 0,-1 0 0 0 0,0 1 0 0 0,1-1 1 0 0,-14 2-1 0 0,11 1-978 0 0,0-1 0 0 0,1 1 0 0 0,-14 5 0 0 0,-10 6-3881 0 0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0.6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7 16 848 0 0,'-1'-2'444'0'0,"1"1"0"0"0,-1 0 0 0 0,1-1 0 0 0,-1 1-1 0 0,0 0 1 0 0,0-1 0 0 0,1 1 0 0 0,-1 0 0 0 0,0 0 0 0 0,-2-2 0 0 0,1 11-33 0 0,0 0 1 0 0,1 0 0 0 0,0 0 0 0 0,0 11-1 0 0,-5 28 803 0 0,-84 265 1464 0 0,87-284-2604 0 0,3-27-69 0 0,0 0-1 0 0,0 0 0 0 0,0 0 0 0 0,1 0 1 0 0,-1 0-1 0 0,0 0 0 0 0,1 1 0 0 0,-1-1 0 0 0,1 0 1 0 0,-1 0-1 0 0,1 0 0 0 0,-1 0 0 0 0,1 0 0 0 0,0-1 1 0 0,0 1-1 0 0,-1 0 0 0 0,1 0 0 0 0,0 0 1 0 0,0-1-1 0 0,0 1 0 0 0,0 0 0 0 0,0-1 0 0 0,0 1 1 0 0,0-1-1 0 0,2 2 0 0 0,4 0-6 0 0,1-1 0 0 0,-1 0 0 0 0,0 0 0 0 0,1 0 0 0 0,0-1 0 0 0,-1 0 0 0 0,1 0-1 0 0,-1-1 1 0 0,1 0 0 0 0,-1 0 0 0 0,0-1 0 0 0,1 0 0 0 0,-1 0 0 0 0,0-1 0 0 0,0 0 0 0 0,11-7 0 0 0,3-2 15 0 0,0-1 0 0 0,0-1 1 0 0,33-31-1 0 0,-51 43-7 0 0,13-10-75 0 0,-16 12 68 0 0,0 0 0 0 0,1-1 0 0 0,-1 1 0 0 0,0 0 0 0 0,1 0 0 0 0,-1 0 0 0 0,1 0 0 0 0,-1 0 0 0 0,0 0 0 0 0,1 0-1 0 0,-1 0 1 0 0,0 0 0 0 0,1 0 0 0 0,-1 0 0 0 0,0 0 0 0 0,1 0 0 0 0,-1 0 0 0 0,0 1 0 0 0,1-1 0 0 0,-1 0 0 0 0,0 0 0 0 0,1 0 0 0 0,-1 0 0 0 0,0 1-1 0 0,1-1 1 0 0,-1 0 0 0 0,0 0 0 0 0,1 0 0 0 0,-1 1 0 0 0,0-1 0 0 0,0 0 0 0 0,0 1 0 0 0,1-1 0 0 0,-1 0 0 0 0,0 1 0 0 0,0-1 0 0 0,0 0 0 0 0,0 1-1 0 0,1-1 1 0 0,-1 0 0 0 0,0 1 0 0 0,0-1 0 0 0,0 1 0 0 0,2 5 4 0 0,1 0-1 0 0,0-1 1 0 0,0 1 0 0 0,1-1-1 0 0,-1 0 1 0 0,1 0 0 0 0,0 0-1 0 0,1 0 1 0 0,-1-1-1 0 0,1 1 1 0 0,0-1 0 0 0,0-1-1 0 0,0 1 1 0 0,1-1 0 0 0,-1 1-1 0 0,1-2 1 0 0,9 5-1 0 0,7 1 46 0 0,0-1-1 0 0,0 0 1 0 0,35 4-1 0 0,-45-9 119 0 0,0 0-1 0 0,0-2 0 0 0,-1 1 0 0 0,1-1 0 0 0,0-1 0 0 0,0 0 0 0 0,0-1 0 0 0,12-3 1 0 0,-20 4-95 0 0,-1-1 1 0 0,1 1 0 0 0,-1 0 0 0 0,1-1-1 0 0,-1 0 1 0 0,0 0 0 0 0,0 0 0 0 0,1 0-1 0 0,-1 0 1 0 0,-1-1 0 0 0,1 1 0 0 0,0-1 0 0 0,-1 0-1 0 0,1 0 1 0 0,-1 0 0 0 0,0 0 0 0 0,3-5-1 0 0,-3 3-9 0 0,0-1 1 0 0,0 1-1 0 0,-1-1 0 0 0,1 1 0 0 0,-1-1 0 0 0,-1 1 0 0 0,1-1 0 0 0,-1 0 1 0 0,0 1-1 0 0,-1-10 0 0 0,-2-1-1 0 0,0 0 0 0 0,-1 0 1 0 0,0 1-1 0 0,-2 0 0 0 0,0 0 1 0 0,0 0-1 0 0,-13-19 0 0 0,0 3-76 0 0,-33-38-1 0 0,37 50-2637 0 0,-24-19-1 0 0,37 27-2162 0 0,2 10 4709 0 0,0 1 0 0 0,0 0 1 0 0,1-1-1 0 0,-1 1 1 0 0,0 0-1 0 0,0-1 1 0 0,1 1-1 0 0,-1 0 0 0 0,1-1 1 0 0,11-4-2232 0 0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1.1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772 0 0,'5'3'393'0'0,"0"-1"0"0"0,-1 1 0 0 0,1 0 0 0 0,-1 0 0 0 0,0 0 0 0 0,0 1 0 0 0,0-1 0 0 0,0 1 0 0 0,0 0 0 0 0,-1 0 0 0 0,5 7 0 0 0,-4-2 84 0 0,1-1 1 0 0,-1 1-1 0 0,-1-1 1 0 0,1 1-1 0 0,3 18 1 0 0,-2 4 615 0 0,-1 0 1 0 0,-2 61-1 0 0,-2-81-834 0 0,-18 214 3070 0 0,11-168-1806 0 0,7-54-665 0 0,16-22-943 0 0,-10 12 41 0 0,-3 4 26 0 0,90-100-439 0 0,-82 92 391 0 0,1 1 0 0 0,-1 1-1 0 0,2 0 1 0 0,-1 0-1 0 0,1 1 1 0 0,1 1-1 0 0,15-7 1 0 0,-25 12 44 0 0,1 1 1 0 0,-1 0-1 0 0,0 0 0 0 0,0 0 1 0 0,0 0-1 0 0,1 1 0 0 0,-1 0 1 0 0,0 0-1 0 0,0 0 0 0 0,1 0 1 0 0,-1 1-1 0 0,0-1 0 0 0,0 1 1 0 0,1 0-1 0 0,-1 0 0 0 0,0 1 1 0 0,0 0-1 0 0,0-1 0 0 0,-1 1 1 0 0,1 0-1 0 0,0 1 1 0 0,-1-1-1 0 0,1 1 0 0 0,4 4 1 0 0,5 6-3 0 0,-1 1 0 0 0,0 0 0 0 0,-1 1 0 0 0,15 25 0 0 0,13 18 58 0 0,-34-51-16 0 0,0-1 1 0 0,1 0-1 0 0,-1-1 1 0 0,1 1-1 0 0,0-1 0 0 0,0 0 1 0 0,1-1-1 0 0,-1 1 0 0 0,1-1 1 0 0,0-1-1 0 0,0 1 0 0 0,0-1 1 0 0,1 0-1 0 0,-1-1 0 0 0,1 0 1 0 0,0 0-1 0 0,0-1 0 0 0,-1 1 1 0 0,1-2-1 0 0,0 1 0 0 0,0-1 1 0 0,10-1-1 0 0,-12-1-29 0 0,0 1 0 0 0,0 0 0 0 0,0-1 0 0 0,0 0 0 0 0,-1-1 0 0 0,1 1 0 0 0,-1-1 0 0 0,0 0 0 0 0,0-1 1 0 0,0 1-1 0 0,0-1 0 0 0,0 0 0 0 0,-1 0 0 0 0,0 0 0 0 0,0-1 0 0 0,0 1 0 0 0,4-6 0 0 0,5-10-77 0 0,0-1-1 0 0,18-41 1 0 0,-23 43 207 0 0,18-40 518 0 0,-25 56-509 0 0,1 36-8 0 0,-1-12-274 0 0,0-1 0 0 0,2 0 0 0 0,0 0 0 0 0,1 0 0 0 0,8 19 0 0 0,19 46-7298 0 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1.5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9 228 1552 0 0,'-60'-142'9509'0'0,"46"109"-8280"0"0,1 7-1399 0 0,12 25-54 0 0,28 17-6759 0 0</inkml:trace>
  <inkml:trace contextRef="#ctx0" brushRef="#br0" timeOffset="1">437 1 80 0 0,'3'0'302'0'0,"0"0"-1"0"0,0 0 1 0 0,0 0 0 0 0,0 1-1 0 0,0 0 1 0 0,0-1 0 0 0,0 1-1 0 0,0 0 1 0 0,0 1 0 0 0,0-1-1 0 0,0 0 1 0 0,-1 1 0 0 0,1 0-1 0 0,-1-1 1 0 0,1 1 0 0 0,-1 0-1 0 0,1 0 1 0 0,-1 0-1 0 0,0 1 1 0 0,0-1 0 0 0,0 1-1 0 0,0-1 1 0 0,-1 1 0 0 0,1-1-1 0 0,-1 1 1 0 0,1 0 0 0 0,-1 0-1 0 0,0 0 1 0 0,0 0 0 0 0,1 6-1 0 0,1 8 283 0 0,0 0-1 0 0,-2 0 1 0 0,1 0-1 0 0,-3 26 1 0 0,1-20-104 0 0,-24 271 1625 0 0,12-181-3593 0 0,10-106 900 0 0,2 1 0 0 0,-1-1 0 0 0,1 1 0 0 0,0-1 0 0 0,0 0 0 0 0,1 1 0 0 0,0-1-1 0 0,2 9 1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7.2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70 1248 0 0,'19'6'838'0'0,"-1"2"-1"0"0,0 0 1 0 0,-1 0 0 0 0,0 2-1 0 0,0 0 1 0 0,24 21 0 0 0,-32-23-521 0 0,0 0 1 0 0,0 0-1 0 0,-1 1 0 0 0,0 0 1 0 0,-1 0-1 0 0,1 1 1 0 0,-2 0-1 0 0,0 1 1 0 0,0-1-1 0 0,-1 1 1 0 0,8 22-1 0 0,-12-28-204 0 0,0 0-1 0 0,0 1 1 0 0,-1-1 0 0 0,1 1 0 0 0,-1-1-1 0 0,0 1 1 0 0,-1-1 0 0 0,1 0-1 0 0,-1 1 1 0 0,0-1 0 0 0,0 0-1 0 0,-4 10 1 0 0,1-6 33 0 0,0-1 0 0 0,-1 1 0 0 0,0-1 0 0 0,-1 0-1 0 0,1 0 1 0 0,-8 7 0 0 0,12-14-128 0 0,0 0 1 0 0,0 0-1 0 0,1 0 0 0 0,-1 0 0 0 0,0-1 0 0 0,0 1 1 0 0,0 0-1 0 0,0 0 0 0 0,0-1 0 0 0,0 1 0 0 0,0-1 1 0 0,0 1-1 0 0,0-1 0 0 0,-1 1 0 0 0,1-1 0 0 0,0 0 1 0 0,0 0-1 0 0,0 1 0 0 0,-2-1 0 0 0,-17 1 86 0 0,16-2-105 0 0,1-1 2 0 0,2 2-9 0 0,1-1 1 0 0,-1 0-1 0 0,1 1 0 0 0,-1-1 0 0 0,1 0 0 0 0,-1 1 0 0 0,1-1 0 0 0,-1 0 0 0 0,1 1 0 0 0,-1-1 1 0 0,1 0-1 0 0,0 0 0 0 0,-1 0 0 0 0,1 0 0 0 0,0 1 0 0 0,0-1 0 0 0,0 0 0 0 0,0 0 0 0 0,0 0 1 0 0,0 0-1 0 0,0 0 0 0 0,0 1 0 0 0,0-1 0 0 0,0 0 0 0 0,0 0 0 0 0,0 0 0 0 0,1 0 0 0 0,-1 1 1 0 0,1-2-1 0 0,7-25-166 0 0,-1 15 100 0 0,1 0 0 0 0,0 1 0 0 0,1-1 0 0 0,0 1 0 0 0,1 1 0 0 0,0 0 0 0 0,11-9 0 0 0,86-57-309 0 0,-75 55 304 0 0,204-118-140 0 0,-233 138 230 0 0,1-1 0 0 0,0 1 0 0 0,0 0 0 0 0,-1 1 0 0 0,1-1 0 0 0,0 1 0 0 0,0 0 0 0 0,0-1 0 0 0,0 2 0 0 0,0-1 0 0 0,0 0 1 0 0,0 1-1 0 0,0 0 0 0 0,-1 0 0 0 0,5 1 0 0 0,-1 0 17 0 0,-1-1 1 0 0,0 1 0 0 0,0-1 0 0 0,0-1-1 0 0,1 0 1 0 0,-1 1 0 0 0,0-2-1 0 0,8 0 1 0 0,-3-1 17 0 0,-1-1 0 0 0,1 0-1 0 0,-1-1 1 0 0,0 0 0 0 0,0-1-1 0 0,18-11 1 0 0,-25 14-39 0 0,0 0 0 0 0,0 0-1 0 0,-1 0 1 0 0,1 0 0 0 0,-1 0 0 0 0,1-1 0 0 0,-1 1-1 0 0,0-1 1 0 0,0 0 0 0 0,0 0 0 0 0,0 1 0 0 0,-1-1-1 0 0,1 0 1 0 0,-1-1 0 0 0,1 1 0 0 0,-1 0-1 0 0,0 0 1 0 0,-1-1 0 0 0,1 1 0 0 0,0 0 0 0 0,-1-1-1 0 0,0 1 1 0 0,0 0 0 0 0,0-1 0 0 0,0 1 0 0 0,0-1-1 0 0,-1 1 1 0 0,0-4 0 0 0,0 5-4 0 0,0 0-1 0 0,1 1 1 0 0,-1-1-1 0 0,0 0 1 0 0,0 1 0 0 0,0-1-1 0 0,0 1 1 0 0,0-1 0 0 0,0 1-1 0 0,0-1 1 0 0,0 1 0 0 0,-1 0-1 0 0,1 0 1 0 0,0-1-1 0 0,-1 1 1 0 0,1 0 0 0 0,-1 0-1 0 0,-2-1 1 0 0,0 1 12 0 0,1 0 0 0 0,-1-1-1 0 0,0 1 1 0 0,0 0 0 0 0,0 1 0 0 0,0-1-1 0 0,-9 1 1 0 0,2 0 55 0 0,-1 1 0 0 0,1 1-1 0 0,0 0 1 0 0,-22 7 0 0 0,19-5-20 0 0,1 2 0 0 0,0 0 0 0 0,0 0 1 0 0,0 1-1 0 0,1 1 0 0 0,0 0 1 0 0,1 0-1 0 0,-16 16 0 0 0,24-21-34 0 0,-1 1 0 0 0,0 0 0 0 0,1 0 0 0 0,0 0 0 0 0,0 1 0 0 0,0-1 0 0 0,0 1 0 0 0,1 0 0 0 0,0-1 0 0 0,0 1 0 0 0,0 0 0 0 0,0 1 0 0 0,1-1 0 0 0,0 0 0 0 0,0 0 0 0 0,0 0 0 0 0,1 1 0 0 0,0-1 0 0 0,0 0 0 0 0,0 1 0 0 0,0-1 0 0 0,1 0 0 0 0,0 0 0 0 0,0 1 0 0 0,4 7 0 0 0,0-1-170 0 0,0-1 1 0 0,1 1 0 0 0,1-1-1 0 0,0-1 1 0 0,0 1 0 0 0,1-1-1 0 0,0 0 1 0 0,1-1 0 0 0,0 0-1 0 0,13 10 1 0 0,-11-11-631 0 0,0-1 0 0 0,0 0 0 0 0,1 0 0 0 0,0-1-1 0 0,0-1 1 0 0,0 0 0 0 0,1 0 0 0 0,0-1 0 0 0,25 4 0 0 0,-9-6-1813 0 0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1.8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 1 624 0 0,'0'0'1091'0'0,"1"0"-933"0"0,0 0 0 0 0,0 0 0 0 0,-1 0 0 0 0,1 0 0 0 0,0 0 0 0 0,0 1 0 0 0,-1-1 0 0 0,1 0 0 0 0,0 0-1 0 0,-1 1 1 0 0,1-1 0 0 0,0 1 0 0 0,-1-1 0 0 0,1 1 0 0 0,0-1 0 0 0,0 1 0 0 0,-3 8 342 0 0,1 0 1 0 0,0 0-1 0 0,0 0 1 0 0,1 0-1 0 0,0 0 1 0 0,0 0-1 0 0,1 0 0 0 0,0 0 1 0 0,1 0-1 0 0,3 9 1 0 0,-4-16-450 0 0,0 0-1 0 0,1 0 1 0 0,0 0 0 0 0,-1 0-1 0 0,1 0 1 0 0,0 0 0 0 0,0-1-1 0 0,0 1 1 0 0,0-1 0 0 0,0 1-1 0 0,1-1 1 0 0,-1 0 0 0 0,0 0-1 0 0,1 0 1 0 0,-1 0 0 0 0,0 0-1 0 0,1-1 1 0 0,-1 1 0 0 0,1-1-1 0 0,-1 1 1 0 0,1-1 0 0 0,0 0-1 0 0,4 0 1 0 0,-3-2-26 0 0,1 1 1 0 0,0-1-1 0 0,-1 0 0 0 0,1 0 0 0 0,-1 0 1 0 0,1 0-1 0 0,-1-1 0 0 0,0 0 0 0 0,0 0 1 0 0,-1 0-1 0 0,1 0 0 0 0,0-1 0 0 0,-1 1 1 0 0,0-1-1 0 0,0 0 0 0 0,0 0 0 0 0,0 0 1 0 0,-1-1-1 0 0,1 1 0 0 0,-1 0 0 0 0,0-1 1 0 0,-1 0-1 0 0,2-6 0 0 0,-2 10 1 0 0,-1 0-1 0 0,1 0 1 0 0,-1-1 0 0 0,0 1-1 0 0,0 0 1 0 0,0 0 0 0 0,1-1-1 0 0,-1 1 1 0 0,0 0 0 0 0,-1 0-1 0 0,1-1 1 0 0,0 1-1 0 0,0 0 1 0 0,0 0 0 0 0,-1-1-1 0 0,1 1 1 0 0,-1 0 0 0 0,1 0-1 0 0,-1 0 1 0 0,1 0 0 0 0,-1-1-1 0 0,0 1 1 0 0,0 0 0 0 0,1 0-1 0 0,-1 0 1 0 0,-1-1 0 0 0,0 2 8 0 0,0-1 0 0 0,0 0 0 0 0,0 1 0 0 0,0 0 1 0 0,0-1-1 0 0,0 1 0 0 0,0 0 0 0 0,0 0 1 0 0,0 0-1 0 0,0 0 0 0 0,0 0 0 0 0,0 1 0 0 0,0-1 1 0 0,0 1-1 0 0,0-1 0 0 0,1 1 0 0 0,-1 0 1 0 0,-2 1-1 0 0,-5 1 61 0 0,0 2-1 0 0,1 0 1 0 0,0 0 0 0 0,0 0-1 0 0,0 1 1 0 0,1 0 0 0 0,0 0-1 0 0,0 1 1 0 0,0 0 0 0 0,1 0-1 0 0,0 1 1 0 0,0 0 0 0 0,-8 15 0 0 0,12-19-65 0 0,0 0 1 0 0,0 0 0 0 0,0 0-1 0 0,1 0 1 0 0,-1 1 0 0 0,1-1-1 0 0,0 0 1 0 0,0 1 0 0 0,1-1 0 0 0,-1 1-1 0 0,1-1 1 0 0,0 1 0 0 0,0-1-1 0 0,0 1 1 0 0,1-1 0 0 0,0 0 0 0 0,-1 1-1 0 0,2-1 1 0 0,-1 1 0 0 0,0-1-1 0 0,1 0 1 0 0,0 0 0 0 0,0 0-1 0 0,0 0 1 0 0,0 0 0 0 0,1 0 0 0 0,0-1-1 0 0,0 1 1 0 0,0-1 0 0 0,6 6-1 0 0,3-1-49 0 0,-1 0-1 0 0,1-1 1 0 0,1 0-1 0 0,-1-1 1 0 0,1 0-1 0 0,0-1 0 0 0,0 0 1 0 0,1-1-1 0 0,21 3 1 0 0,-2-2-1115 0 0,1-1 0 0 0,60-2 0 0 0,-3-8-3831 0 0,-40-3 584 0 0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2.4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1 0 388 0 0,'0'0'4726'0'0,"-1"3"-3801"0"0,-14 36 1007 0 0,-16 67 1 0 0,18-46-1312 0 0,-9 112 0 0 0,18 42-2841 0 0,4-179 403 0 0,-1-16-334 0 0,-3-1-403 0 0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3.2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27 580 0 0,'0'-3'1049'0'0,"0"1"-922"0"0,0 0-1 0 0,1 0 0 0 0,-1 0 1 0 0,0 0-1 0 0,1 0 0 0 0,-1 0 0 0 0,1 0 1 0 0,0 0-1 0 0,0 0 0 0 0,-1 0 0 0 0,1 0 1 0 0,0 1-1 0 0,1-1 0 0 0,-1 0 0 0 0,0 1 1 0 0,0-1-1 0 0,1 0 0 0 0,2-1 0 0 0,0 0 71 0 0,0 0-1 0 0,0 0 1 0 0,0 1-1 0 0,1 0 0 0 0,-1 0 1 0 0,1 0-1 0 0,8-2 1 0 0,3 1 180 0 0,0 0 0 0 0,0 2 0 0 0,1-1 0 0 0,17 2 0 0 0,-3 3-168 0 0,0 0 0 0 0,0 2 1 0 0,0 2-1 0 0,-1 0 0 0 0,0 2 1 0 0,0 1-1 0 0,-1 2 1 0 0,-1 1-1 0 0,0 1 0 0 0,-1 1 1 0 0,0 1-1 0 0,40 33 0 0 0,-60-43-177 0 0,-1 0 0 0 0,1 1 1 0 0,-1 0-1 0 0,0 0 0 0 0,-1 0 0 0 0,1 0 0 0 0,-2 1 0 0 0,1 0 0 0 0,3 8 0 0 0,-7-13-5 0 0,0 0-1 0 0,0 0 1 0 0,0 0-1 0 0,0 0 0 0 0,-1 1 1 0 0,1-1-1 0 0,-1 0 1 0 0,0 0-1 0 0,0 0 1 0 0,0 0-1 0 0,-1 0 1 0 0,1 0-1 0 0,-1 1 0 0 0,1-1 1 0 0,-1 0-1 0 0,0 0 1 0 0,0 0-1 0 0,-1-1 1 0 0,1 1-1 0 0,0 0 0 0 0,-1 0 1 0 0,0-1-1 0 0,0 1 1 0 0,0-1-1 0 0,0 1 1 0 0,0-1-1 0 0,0 0 1 0 0,0 0-1 0 0,-4 3 0 0 0,2-3 2 0 0,-1 1-1 0 0,1-1 1 0 0,-1 0-1 0 0,1 0 1 0 0,-1 0-1 0 0,0-1 0 0 0,1 1 1 0 0,-1-1-1 0 0,0 0 1 0 0,0-1-1 0 0,0 1 1 0 0,-8-1-1 0 0,11 0-27 0 0,-1 0 0 0 0,1 0-1 0 0,-1 0 1 0 0,1 0 0 0 0,-1 0 0 0 0,0-1-1 0 0,1 1 1 0 0,-1-1 0 0 0,1 0-1 0 0,0 1 1 0 0,-1-1 0 0 0,1 0 0 0 0,-1-1-1 0 0,1 1 1 0 0,0 0 0 0 0,0-1 0 0 0,0 1-1 0 0,0-1 1 0 0,0 0 0 0 0,0 1 0 0 0,0-1-1 0 0,1 0 1 0 0,-1 0 0 0 0,0 0 0 0 0,1 0-1 0 0,0-1 1 0 0,0 1 0 0 0,-1 0-1 0 0,1-1 1 0 0,0 1 0 0 0,-1-5 0 0 0,2 2-11 0 0,-1 1 1 0 0,1 0-1 0 0,0 0 1 0 0,0-1-1 0 0,1 1 0 0 0,-1 0 1 0 0,1 0-1 0 0,0 0 1 0 0,0 0-1 0 0,0-1 1 0 0,0 1-1 0 0,1 0 1 0 0,0 1-1 0 0,-1-1 1 0 0,2 0-1 0 0,-1 0 1 0 0,5-5-1 0 0,1 0 2 0 0,1 1 0 0 0,-1 0-1 0 0,2 0 1 0 0,-1 1 0 0 0,1 0-1 0 0,0 1 1 0 0,1 0 0 0 0,-1 0 0 0 0,22-7-1 0 0,7 1-88 0 0,62-12 1 0 0,-72 17 86 0 0,90-13 32 0 0,-84 17 94 0 0,0-3-1 0 0,0-1 0 0 0,-1-1 0 0 0,64-26 0 0 0,-92 32-15 0 0,0 0 0 0 0,-1-1-1 0 0,1 0 1 0 0,-1 0 0 0 0,0-1-1 0 0,0 1 1 0 0,0-1 0 0 0,0 0-1 0 0,-1 0 1 0 0,1-1 0 0 0,-1 1 0 0 0,0-1-1 0 0,0 0 1 0 0,4-9 0 0 0,-7 14-94 0 0,-1-1 1 0 0,0 1 0 0 0,0-1-1 0 0,0 1 1 0 0,0 0 0 0 0,0-1-1 0 0,0 1 1 0 0,0-1 0 0 0,1 1-1 0 0,-1 0 1 0 0,0-1 0 0 0,0 1-1 0 0,0-1 1 0 0,-1 1 0 0 0,1-1-1 0 0,0 1 1 0 0,0 0 0 0 0,0-1-1 0 0,0 1 1 0 0,0-1 0 0 0,0 1-1 0 0,-1 0 1 0 0,1-1 0 0 0,0 1-1 0 0,0 0 1 0 0,0-1 0 0 0,-1 1-1 0 0,1 0 1 0 0,0-1 0 0 0,-1 1-1 0 0,1 0 1 0 0,0 0 0 0 0,-1-1-1 0 0,1 1 1 0 0,0 0 0 0 0,-1 0-1 0 0,1-1 1 0 0,0 1 0 0 0,-1 0-1 0 0,-1 0 1 0 0,1-1-1 0 0,-1 1 1 0 0,1-1-1 0 0,-1 1 1 0 0,0 0-1 0 0,1 0 1 0 0,-1 0-1 0 0,1 0 1 0 0,-1 0-1 0 0,-2 1 1 0 0,-9 2-17 0 0,1 1 0 0 0,-1 0 0 0 0,1 1-1 0 0,0 1 1 0 0,1-1 0 0 0,-1 2 0 0 0,1 0 0 0 0,-19 16 0 0 0,21-16 6 0 0,1 0 0 0 0,0 0 1 0 0,1 1-1 0 0,0 1 1 0 0,0-1-1 0 0,0 1 0 0 0,1 0 1 0 0,1 1-1 0 0,-1-1 0 0 0,1 1 1 0 0,-5 16-1 0 0,9-23 19 0 0,0 0 1 0 0,1 0 0 0 0,-1 0-1 0 0,1 1 1 0 0,-1-1-1 0 0,1 0 1 0 0,0 0-1 0 0,0 0 1 0 0,0 0 0 0 0,1 1-1 0 0,-1-1 1 0 0,1 0-1 0 0,0 0 1 0 0,0 0-1 0 0,0 0 1 0 0,0 0 0 0 0,0 0-1 0 0,1 0 1 0 0,3 5-1 0 0,-3-6-2 0 0,1 0-1 0 0,-1 1 1 0 0,1-1-1 0 0,0 0 1 0 0,0 0-1 0 0,0 0 1 0 0,0-1-1 0 0,0 1 1 0 0,0-1 0 0 0,0 0-1 0 0,0 0 1 0 0,1 0-1 0 0,-1 0 1 0 0,0 0-1 0 0,1-1 1 0 0,-1 1-1 0 0,1-1 1 0 0,-1 0-1 0 0,1 0 1 0 0,3-1-1 0 0,5 0 10 0 0,-1-1 0 0 0,0 0 0 0 0,0-1-1 0 0,0 0 1 0 0,0-1 0 0 0,0 0 0 0 0,-1 0-1 0 0,0-2 1 0 0,0 1 0 0 0,0-1 0 0 0,0 0-1 0 0,-1-1 1 0 0,16-15 0 0 0,45-50 29 0 0,-68 70-75 0 0,-8 14-55 0 0,0-2 111 0 0,0-1-1 0 0,1 1 1 0 0,0 0-1 0 0,1 1 1 0 0,0-1-1 0 0,1 1 1 0 0,0-1-1 0 0,1 1 1 0 0,0 0-1 0 0,0 0 1 0 0,1 22-1 0 0,1-29 7 0 0,0 1-1 0 0,0-1 1 0 0,1 0-1 0 0,-1 1 1 0 0,1-1-1 0 0,0 0 1 0 0,1 0-1 0 0,-1 0 1 0 0,1 0 0 0 0,0 0-1 0 0,0 0 1 0 0,0 0-1 0 0,0 0 1 0 0,0-1-1 0 0,1 1 1 0 0,0-1-1 0 0,0 0 1 0 0,0 0-1 0 0,0 0 1 0 0,0 0 0 0 0,1 0-1 0 0,-1-1 1 0 0,1 1-1 0 0,0-1 1 0 0,-1 0-1 0 0,1 0 1 0 0,0-1-1 0 0,0 1 1 0 0,1-1-1 0 0,-1 0 1 0 0,0 0-1 0 0,0 0 1 0 0,1 0 0 0 0,4-1-1 0 0,-1 1-12 0 0,1-1 0 0 0,-1-1 0 0 0,0 1 0 0 0,1-1 0 0 0,-1-1-1 0 0,0 1 1 0 0,0-2 0 0 0,0 1 0 0 0,0-1 0 0 0,0 0 0 0 0,-1 0 0 0 0,1-1 0 0 0,13-9 0 0 0,-10 4-11 0 0,0 1 1 0 0,-1-1-1 0 0,0-1 1 0 0,0 0-1 0 0,-1 0 1 0 0,0-1-1 0 0,12-20 1 0 0,60-104 1874 0 0,-81 135-1882 0 0,0 0 0 0 0,0 0 0 0 0,0 0 0 0 0,0-1 0 0 0,0 1 0 0 0,1 0 0 0 0,-1 0-1 0 0,0 0 1 0 0,0-1 0 0 0,0 1 0 0 0,0 0 0 0 0,0 0 0 0 0,0 0 0 0 0,0-1 0 0 0,0 1 0 0 0,0 0 0 0 0,0 0 0 0 0,1 0 0 0 0,-1 0 0 0 0,0-1 0 0 0,0 1 0 0 0,0 0 0 0 0,0 0-1 0 0,0 0 1 0 0,1 0 0 0 0,-1 0 0 0 0,0 0 0 0 0,0 0 0 0 0,0-1 0 0 0,0 1 0 0 0,1 0 0 0 0,-1 0 0 0 0,0 0 0 0 0,0 0 0 0 0,0 0 0 0 0,1 0 0 0 0,-1 0 0 0 0,0 0-1 0 0,0 0 1 0 0,0 0 0 0 0,1 0 0 0 0,-1 0 0 0 0,0 0 0 0 0,0 0 0 0 0,1 0 0 0 0,0 12 86 0 0,-4 20-28 0 0,-6 27-909 0 0,-1 80 0 0 0,5-53-4080 0 0,1-51-991 0 0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3.9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 124 652 0 0,'-1'-4'503'0'0,"-6"-76"6017"0"0,6 51-6130 0 0,1 29-409 0 0,0-1-1 0 0,0 0 1 0 0,1 1-1 0 0,-1-1 1 0 0,0 1-1 0 0,0-1 1 0 0,0 1-1 0 0,1-1 1 0 0,-1 1-1 0 0,0-1 0 0 0,1 1 1 0 0,-1 0-1 0 0,1-1 1 0 0,-1 1-1 0 0,0-1 1 0 0,1 1-1 0 0,-1 0 1 0 0,1-1-1 0 0,-1 1 1 0 0,1 0-1 0 0,-1 0 0 0 0,1-1 1 0 0,-1 1-1 0 0,1 0 1 0 0,-1 0-1 0 0,1 0 1 0 0,0-1-1 0 0,-1 1 1 0 0,1 0-1 0 0,0 0 1 0 0,23 0-870 0 0,-7 4 789 0 0,1 0 0 0 0,0 1 0 0 0,-1 1 1 0 0,0 0-1 0 0,0 2 0 0 0,-1 0 1 0 0,0 0-1 0 0,-1 2 0 0 0,1 0 1 0 0,-2 0-1 0 0,23 22 0 0 0,-21-17 588 0 0,-1 1 0 0 0,-1 0 0 0 0,-1 1 0 0 0,0 0 1 0 0,-1 1-1 0 0,-1 1 0 0 0,-1 0 0 0 0,-1 0 0 0 0,13 37 0 0 0,15 65 6739 0 0,-38-121-7211 0 0,1 0 0 0 0,-1 0 0 0 0,1-1 0 0 0,-1 1-1 0 0,1 0 1 0 0,-1 0 0 0 0,1-1 0 0 0,-1 1 0 0 0,0 0-1 0 0,1-1 1 0 0,0 1 0 0 0,-1 0 0 0 0,1-1 0 0 0,-1 1 0 0 0,1-1-1 0 0,-1 1 1 0 0,1-1 0 0 0,0 1 0 0 0,-1-1 0 0 0,1 1 0 0 0,0-1-1 0 0,0 1 1 0 0,-1-1 0 0 0,1 1 0 0 0,0-1 0 0 0,0 0-1 0 0,0 1 1 0 0,0-1 0 0 0,0 1 0 0 0,-1-1 0 0 0,2-1 0 0 0,0-20 10 0 0,2 14-84 0 0,0 0-1 0 0,1 0 1 0 0,0 0 0 0 0,1 1-1 0 0,0-1 1 0 0,0 1-1 0 0,1 0 1 0 0,-1 1 0 0 0,1-1-1 0 0,1 1 1 0 0,-1 1 0 0 0,1-1-1 0 0,0 1 1 0 0,1 0 0 0 0,-1 0-1 0 0,1 1 1 0 0,0 0 0 0 0,10-3-1 0 0,-15 6 34 0 0,0 1-1 0 0,0-1 1 0 0,-1 1 0 0 0,1 0-1 0 0,0 0 1 0 0,0 0-1 0 0,0 0 1 0 0,-1 1-1 0 0,1-1 1 0 0,0 1 0 0 0,-1 0-1 0 0,1-1 1 0 0,0 1-1 0 0,-1 1 1 0 0,1-1 0 0 0,-1 0-1 0 0,1 1 1 0 0,-1-1-1 0 0,0 1 1 0 0,1-1-1 0 0,-1 1 1 0 0,0 0 0 0 0,0 0-1 0 0,0 0 1 0 0,-1 0-1 0 0,3 4 1 0 0,4 4-9 0 0,-1 0 0 0 0,-1 1 0 0 0,0 1 0 0 0,5 11-1 0 0,6 19 17 0 0,-10-22-4 0 0,14 25 1 0 0,-18-39 8 0 0,1-1 0 0 0,-1 0 1 0 0,1 0-1 0 0,0 0 0 0 0,0 0 1 0 0,0 0-1 0 0,1-1 0 0 0,9 7 0 0 0,-11-10 3 0 0,-1 1 0 0 0,0-1 0 0 0,1 0 0 0 0,-1-1 0 0 0,1 1-1 0 0,-1 0 1 0 0,1-1 0 0 0,0 0 0 0 0,-1 1 0 0 0,1-1 0 0 0,-1 0 0 0 0,1 0-1 0 0,4-1 1 0 0,-1 0-24 0 0,1 0-1 0 0,-1-1 1 0 0,0 0-1 0 0,9-3 1 0 0,-7 1-42 0 0,0 0 0 0 0,0-1 1 0 0,0 0-1 0 0,-1 0 0 0 0,1-1 1 0 0,-1 0-1 0 0,-1 0 0 0 0,1-1 1 0 0,-1 0-1 0 0,0 0 0 0 0,0 0 0 0 0,-1-1 1 0 0,6-11-1 0 0,3-11 212 0 0,0 1 0 0 0,12-47-1 0 0,-15 43 449 0 0,-1 9-450 0 0,-10 22-19 0 0,1 5-94 0 0,1 14 8 0 0,0 0-1 0 0,-1 0 1 0 0,-2 21-1 0 0,1 27 77 0 0,13 54-1182 0 0,-3-41-3317 0 0,-6-57-87 0 0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4.3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 84 660 0 0,'-4'-15'1200'0'0,"2"1"-300"0"0,0 2 264 0 0,-3-5-860 0 0,5 1-620 0 0,5 7-1264 0 0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4.7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99 1636 0 0,'10'11'933'0'0,"0"2"0"0"0,-1 0-1 0 0,-1 0 1 0 0,0 0 0 0 0,0 1-1 0 0,-1 0 1 0 0,-1 1 0 0 0,-1-1-1 0 0,6 23 1 0 0,0 7 359 0 0,-3 0-1 0 0,2 46 1 0 0,-9-47 775 0 0,-1-41-1234 0 0,-3-3-983 0 0,2 0 111 0 0,0 1 1 0 0,0-1 0 0 0,1 1 0 0 0,-1-1-1 0 0,0 1 1 0 0,0-1 0 0 0,0 0 0 0 0,1 1-1 0 0,-1-1 1 0 0,1 0 0 0 0,-1 0 0 0 0,0 0-1 0 0,1 1 1 0 0,-1-1 0 0 0,1 0 0 0 0,0 0-1 0 0,-1 0 1 0 0,1 0 0 0 0,0 0 0 0 0,-1 0-1 0 0,1 0 1 0 0,0 0 0 0 0,0-2-1 0 0,0 0-92 0 0,0-1 0 0 0,0 0 0 0 0,1 0 0 0 0,-1 1 0 0 0,1-1 0 0 0,2-6 0 0 0,3-7-503 0 0,17-32-1 0 0,-20 44 581 0 0,1-4-52 0 0,1 0 1 0 0,0 1 0 0 0,0-1 0 0 0,1 1 0 0 0,0 0-1 0 0,0 0 1 0 0,1 1 0 0 0,0 0 0 0 0,14-11 0 0 0,-19 17 90 0 0,0 0 0 0 0,0 0 0 0 0,0 0 0 0 0,0 0 0 0 0,0 0 1 0 0,1 1-1 0 0,-1-1 0 0 0,0 1 0 0 0,1 0 0 0 0,-1 0 0 0 0,0 0 1 0 0,1 0-1 0 0,-1 0 0 0 0,0 0 0 0 0,1 0 0 0 0,-1 1 0 0 0,0-1 1 0 0,1 1-1 0 0,-1 0 0 0 0,0 0 0 0 0,0-1 0 0 0,0 2 0 0 0,0-1 1 0 0,0 0-1 0 0,0 0 0 0 0,0 1 0 0 0,0-1 0 0 0,2 3 0 0 0,5 4 43 0 0,0 1 0 0 0,-1 0 0 0 0,-1 1 0 0 0,9 12 0 0 0,-7-9 90 0 0,109 169 515 0 0,-116-180-620 0 0,0 0 0 0 0,0 0 0 0 0,0 0 0 0 0,0-1 0 0 0,0 1 0 0 0,0-1 0 0 0,1 0 0 0 0,-1 1 0 0 0,0-1 0 0 0,1 0-1 0 0,-1 0 1 0 0,1 0 0 0 0,-1-1 0 0 0,6 2 0 0 0,-6-2-11 0 0,2 1 4 0 0,0-1 0 0 0,0 0-1 0 0,0 0 1 0 0,0 0 0 0 0,0 0-1 0 0,0-1 1 0 0,0 1 0 0 0,0-1 0 0 0,0 0-1 0 0,0 0 1 0 0,0-1 0 0 0,-1 1-1 0 0,1-1 1 0 0,-1 0 0 0 0,6-3 0 0 0,-1 0-58 0 0,0-1 0 0 0,-1 0 0 0 0,1 0 0 0 0,11-14 0 0 0,-1-4-193 0 0,0-2-1 0 0,-2 0 1 0 0,-1-1 0 0 0,-1 0 0 0 0,19-54 0 0 0,-15 35 31 0 0,-17 44 154 0 0,-4 60 537 0 0,-17 95 1 0 0,13-106-102 0 0,1-10-115 0 0,-1 1-1 0 0,-2-1 0 0 0,-19 48 1 0 0,23-72-186 0 0,0-1 1 0 0,-1 0-1 0 0,-1 0 0 0 0,0-1 1 0 0,0 1-1 0 0,-1-2 0 0 0,0 1 1 0 0,-1-1-1 0 0,0 0 1 0 0,-1-1-1 0 0,0 0 0 0 0,-1-1 1 0 0,-12 8-1 0 0,17-12-22 0 0,0-1 1 0 0,0 0-1 0 0,-1-1 0 0 0,1 1 1 0 0,-1-1-1 0 0,0 0 0 0 0,0-1 0 0 0,0 0 1 0 0,1 0-1 0 0,-1 0 0 0 0,-13-1 1 0 0,17 0-66 0 0,-1-1 1 0 0,1 1-1 0 0,-1-1 1 0 0,1 0-1 0 0,0 0 1 0 0,-1 0-1 0 0,1 0 1 0 0,0-1-1 0 0,0 1 1 0 0,0-1-1 0 0,0 0 1 0 0,0 0-1 0 0,0 0 1 0 0,1 0-1 0 0,-1 0 1 0 0,1-1-1 0 0,-1 1 1 0 0,1-1-1 0 0,0 0 1 0 0,0 1-1 0 0,0-1 1 0 0,0 0-1 0 0,1 0 1 0 0,-1 0-1 0 0,-1-5 1 0 0,0-1-63 0 0,1-1 1 0 0,0 0-1 0 0,1 0 1 0 0,0 0-1 0 0,0-1 0 0 0,1 1 1 0 0,0 0-1 0 0,1 0 1 0 0,3-16-1 0 0,4-12-79 0 0,14-40 0 0 0,-19 66 124 0 0,120-328-460 0 0,-100 281 473 0 0,-1 1 187 0 0,-3 0 0 0 0,13-67 0 0 0,-35 109-173 0 0,3 16 1 0 0,0-1 1 0 0,0 1-1 0 0,0 0 1 0 0,0-1-1 0 0,0 1 0 0 0,0 0 1 0 0,0-1-1 0 0,0 1 0 0 0,-1 0 1 0 0,1-1-1 0 0,0 1 0 0 0,0 0 1 0 0,0-1-1 0 0,-1 1 1 0 0,1 0-1 0 0,0 0 0 0 0,0-1 1 0 0,-1 1-1 0 0,1 0 0 0 0,0 0 1 0 0,-1 0-1 0 0,1-1 1 0 0,0 1-1 0 0,-1 0 0 0 0,1 0 1 0 0,0 0-1 0 0,-1 0 0 0 0,1 0 1 0 0,0 0-1 0 0,-1-1 0 0 0,1 1 1 0 0,0 0-1 0 0,-1 0 1 0 0,1 0-1 0 0,-1 0 0 0 0,1 1 1 0 0,-1-1-46 0 0,0 1 0 0 0,0 0 1 0 0,0 0-1 0 0,0 0 0 0 0,0 0 0 0 0,0 0 1 0 0,0 1-1 0 0,0-1 0 0 0,1 0 0 0 0,-1 0 1 0 0,1 1-1 0 0,-1-1 0 0 0,1 0 1 0 0,-1 0-1 0 0,1 1 0 0 0,0-1 0 0 0,-1 1 1 0 0,1-1-1 0 0,0 0 0 0 0,0 1 1 0 0,0-1-1 0 0,0 0 0 0 0,0 1 0 0 0,1 1 1 0 0,7 32-1362 0 0,-3-22-261 0 0,2-1 0 0 0,-1 0 0 0 0,16 20 0 0 0,-13-17-1507 0 0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5.2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8 43 420 0 0,'-6'-13'2316'0'0,"-9"-16"3335"0"0,5 44-4291 0 0,6-2-951 0 0,1 0 0 0 0,0 0-1 0 0,0 0 1 0 0,1 0 0 0 0,0 21 0 0 0,-2 11 280 0 0,-2 32 533 0 0,7 139 1 0 0,0-173-1041 0 0,3 42-354 0 0,0 19-2068 0 0,-3-36-2710 0 0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5.8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0 57 932 0 0,'-50'-33'5667'0'0,"64"30"-4908"0"0,-6 2-592 0 0,-1 0-1 0 0,1 0 1 0 0,-1 1-1 0 0,1 0 1 0 0,11 2-1 0 0,10 0 196 0 0,398-15 1490 0 0,-217 5-960 0 0,-196 7-798 0 0,0 1 0 0 0,-1 1 0 0 0,1 0 0 0 0,-1 0 0 0 0,1 1 0 0 0,12 5 0 0 0,-21-6-8 0 0,0 1 1 0 0,0 0 0 0 0,0 1-1 0 0,-1-1 1 0 0,1 1-1 0 0,-1 0 1 0 0,0 0 0 0 0,0 0-1 0 0,0 0 1 0 0,0 1 0 0 0,0 0-1 0 0,-1 0 1 0 0,0 0-1 0 0,0 0 1 0 0,0 0 0 0 0,0 1-1 0 0,0-1 1 0 0,2 8 0 0 0,-1 0 90 0 0,0-1 0 0 0,-1 1 0 0 0,-1 0 1 0 0,0 0-1 0 0,-1 0 0 0 0,0 1 1 0 0,0-1-1 0 0,-2 0 0 0 0,1 0 0 0 0,-2 0 1 0 0,1 0-1 0 0,-2 0 0 0 0,0 0 1 0 0,0 0-1 0 0,-1 0 0 0 0,0-1 0 0 0,-1 0 1 0 0,-9 16-1 0 0,11-24-74 0 0,0 0 0 0 0,0 0 0 0 0,-1 0 0 0 0,0 0 0 0 0,1-1 0 0 0,-8 5 0 0 0,8-6 16 0 0,-1-2-16 0 0,-12-1-24 0 0,15 2-78 0 0,0-1 1 0 0,0 1-1 0 0,0-1 0 0 0,0 1 1 0 0,1-1-1 0 0,-1 0 0 0 0,0 1 1 0 0,0-1-1 0 0,0 0 0 0 0,0 1 1 0 0,1-1-1 0 0,-1 0 1 0 0,0 0-1 0 0,1 0 0 0 0,-1 0 1 0 0,1 0-1 0 0,-1 1 0 0 0,1-1 1 0 0,-1 0-1 0 0,1 0 0 0 0,0 0 1 0 0,-1 0-1 0 0,1-1 0 0 0,0 1 1 0 0,0 0-1 0 0,0 0 0 0 0,0-2 1 0 0,0-25-105 0 0,2 20 60 0 0,0 1 1 0 0,1-1-1 0 0,0 1 0 0 0,0 0 0 0 0,0 0 0 0 0,1 0 1 0 0,0 1-1 0 0,1-1 0 0 0,-1 1 0 0 0,1 0 0 0 0,1 0 0 0 0,-1 0 1 0 0,1 1-1 0 0,0 0 0 0 0,0 0 0 0 0,0 1 0 0 0,1-1 0 0 0,-1 1 1 0 0,1 1-1 0 0,11-5 0 0 0,-13 6 24 0 0,-1 1 0 0 0,1 1 0 0 0,-1-1 0 0 0,1 0 0 0 0,0 1 0 0 0,-1 0 0 0 0,1 0 0 0 0,-1 1 0 0 0,1-1 0 0 0,0 1 0 0 0,-1 0 0 0 0,5 2 0 0 0,7 2-36 0 0,28 13 0 0 0,-7 0 23 0 0,97 40 63 0 0,-119-53-11 0 0,-1-1 1 0 0,1 0-1 0 0,0-1 1 0 0,0-1-1 0 0,0 0 0 0 0,0-1 1 0 0,24-2-1 0 0,-31 0-30 0 0,0-1 0 0 0,1 0-1 0 0,-1 0 1 0 0,0-1 0 0 0,0 0 0 0 0,-1 0-1 0 0,1-1 1 0 0,-1 0 0 0 0,0-1 0 0 0,0 0-1 0 0,0 0 1 0 0,0 0 0 0 0,9-10 0 0 0,-11 9-7 0 0,0 1 1 0 0,0-1-1 0 0,0 0 1 0 0,-1 0-1 0 0,0 0 1 0 0,0-1-1 0 0,0 1 1 0 0,-1-1-1 0 0,0 0 1 0 0,-1 0-1 0 0,1 0 1 0 0,-1 0-1 0 0,-1-1 1 0 0,1 1-1 0 0,0-10 1 0 0,-2 16 10 0 0,-1 0 1 0 0,1 0-1 0 0,0-1 0 0 0,0 1 1 0 0,-1 0-1 0 0,1 0 0 0 0,-1 0 1 0 0,1 0-1 0 0,-1 0 0 0 0,1 0 1 0 0,-1 0-1 0 0,0 0 0 0 0,1 1 1 0 0,-1-1-1 0 0,0 0 0 0 0,0 0 1 0 0,1 0-1 0 0,-1 1 0 0 0,0-1 1 0 0,0 0-1 0 0,0 1 0 0 0,0-1 1 0 0,0 1-1 0 0,0-1 0 0 0,-2 0 1 0 0,0 0-7 0 0,0 0 1 0 0,1 1 0 0 0,-1-1-1 0 0,1 1 1 0 0,-1-1-1 0 0,0 1 1 0 0,0 0-1 0 0,1 0 1 0 0,-1 0 0 0 0,0 0-1 0 0,-2 1 1 0 0,1 0 4 0 0,0 0 1 0 0,0 0 0 0 0,0 0-1 0 0,1 1 1 0 0,-1 0 0 0 0,0 0-1 0 0,1 0 1 0 0,-1 0 0 0 0,1 0-1 0 0,0 0 1 0 0,0 1-1 0 0,0 0 1 0 0,0 0 0 0 0,0-1-1 0 0,-3 6 1 0 0,4-5 9 0 0,1 0 1 0 0,-1 0-1 0 0,1 0 1 0 0,0 0 0 0 0,0 1-1 0 0,0-1 1 0 0,0 0-1 0 0,0 0 1 0 0,1 1-1 0 0,0-1 1 0 0,0 0-1 0 0,-1 0 1 0 0,2 1-1 0 0,-1-1 1 0 0,0 0-1 0 0,1 1 1 0 0,-1-1-1 0 0,1 0 1 0 0,0 0-1 0 0,3 6 1 0 0,-1-1-213 0 0,2 0-1 0 0,-1 0 1 0 0,1-1 0 0 0,0 0 0 0 0,1 1-1 0 0,0-2 1 0 0,0 1 0 0 0,0-1 0 0 0,1 0-1 0 0,0 0 1 0 0,10 6 0 0 0,5 2-1305 0 0,0-1 0 0 0,39 16 0 0 0,-9-13-2420 0 0,-26-8 1046 0 0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6.5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47 792 0 0,'4'-30'4653'0'0,"0"13"-1032"0"0,-3 17-3575 0 0,-1 1 0 0 0,1-1 0 0 0,-1 0 0 0 0,1 0 0 0 0,-1 1 0 0 0,1-1 0 0 0,-1 0 0 0 0,1 1 0 0 0,-1-1 0 0 0,1 0-1 0 0,-1 1 1 0 0,0-1 0 0 0,1 1 0 0 0,-1-1 0 0 0,0 0 0 0 0,1 1 0 0 0,-1-1 0 0 0,0 1 0 0 0,1-1 0 0 0,-1 1 0 0 0,0-1 0 0 0,0 1 0 0 0,0 0 0 0 0,1-1 0 0 0,-1 1 0 0 0,0-1-1 0 0,0 1 1 0 0,0-1 0 0 0,0 2 0 0 0,1 19 677 0 0,-1-18-528 0 0,-9 216 5506 0 0,7-188-5270 0 0,-9 52 5702 0 0,11-85-6109 0 0,0 0-1 0 0,0 1 1 0 0,0-1-1 0 0,0 0 1 0 0,0 0-1 0 0,0 0 1 0 0,0 0-1 0 0,0 1 0 0 0,1-1 1 0 0,-1 0-1 0 0,1 0 1 0 0,0-1-1 0 0,10-17-156 0 0,0 2-1 0 0,1 0 0 0 0,1 0 1 0 0,1 1-1 0 0,1 1 0 0 0,0 0 1 0 0,1 1-1 0 0,23-18 0 0 0,-35 30 70 0 0,0 0 0 0 0,0 0-1 0 0,0 0 1 0 0,1 1 0 0 0,-1 0-1 0 0,1-1 1 0 0,0 1-1 0 0,0 1 1 0 0,0-1 0 0 0,0 1-1 0 0,0 0 1 0 0,0 0-1 0 0,0 0 1 0 0,0 1 0 0 0,8 0-1 0 0,-9 1 40 0 0,0-1 0 0 0,1 2 0 0 0,-1-1 0 0 0,0 0 0 0 0,0 1 0 0 0,0 0 0 0 0,0 0 0 0 0,0 0 0 0 0,0 0 0 0 0,-1 0 0 0 0,1 1 0 0 0,-1 0 0 0 0,0 0 0 0 0,1 0-1 0 0,-1 0 1 0 0,0 0 0 0 0,-1 1 0 0 0,5 5 0 0 0,2 7-15 0 0,0 1 0 0 0,11 26 0 0 0,-13-25 95 0 0,17 29 0 0 0,-23-46-48 0 0,0 0-1 0 0,0 0 0 0 0,0-1 1 0 0,0 1-1 0 0,0 0 0 0 0,0 0 0 0 0,0-1 1 0 0,0 1-1 0 0,0 0 0 0 0,0-1 1 0 0,0 1-1 0 0,0-1 0 0 0,0 0 1 0 0,1 1-1 0 0,-1-1 0 0 0,0 0 1 0 0,0 1-1 0 0,0-1 0 0 0,1 0 1 0 0,1 0-1 0 0,24-4 41 0 0,-18 2-123 0 0,-1-1 0 0 0,1-1 0 0 0,-1 1 0 0 0,1-2 0 0 0,-1 1 0 0 0,14-11 0 0 0,43-40-733 0 0,-23 18 517 0 0,-29 26 214 0 0,3 0-1326 0 0,-16 12 1362 0 0,0 1 0 0 0,1-1-1 0 0,-1 1 1 0 0,0-1 0 0 0,0 0 0 0 0,0 1-1 0 0,0-1 1 0 0,-1 0 0 0 0,1 1 0 0 0,0-1-1 0 0,0 0 1 0 0,-1 1 0 0 0,1-1-1 0 0,-1 0 1 0 0,1 0 0 0 0,-2 3 0 0 0,0 0 36 0 0,1 0 0 0 0,0 0 1 0 0,0 1-1 0 0,0-1 0 0 0,1 0 1 0 0,-1 1-1 0 0,1-1 0 0 0,0 1 1 0 0,0-1-1 0 0,1 0 0 0 0,-1 1 1 0 0,1-1-1 0 0,0 0 0 0 0,0 1 1 0 0,1-1-1 0 0,-1 0 0 0 0,1 0 1 0 0,0 0-1 0 0,0 0 1 0 0,3 4-1 0 0,-1-3 40 0 0,0-1 1 0 0,0 1 0 0 0,0-1-1 0 0,1 1 1 0 0,0-1-1 0 0,0-1 1 0 0,0 1-1 0 0,0-1 1 0 0,1 0-1 0 0,-1 0 1 0 0,1 0-1 0 0,0-1 1 0 0,7 2 0 0 0,-6-2 38 0 0,1 0 1 0 0,-1 0 0 0 0,1-1-1 0 0,0 0 1 0 0,-1-1 0 0 0,1 0-1 0 0,0 0 1 0 0,0 0-1 0 0,-1-1 1 0 0,14-3 0 0 0,-16 2-26 0 0,0 1-1 0 0,0-1 1 0 0,0 0 0 0 0,-1 0 0 0 0,1 0 0 0 0,-1-1 0 0 0,1 0-1 0 0,-1 0 1 0 0,0 0 0 0 0,0 0 0 0 0,-1-1 0 0 0,1 1 0 0 0,-1-1-1 0 0,1 0 1 0 0,-1 0 0 0 0,0 0 0 0 0,2-5 0 0 0,-2 2-11 0 0,0 0 1 0 0,-1 0-1 0 0,1 0 1 0 0,-1-1 0 0 0,-1 1-1 0 0,0 0 1 0 0,0-1-1 0 0,0 1 1 0 0,-1-1-1 0 0,0 0 1 0 0,0 1 0 0 0,-1-1-1 0 0,0 1 1 0 0,-3-12-1 0 0,3 15-194 0 0,-1 0 0 0 0,1 0 0 0 0,0 0-1 0 0,-1 1 1 0 0,0-1 0 0 0,0 0-1 0 0,0 1 1 0 0,0-1 0 0 0,-1 1 0 0 0,1 0-1 0 0,-1 0 1 0 0,0 0 0 0 0,0 0 0 0 0,0 0-1 0 0,0 1 1 0 0,-1-1 0 0 0,1 1 0 0 0,-1 0-1 0 0,1 0 1 0 0,-1 0 0 0 0,0 1 0 0 0,0-1-1 0 0,0 1 1 0 0,1 0 0 0 0,-1 0-1 0 0,-1 0 1 0 0,1 1 0 0 0,0-1 0 0 0,-7 1-1 0 0,5 0-299 0 0,-1 1-1 0 0,0 0 0 0 0,0 0 0 0 0,1 0 1 0 0,-1 1-1 0 0,1 0 0 0 0,-8 4 0 0 0,8-3-503 0 0,0 0-1 0 0,0 0 0 0 0,1 0 0 0 0,-1 1 0 0 0,-5 5 1 0 0,0 2-2644 0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7.4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7 167 1560 0 0,'1'-2'1454'0'0,"24"-27"4594"0"0,-23 30-5568 0 0,0 0-388 0 0,0-1-1 0 0,-1 1 0 0 0,1 0 1 0 0,0 0-1 0 0,-1 0 1 0 0,1 0-1 0 0,-1 0 0 0 0,0 0 1 0 0,1 0-1 0 0,-1 1 1 0 0,0-1-1 0 0,0 0 0 0 0,0 1 1 0 0,0-1-1 0 0,0 1 1 0 0,0-1-1 0 0,0 1 0 0 0,1 3 1 0 0,-1 0 77 0 0,1-1 1 0 0,-1 1 0 0 0,0 0-1 0 0,-1 0 1 0 0,1 0 0 0 0,-1 9-1 0 0,-2 7 286 0 0,-1-1 0 0 0,-8 30 1 0 0,10-44-375 0 0,-2 5 53 0 0,-1 0-1 0 0,0 0 0 0 0,-1-1 1 0 0,0 1-1 0 0,-1-1 1 0 0,0 0-1 0 0,0 0 1 0 0,-1-1-1 0 0,-1 0 0 0 0,1 0 1 0 0,-1-1-1 0 0,-1 0 1 0 0,0 0-1 0 0,0-1 0 0 0,0 0 1 0 0,-1-1-1 0 0,0 0 1 0 0,0 0-1 0 0,-1-1 0 0 0,-18 6 1 0 0,24-9-179 0 0,-1-1 0 0 0,1 0 0 0 0,-1-1 0 0 0,0 1 0 0 0,1-1-1 0 0,-1 0 1 0 0,0 0 0 0 0,-9-3 0 0 0,13 3 24 0 0,0-1-23 0 0,0 1 1 0 0,0-1-1 0 0,1 0 0 0 0,-1 1 1 0 0,1-1-1 0 0,-1 0 0 0 0,1 0 1 0 0,-1 0-1 0 0,1-1 0 0 0,-1 1 1 0 0,1 0-1 0 0,0-1 0 0 0,0 1 1 0 0,0 0-1 0 0,0-1 0 0 0,0 1 1 0 0,0-1-1 0 0,0 0 0 0 0,0 1 1 0 0,0-3-1 0 0,0 2-12 0 0,0 1 26 0 0,1 0 0 0 0,-1 0 0 0 0,1 0 0 0 0,0 0 0 0 0,-1 0 0 0 0,1-1 0 0 0,0 1-1 0 0,0 0 1 0 0,0 0 0 0 0,0 0 0 0 0,0 0 0 0 0,0-1 0 0 0,0 1 0 0 0,0 0 0 0 0,0 0 0 0 0,0 0 0 0 0,1 0 0 0 0,-1-1 0 0 0,1 1 0 0 0,-1 0 0 0 0,1 0 0 0 0,-1 0 0 0 0,1 0 0 0 0,-1 0 0 0 0,1 0 0 0 0,0 0 0 0 0,0 0 0 0 0,-1 0 0 0 0,1 1 0 0 0,0-1 0 0 0,0 0 0 0 0,0 0 0 0 0,1 0 0 0 0,0-1 7 0 0,0 1 0 0 0,1 0 0 0 0,-1 0 0 0 0,0 0 0 0 0,0 0 0 0 0,1 0 0 0 0,-1 0 0 0 0,1 1 0 0 0,-1-1 0 0 0,0 1 0 0 0,1-1 0 0 0,-1 1 0 0 0,1 0 0 0 0,2 0 0 0 0,6 3-9 0 0,0-1 1 0 0,0 1-1 0 0,0 1 0 0 0,-1 0 0 0 0,14 7 0 0 0,53 35 92 0 0,-4-3 247 0 0,-49-31-196 0 0,1 0-1 0 0,-1-2 1 0 0,2 0 0 0 0,-1-2-1 0 0,33 6 1 0 0,-49-12-93 0 0,0-1 1 0 0,0 0-1 0 0,0-1 0 0 0,0 0 1 0 0,0-1-1 0 0,0 1 1 0 0,0-2-1 0 0,0 1 0 0 0,0-1 1 0 0,0-1-1 0 0,0 1 1 0 0,-1-1-1 0 0,0-1 0 0 0,1 0 1 0 0,-1 0-1 0 0,0-1 1 0 0,-1 1-1 0 0,1-2 0 0 0,7-6 1 0 0,-6 4-10 0 0,-1-1-1 0 0,0 0 1 0 0,11-16 0 0 0,-16 21 4 0 0,0-1 0 0 0,0 1 0 0 0,-1 0-1 0 0,0-1 1 0 0,0 0 0 0 0,0 1 0 0 0,-1-1 0 0 0,1 0 0 0 0,-1 0 0 0 0,1-10-1 0 0,-2 14-14 0 0,0 0 0 0 0,0-1 0 0 0,0 1 0 0 0,0-1 0 0 0,0 1 0 0 0,0 0 0 0 0,-1-1 0 0 0,1 1 0 0 0,0 0 0 0 0,-1-1 0 0 0,1 1 0 0 0,-1 0 0 0 0,1 0 0 0 0,-1-1 0 0 0,0 1 0 0 0,1 0 0 0 0,-1 0 0 0 0,0 0 0 0 0,0 0 0 0 0,0 0 0 0 0,0 0 0 0 0,0 0 0 0 0,0 0 1 0 0,0 0-1 0 0,0 0 0 0 0,0 1 0 0 0,0-1 0 0 0,-1 0 0 0 0,1 1 0 0 0,0-1 0 0 0,0 1 0 0 0,-1-1 0 0 0,1 1 0 0 0,0 0 0 0 0,-1 0 0 0 0,-1-1 0 0 0,0 1-8 0 0,0 0 0 0 0,0 1 0 0 0,0-1 0 0 0,0 1 1 0 0,0-1-1 0 0,0 1 0 0 0,0 0 0 0 0,0 0 0 0 0,0 0 1 0 0,0 0-1 0 0,1 1 0 0 0,-1-1 0 0 0,0 1 0 0 0,1 0 1 0 0,-5 3-1 0 0,5-3 11 0 0,0 0 0 0 0,0 0 0 0 0,0 0 0 0 0,0 0 0 0 0,1 0 0 0 0,-1 1 0 0 0,0-1 0 0 0,1 0 0 0 0,0 1 0 0 0,0-1 0 0 0,-1 1 0 0 0,1 0-1 0 0,1-1 1 0 0,-1 1 0 0 0,0 0 0 0 0,1 0 0 0 0,-1 0 0 0 0,1 3 0 0 0,0-4 12 0 0,1 0-1 0 0,-1 1 0 0 0,1-1 0 0 0,-1 0 0 0 0,1 0 0 0 0,0 1 0 0 0,0-1 0 0 0,0 0 0 0 0,0 0 1 0 0,0 0-1 0 0,0 0 0 0 0,1 0 0 0 0,-1 0 0 0 0,1 0 0 0 0,-1 0 0 0 0,1-1 0 0 0,0 1 1 0 0,0-1-1 0 0,0 1 0 0 0,0-1 0 0 0,3 2 0 0 0,6 3 21 0 0,0-1-1 0 0,1-1 1 0 0,-1 0-1 0 0,1 0 1 0 0,0-1 0 0 0,-1-1-1 0 0,2 0 1 0 0,-1 0-1 0 0,0-2 1 0 0,0 1 0 0 0,0-1-1 0 0,17-3 1 0 0,-9 0 24 0 0,-1 0 0 0 0,0-2 0 0 0,0 0 1 0 0,0-1-1 0 0,-1 0 0 0 0,35-19 0 0 0,-40 16-40 0 0,1 0-1 0 0,-1-1 1 0 0,-1-1 0 0 0,0 0 0 0 0,0 0-1 0 0,-1-1 1 0 0,-1-1 0 0 0,0 1-1 0 0,-1-2 1 0 0,0 1 0 0 0,11-25-1 0 0,-8 13 36 0 0,-2-1 0 0 0,0-1 0 0 0,-2 0-1 0 0,0 0 1 0 0,6-54 0 0 0,-13 73-21 0 0,-1 0 1 0 0,0 0-1 0 0,0-1 0 0 0,-1 1 1 0 0,0 0-1 0 0,-3-13 1 0 0,4 19-31 0 0,-1 0 1 0 0,1 0 0 0 0,-1 0 0 0 0,0 0 0 0 0,0 0-1 0 0,0 0 1 0 0,0 0 0 0 0,0 0 0 0 0,0 0-1 0 0,0 0 1 0 0,-1 1 0 0 0,1-1 0 0 0,0 1 0 0 0,-1-1-1 0 0,0 1 1 0 0,1-1 0 0 0,-1 1 0 0 0,0 0 0 0 0,0 0-1 0 0,1 0 1 0 0,-1 0 0 0 0,0 0 0 0 0,0 0 0 0 0,0 1-1 0 0,0-1 1 0 0,0 0 0 0 0,-1 1 0 0 0,1 0 0 0 0,0-1-1 0 0,0 1 1 0 0,0 0 0 0 0,0 0 0 0 0,-3 1 0 0 0,-3 0 7 0 0,0 0 1 0 0,1 1 0 0 0,-1 0 0 0 0,1 1 0 0 0,-1-1 0 0 0,1 2-1 0 0,0-1 1 0 0,0 1 0 0 0,1 0 0 0 0,-1 0 0 0 0,1 1 0 0 0,-1-1 0 0 0,1 2-1 0 0,1-1 1 0 0,-1 1 0 0 0,1-1 0 0 0,0 2 0 0 0,0-1 0 0 0,1 0-1 0 0,-7 14 1 0 0,6-10 28 0 0,1-1-1 0 0,0 1 1 0 0,1 0-1 0 0,0 0 0 0 0,0 1 1 0 0,1-1-1 0 0,0 1 1 0 0,1-1-1 0 0,1 1 1 0 0,-1-1-1 0 0,2 1 1 0 0,-1 0-1 0 0,2-1 0 0 0,-1 1 1 0 0,4 12-1 0 0,0-8-3 0 0,1 1-1 0 0,0-1 1 0 0,1 0-1 0 0,1 0 1 0 0,0-1-1 0 0,1 0 1 0 0,1 0-1 0 0,0-1 1 0 0,12 12-1 0 0,-13-16-194 0 0,56 57-2170 0 0,-57-59 960 0 0,1 0-1 0 0,0 0 0 0 0,0-1 0 0 0,1 0 0 0 0,0 0 0 0 0,11 4 0 0 0,-6-6-2273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7.9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7 1 964 0 0,'2'0'1824'0'0,"1"1"-1513"0"0,-1-1 1 0 0,1 1-1 0 0,-1 0 0 0 0,1 0 0 0 0,-1 0 0 0 0,1 1 0 0 0,-1-1 0 0 0,0 1 0 0 0,0-1 1 0 0,0 1-1 0 0,0 0 0 0 0,0-1 0 0 0,0 1 0 0 0,0 0 0 0 0,0 1 0 0 0,-1-1 1 0 0,1 0-1 0 0,-1 0 0 0 0,2 5 0 0 0,4 7 499 0 0,-1 0 1 0 0,6 21-1 0 0,-5-14 81 0 0,3 8-269 0 0,-2 1 1 0 0,0 0-1 0 0,-2 0 1 0 0,-1 0-1 0 0,-2 1 0 0 0,-1 0 1 0 0,-1 0-1 0 0,-5 44 0 0 0,2-67-534 0 0,1 0-1 0 0,-2 1 1 0 0,1-1 0 0 0,-1 0-1 0 0,0 0 1 0 0,0-1-1 0 0,-1 1 1 0 0,0-1-1 0 0,-1 1 1 0 0,0-1 0 0 0,0 0-1 0 0,0-1 1 0 0,-12 12-1 0 0,13-15-71 0 0,0 1 1 0 0,-1-1-1 0 0,1 0 0 0 0,0 0 0 0 0,-1 0 1 0 0,0-1-1 0 0,0 0 0 0 0,0 0 0 0 0,0 0 1 0 0,0 0-1 0 0,0-1 0 0 0,0 0 0 0 0,-1 0 1 0 0,1 0-1 0 0,0 0 0 0 0,-1-1 0 0 0,1 0 1 0 0,-1 0-1 0 0,1-1 0 0 0,0 0 0 0 0,-1 0 1 0 0,-9-3-1 0 0,10 2-80 0 0,1 0 0 0 0,-1 0 0 0 0,1-1 0 0 0,0 0-1 0 0,-1 1 1 0 0,1-2 0 0 0,1 1 0 0 0,-1 0 0 0 0,0-1 0 0 0,1 0 0 0 0,0 0 0 0 0,0 0 0 0 0,0 0 0 0 0,0 0 0 0 0,0-1 0 0 0,1 1 0 0 0,0-1 0 0 0,0 0 0 0 0,0 1 0 0 0,1-1 0 0 0,0 0-1 0 0,-2-10 1 0 0,2 11 16 0 0,1-1 0 0 0,-1 0-1 0 0,1 0 1 0 0,0 1-1 0 0,0-1 1 0 0,0 0 0 0 0,1 0-1 0 0,0 1 1 0 0,0-1-1 0 0,0 0 1 0 0,0 1 0 0 0,1-1-1 0 0,0 1 1 0 0,0 0-1 0 0,0-1 1 0 0,0 1-1 0 0,1 0 1 0 0,0 0 0 0 0,-1 0-1 0 0,2 1 1 0 0,-1-1-1 0 0,0 1 1 0 0,1-1 0 0 0,4-2-1 0 0,-5 4 30 0 0,0 1 0 0 0,1-1 0 0 0,-1 1 0 0 0,1 0 0 0 0,-1 0 0 0 0,1 0 0 0 0,-1 1 0 0 0,1-1 0 0 0,0 1 0 0 0,0 0 0 0 0,6 0 0 0 0,42 8-56 0 0,70 29 93 0 0,-94-27 24 0 0,1 0 0 0 0,0-2 0 0 0,1-1 1 0 0,-1-1-1 0 0,47 2 0 0 0,-65-8-25 0 0,0-1 1 0 0,0-1-1 0 0,0 0 0 0 0,0 0 1 0 0,0-1-1 0 0,-1 0 0 0 0,20-9 1 0 0,0-3 767 0 0,34-24 1 0 0,-64 38-780 0 0,1 1 1 0 0,0-1 0 0 0,-1 0 0 0 0,1 1-1 0 0,0-1 1 0 0,-1 1 0 0 0,1-1-1 0 0,0 1 1 0 0,0 0 0 0 0,-1-1-1 0 0,1 1 1 0 0,0 0 0 0 0,0 0 0 0 0,0-1-1 0 0,0 1 1 0 0,-1 0 0 0 0,1 0-1 0 0,0 0 1 0 0,0 0 0 0 0,0 0-1 0 0,0 0 1 0 0,-1 0 0 0 0,1 0 0 0 0,0 0-1 0 0,0 1 1 0 0,0-1 0 0 0,0 0-1 0 0,-1 0 1 0 0,1 1 0 0 0,0-1 0 0 0,0 1-1 0 0,-1-1 1 0 0,1 1 0 0 0,0-1-1 0 0,0 1 1 0 0,-1-1 0 0 0,1 1-1 0 0,-1-1 1 0 0,1 1 0 0 0,-1 0 0 0 0,1-1-1 0 0,-1 1 1 0 0,1 0 0 0 0,0 1-1 0 0,1 3 8 0 0,-1 0-1 0 0,0 0 1 0 0,1 0 0 0 0,-2 0-1 0 0,2 10 1 0 0,-2-13-4 0 0,2 80-904 0 0,-1-17-2575 0 0,6-1-4828 0 0,-6-54 4440 0 0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8.8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31 1 804 0 0,'3'0'3904'0'0,"-2"1"-3768"0"0,0 0 0 0 0,1 0 0 0 0,-1-1-1 0 0,0 1 1 0 0,1 0 0 0 0,-1 0-1 0 0,0 1 1 0 0,0-1 0 0 0,0 0-1 0 0,0 0 1 0 0,0 0 0 0 0,0 1 0 0 0,0-1-1 0 0,0 1 1 0 0,-1-1 0 0 0,1 0-1 0 0,0 1 1 0 0,-1-1 0 0 0,0 1-1 0 0,1 0 1 0 0,-1-1 0 0 0,0 1 0 0 0,1-1-1 0 0,-1 1 1 0 0,0 2 0 0 0,2 53 1275 0 0,-2-49-1216 0 0,0 18 283 0 0,-2-1-1 0 0,0 1 1 0 0,-2-1 0 0 0,-1 0-1 0 0,0 0 1 0 0,-2 0 0 0 0,-1-1-1 0 0,-19 40 1 0 0,19-48-301 0 0,-1-2 1 0 0,0 1-1 0 0,-1-1 0 0 0,0-1 1 0 0,-1 1-1 0 0,0-2 0 0 0,-2 0 1 0 0,1 0-1 0 0,-1-1 0 0 0,-1-1 1 0 0,0 0-1 0 0,0 0 1 0 0,-1-2-1 0 0,-16 8 0 0 0,23-13-134 0 0,-1 0 0 0 0,1 0 0 0 0,0-1-1 0 0,-1 0 1 0 0,0-1 0 0 0,1 1 0 0 0,-1-2-1 0 0,0 1 1 0 0,1-1 0 0 0,-1-1 0 0 0,0 1 0 0 0,-11-3-1 0 0,16 2-76 0 0,0 0-1 0 0,0-1 1 0 0,0 1-1 0 0,0-1 0 0 0,0 0 1 0 0,0 0-1 0 0,1 0 1 0 0,-1 0-1 0 0,0 0 1 0 0,1-1-1 0 0,0 0 0 0 0,0 0 1 0 0,0 0-1 0 0,0 0 1 0 0,0 0-1 0 0,0-1 1 0 0,1 1-1 0 0,0-1 0 0 0,-1 1 1 0 0,2-1-1 0 0,-1 0 1 0 0,0 0-1 0 0,1 0 1 0 0,-1 0-1 0 0,1 0 0 0 0,-1-7 1 0 0,1 1-125 0 0,0 0 0 0 0,1 1 1 0 0,0-1-1 0 0,1 0 0 0 0,0 0 1 0 0,4-18-1 0 0,-4 24 108 0 0,0-1 1 0 0,0 1-1 0 0,1 0 1 0 0,0 0-1 0 0,-1-1 1 0 0,1 1-1 0 0,1 0 1 0 0,-1 0-1 0 0,1 1 1 0 0,-1-1-1 0 0,1 0 1 0 0,0 1-1 0 0,0 0 1 0 0,1 0-1 0 0,-1 0 1 0 0,6-4-1 0 0,-7 6 35 0 0,1 0-1 0 0,0 0 0 0 0,0 1 1 0 0,0-1-1 0 0,-1 1 0 0 0,1 0 0 0 0,0-1 1 0 0,0 1-1 0 0,0 0 0 0 0,0 1 1 0 0,-1-1-1 0 0,1 0 0 0 0,0 1 1 0 0,3 1-1 0 0,38 13-152 0 0,32 22 53 0 0,-41-19 254 0 0,1-1 0 0 0,1-2 0 0 0,0-1 0 0 0,43 9-1 0 0,-69-21-45 0 0,0 0-1 0 0,0-1 0 0 0,0-1 1 0 0,0 0-1 0 0,0 0 0 0 0,0-1 1 0 0,0 0-1 0 0,0-1 0 0 0,0 0 0 0 0,0-1 1 0 0,-1 0-1 0 0,0-1 0 0 0,1 0 1 0 0,-1-1-1 0 0,0 0 0 0 0,-1 0 1 0 0,1-1-1 0 0,-1-1 0 0 0,-1 1 1 0 0,1-1-1 0 0,-1-1 0 0 0,13-14 1 0 0,-19 20-22 0 0,-3 0-55 0 0,0 2-16 0 0,1 0 0 0 0,0-1 0 0 0,-1 1 0 0 0,1 0 1 0 0,-1-1-1 0 0,1 1 0 0 0,-1 0 0 0 0,1 0 0 0 0,-1-1 0 0 0,0 1 0 0 0,1 0 1 0 0,-1 0-1 0 0,1 0 0 0 0,-1 0 0 0 0,1 0 0 0 0,-1 0 0 0 0,0 0 0 0 0,1 0 1 0 0,-1 0-1 0 0,1 0 0 0 0,-1 0 0 0 0,1 0 0 0 0,-1 0 0 0 0,0 1 0 0 0,1-1 1 0 0,-1 0-1 0 0,1 0 0 0 0,-1 1 0 0 0,1-1 0 0 0,-1 0 0 0 0,1 0 0 0 0,0 1 1 0 0,-1-1-1 0 0,1 1 0 0 0,-1-1 0 0 0,1 0 0 0 0,-1 2 0 0 0,-9 10-19 0 0,8-10 25 0 0,0 0 0 0 0,0 0-1 0 0,1 0 1 0 0,-1 1 0 0 0,1-1-1 0 0,-1 1 1 0 0,1-1 0 0 0,0 1-1 0 0,0 0 1 0 0,0-1 0 0 0,1 1-1 0 0,-1 0 1 0 0,1 0 0 0 0,-1-1-1 0 0,1 1 1 0 0,0 0 0 0 0,0 0-1 0 0,0 0 1 0 0,0-1 0 0 0,1 1-1 0 0,-1 0 1 0 0,1 0 0 0 0,0 0-1 0 0,-1-1 1 0 0,1 1 0 0 0,1-1-1 0 0,-1 1 1 0 0,0 0 0 0 0,0-1-1 0 0,1 0 1 0 0,3 5 0 0 0,1-1 63 0 0,-1 0 0 0 0,1 0-1 0 0,0-1 1 0 0,1 1 0 0 0,-1-1 0 0 0,1-1 0 0 0,0 0 0 0 0,0 0 0 0 0,12 5 0 0 0,-7-4 79 0 0,0-1 0 0 0,0-1 0 0 0,0 0 0 0 0,1-1 0 0 0,-1 0 0 0 0,1-1 0 0 0,-1-1 0 0 0,1 1 0 0 0,0-2 0 0 0,13-2 0 0 0,-21 3-71 0 0,1-1 0 0 0,-1 0 0 0 0,1-1 0 0 0,-1 1 0 0 0,0-1 0 0 0,1 0 0 0 0,-1-1 0 0 0,0 1 0 0 0,0-1 0 0 0,0 0 0 0 0,-1 0 0 0 0,1 0 0 0 0,-1-1 0 0 0,0 0 0 0 0,0 0 0 0 0,0 0 0 0 0,0 0 0 0 0,-1-1 0 0 0,1 1 0 0 0,-1-1 0 0 0,0 0 0 0 0,-1 0 0 0 0,1 0 0 0 0,2-9 0 0 0,-4 11-125 0 0,0 1 1 0 0,0-1-1 0 0,-1 1 0 0 0,1-1 1 0 0,-1 0-1 0 0,0 1 0 0 0,0-1 1 0 0,0 0-1 0 0,0 1 0 0 0,-1-1 1 0 0,1 0-1 0 0,0 1 0 0 0,-1-1 1 0 0,0 1-1 0 0,0-1 0 0 0,0 1 1 0 0,0-1-1 0 0,0 1 0 0 0,0 0 1 0 0,-1-1-1 0 0,1 1 0 0 0,-1 0 1 0 0,1 0-1 0 0,-1 0 0 0 0,0 0 1 0 0,0 0-1 0 0,0 0 0 0 0,-2-1 1 0 0,-1 0-440 0 0,0 0 0 0 0,1 1 0 0 0,-1-1 0 0 0,0 1 1 0 0,0 0-1 0 0,0 0 0 0 0,-1 1 0 0 0,1 0 0 0 0,0 0 0 0 0,0 0 0 0 0,-11 0 1 0 0,15 1 351 0 0,0 0 0 0 0,0 0 1 0 0,0 0-1 0 0,0 0 0 0 0,-1 1 1 0 0,1-1-1 0 0,0 0 0 0 0,0 1 1 0 0,0-1-1 0 0,0 1 0 0 0,0-1 1 0 0,0 1-1 0 0,0-1 1 0 0,0 1-1 0 0,0 0 0 0 0,0-1 1 0 0,0 1-1 0 0,0 1 0 0 0,0-1 96 0 0,1-1 1 0 0,0 0-1 0 0,0 1 0 0 0,-1-1 0 0 0,1 1 0 0 0,0-1 0 0 0,0 1 0 0 0,0-1 0 0 0,0 1 0 0 0,-1-1 0 0 0,1 1 1 0 0,0-1-1 0 0,0 1 0 0 0,0-1 0 0 0,0 1 0 0 0,0-1 0 0 0,0 1 0 0 0,1-1 0 0 0,-1 1 0 0 0,0-1 1 0 0,0 1-1 0 0,0-1 0 0 0,0 1 0 0 0,1-1 0 0 0,-1 1 0 0 0,0-1 0 0 0,0 1 0 0 0,1-1 0 0 0,-1 1 0 0 0,0-1 1 0 0,1 0-1 0 0,-1 1 0 0 0,0-1 0 0 0,1 0 0 0 0,-1 1 0 0 0,1-1 0 0 0,-1 0 0 0 0,1 0 0 0 0,0 1 1 0 0,8 4-23 0 0,1 0 1 0 0,-1-1-1 0 0,1 0 1 0 0,0 0-1 0 0,1-1 1 0 0,-1-1-1 0 0,0 0 1 0 0,1 0-1 0 0,-1-1 1 0 0,20 0-1 0 0,5-1 502 0 0,0-3-1 0 0,36-6 1 0 0,-51 6-154 0 0,-1-1 0 0 0,1-2 0 0 0,-1 1 0 0 0,32-16 0 0 0,-40 16-100 0 0,-1-1 0 0 0,0 0 1 0 0,0-1-1 0 0,0 0 0 0 0,-1 0 0 0 0,0-1 0 0 0,-1 0 0 0 0,0-1 0 0 0,11-13 0 0 0,-18 20-141 0 0,0 0 0 0 0,0 0 0 0 0,0 0 1 0 0,0 0-1 0 0,0 0 0 0 0,0 0 0 0 0,0 0 0 0 0,-1 0 0 0 0,1 0 0 0 0,-1-1 0 0 0,0 1 0 0 0,1 0 0 0 0,-1 0 0 0 0,0-1 0 0 0,-1-3 0 0 0,1 5-34 0 0,0 0 0 0 0,-1-1 0 0 0,1 1 0 0 0,-1 0 0 0 0,0-1 0 0 0,1 1 0 0 0,-1 0-1 0 0,0 0 1 0 0,0 0 0 0 0,0 0 0 0 0,1 0 0 0 0,-1 0 0 0 0,0 0 0 0 0,-1 0 0 0 0,1 0 0 0 0,0 0-1 0 0,0 0 1 0 0,0 1 0 0 0,0-1 0 0 0,-1 0 0 0 0,1 1 0 0 0,0-1 0 0 0,0 1 0 0 0,-1 0 0 0 0,1-1 0 0 0,0 1-1 0 0,-1 0 1 0 0,1 0 0 0 0,-1 0 0 0 0,-1 0 0 0 0,-4 0-8 0 0,0 0 0 0 0,0 1 1 0 0,0-1-1 0 0,0 2 0 0 0,1-1 0 0 0,-1 1 0 0 0,0 0 0 0 0,1 0 1 0 0,-1 1-1 0 0,1 0 0 0 0,0 0 0 0 0,0 0 0 0 0,0 1 1 0 0,-8 6-1 0 0,11-7 3 0 0,-1 0 1 0 0,1 0-1 0 0,0 0 1 0 0,0 0-1 0 0,0 1 1 0 0,0-1 0 0 0,0 1-1 0 0,1 0 1 0 0,0 0-1 0 0,-1 0 1 0 0,2 0-1 0 0,-1 0 1 0 0,0 1-1 0 0,1-1 1 0 0,0 0-1 0 0,0 1 1 0 0,0-1 0 0 0,0 1-1 0 0,1-1 1 0 0,0 1-1 0 0,0-1 1 0 0,0 1-1 0 0,0 0 1 0 0,2 4-1 0 0,-1-5 17 0 0,0 0-1 0 0,1 0 1 0 0,-1 0-1 0 0,1 0 0 0 0,0 0 1 0 0,0-1-1 0 0,1 1 1 0 0,-1-1-1 0 0,1 0 1 0 0,-1 0-1 0 0,1 0 0 0 0,0 0 1 0 0,0 0-1 0 0,0 0 1 0 0,1-1-1 0 0,-1 1 1 0 0,1-1-1 0 0,-1 0 0 0 0,1 0 1 0 0,0-1-1 0 0,0 1 1 0 0,0-1-1 0 0,0 0 1 0 0,0 0-1 0 0,0 0 0 0 0,0 0 1 0 0,6 0-1 0 0,1 0 46 0 0,0-1 0 0 0,0 1 0 0 0,0-2 0 0 0,0 0-1 0 0,0 0 1 0 0,0-1 0 0 0,-1 0 0 0 0,1-1 0 0 0,12-5-1 0 0,-11 3-4 0 0,-1 0 0 0 0,0-2 0 0 0,-1 1-1 0 0,0-1 1 0 0,0-1 0 0 0,0 0-1 0 0,10-11 1 0 0,54-69 1235 0 0,-37 41-495 0 0,-37 47-800 0 0,0-1-1 0 0,1 1 0 0 0,-1-1 1 0 0,1 1-1 0 0,-1-1 1 0 0,1 1-1 0 0,-1 0 0 0 0,1-1 1 0 0,-1 1-1 0 0,1-1 0 0 0,-1 1 1 0 0,1 0-1 0 0,0-1 1 0 0,-1 1-1 0 0,1 0 0 0 0,-1 0 1 0 0,1 0-1 0 0,0-1 0 0 0,-1 1 1 0 0,1 0-1 0 0,0 0 1 0 0,-1 0-1 0 0,1 0 0 0 0,0 0 1 0 0,-1 0-1 0 0,1 0 0 0 0,0 0 1 0 0,-1 1-1 0 0,1-1 0 0 0,-1 0 1 0 0,1 0-1 0 0,0 0 1 0 0,-1 1-1 0 0,1-1 0 0 0,-1 0 1 0 0,1 1-1 0 0,-1-1 0 0 0,1 0 1 0 0,0 1-1 0 0,-1-1 1 0 0,0 1-1 0 0,1-1 0 0 0,-1 1 1 0 0,1-1-1 0 0,-1 1 0 0 0,0-1 1 0 0,1 1-1 0 0,-1 0 0 0 0,1 0 1 0 0,13 30 3 0 0,-14-30-4 0 0,14 38 188 0 0,8 44 1 0 0,-19-68-77 0 0,-1 0 0 0 0,0 1 0 0 0,-1-1 0 0 0,-1 0 0 0 0,0 0 0 0 0,-3 22 0 0 0,1-30-124 0 0,0-1-1 0 0,0 1 0 0 0,0-1 0 0 0,-1 1 0 0 0,1-1 1 0 0,-2 0-1 0 0,1 0 0 0 0,-1 0 0 0 0,0-1 0 0 0,0 1 1 0 0,0-1-1 0 0,-1 0 0 0 0,0 0 0 0 0,0-1 0 0 0,0 1 0 0 0,0-1 1 0 0,-13 7-1 0 0,10-7-446 0 0,0 1 1 0 0,-1-2 0 0 0,1 1-1 0 0,-1-1 1 0 0,-12 3-1 0 0,13-5-571 0 0,-1 1 1 0 0,0-1-1 0 0,1-1 0 0 0,-1 0 0 0 0,-14-1 0 0 0,6-3-2519 0 0,6-3-1470 0 0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9.4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6 2104 0 0,'18'-6'2152'0'0,"0"0"0"0"0,0 2 0 0 0,38-5 0 0 0,-50 8-1838 0 0,0 1-1 0 0,0 0 1 0 0,0 1 0 0 0,0-1-1 0 0,0 1 1 0 0,0 1-1 0 0,-1-1 1 0 0,1 1 0 0 0,0 0-1 0 0,0 0 1 0 0,-1 1-1 0 0,0-1 1 0 0,1 1 0 0 0,-1 0-1 0 0,0 1 1 0 0,8 7-1 0 0,-1 0-74 0 0,-1 0-1 0 0,-1 1 0 0 0,0 1 0 0 0,0 0 0 0 0,-1 0 0 0 0,-1 1 0 0 0,0 0 0 0 0,-1 0 1 0 0,0 1-1 0 0,-1 0 0 0 0,-1 0 0 0 0,6 27 0 0 0,-9-29-139 0 0,-1-7-22 0 0,0 0 0 0 0,1 0-1 0 0,-1-1 1 0 0,5 9 0 0 0,-6-13-113 0 0,23-15-379 0 0,1-7 190 0 0,1 0-1 0 0,55-32 0 0 0,-78 51 216 0 0,0 1 0 0 0,0 1 1 0 0,0-1-1 0 0,0 0 0 0 0,0 0 0 0 0,1 1 0 0 0,-1-1 0 0 0,0 1 0 0 0,0 0 0 0 0,1 0 0 0 0,-1 0 0 0 0,0 0 0 0 0,1 0 0 0 0,-1 0 0 0 0,0 0 0 0 0,0 1 0 0 0,1-1 0 0 0,-1 1 0 0 0,0 0 0 0 0,0 0 0 0 0,0 0 0 0 0,0 0 0 0 0,0 0 1 0 0,0 0-1 0 0,0 0 0 0 0,0 1 0 0 0,3 2 0 0 0,3 3-11 0 0,-1 1 1 0 0,1 1 0 0 0,-1 0-1 0 0,9 14 1 0 0,0 1 11 0 0,-7-11 21 0 0,-5-7 7 0 0,1 0 1 0 0,0-1 0 0 0,-1 1-1 0 0,12 8 1 0 0,-13-12-10 0 0,0 0 0 0 0,0 0 1 0 0,0 0-1 0 0,0-1 0 0 0,0 0 0 0 0,1 1 1 0 0,-1-1-1 0 0,0 0 0 0 0,1-1 1 0 0,-1 1-1 0 0,1-1 0 0 0,-1 1 0 0 0,1-1 1 0 0,5 0-1 0 0,5-2 6 0 0,0 0 1 0 0,-1 0-1 0 0,1-1 0 0 0,-1-1 1 0 0,1 0-1 0 0,-1-1 1 0 0,0-1-1 0 0,-1 0 0 0 0,0 0 1 0 0,0-1-1 0 0,0-1 0 0 0,16-13 1 0 0,-3 0-1 0 0,-10 10 0 0 0,-1-1 0 0 0,19-20 0 0 0,-32 31-30 0 0,-16 8-56 0 0,13-5 76 0 0,0 0 0 0 0,0 0 0 0 0,1 0-1 0 0,-1 0 1 0 0,0 0 0 0 0,1 1-1 0 0,-1-1 1 0 0,1 1 0 0 0,0-1 0 0 0,0 1-1 0 0,0-1 1 0 0,0 1 0 0 0,0-1-1 0 0,1 1 1 0 0,-1 0 0 0 0,1-1 0 0 0,-1 1-1 0 0,1 0 1 0 0,0 0 0 0 0,0-1-1 0 0,1 1 1 0 0,-1 0 0 0 0,0-1 0 0 0,1 1-1 0 0,1 4 1 0 0,-1-4 15 0 0,0 0 0 0 0,1 0 0 0 0,0 0 1 0 0,-1 0-1 0 0,1 0 0 0 0,0 0 0 0 0,0 0 0 0 0,1-1 1 0 0,-1 1-1 0 0,1-1 0 0 0,-1 0 0 0 0,1 0 0 0 0,0 0 1 0 0,-1 0-1 0 0,1 0 0 0 0,0 0 0 0 0,0-1 0 0 0,1 1 1 0 0,-1-1-1 0 0,0 0 0 0 0,4 1 0 0 0,2 0 122 0 0,0 0-1 0 0,0-1 1 0 0,1 0-1 0 0,-1 0 1 0 0,0-1-1 0 0,1 0 1 0 0,17-3-1 0 0,-22 2-37 0 0,-1 0 0 0 0,1 0-1 0 0,0-1 1 0 0,-1 0-1 0 0,1 0 1 0 0,-1 0 0 0 0,0 0-1 0 0,0-1 1 0 0,0 0 0 0 0,0 0-1 0 0,0 0 1 0 0,0 0 0 0 0,-1 0-1 0 0,0-1 1 0 0,1 0-1 0 0,-1 1 1 0 0,2-6 0 0 0,-3 6-56 0 0,0 0-1 0 0,0-1 1 0 0,0 1 0 0 0,-1-1 0 0 0,1 1 0 0 0,-1-1 0 0 0,0 1 0 0 0,0-1 0 0 0,0 0 0 0 0,-1 0-1 0 0,1 1 1 0 0,-1-1 0 0 0,0 0 0 0 0,0 0 0 0 0,0 0 0 0 0,-1 1 0 0 0,0-6 0 0 0,0 6-171 0 0,0 1 0 0 0,-1-1 0 0 0,1 0 0 0 0,-1 0 0 0 0,1 1 0 0 0,-1-1 0 0 0,0 1 0 0 0,0-1 0 0 0,0 1 0 0 0,0 0 0 0 0,0 0 0 0 0,-1 0 0 0 0,1 0 0 0 0,-1 0 0 0 0,1 0 0 0 0,-1 1 0 0 0,0-1 0 0 0,0 1 0 0 0,1 0 0 0 0,-1 0 0 0 0,0 0 0 0 0,0 0 0 0 0,-3 0 0 0 0,-1-1-552 0 0,1 1 1 0 0,0 0-1 0 0,0 0 0 0 0,-1 0 0 0 0,1 1 0 0 0,0 0 0 0 0,0 0 1 0 0,-1 1-1 0 0,1-1 0 0 0,0 2 0 0 0,0-1 0 0 0,0 1 0 0 0,-11 4 1 0 0,36-7-7643 0 0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49.7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42 1692 0 0,'144'-129'8776'0'0,"-143"127"-8687"0"0,1 1-1 0 0,-1 0 1 0 0,1 0-1 0 0,-1 0 0 0 0,1 0 1 0 0,-1 0-1 0 0,1 0 1 0 0,0 1-1 0 0,-1-1 1 0 0,1 0-1 0 0,0 1 1 0 0,0 0-1 0 0,-1-1 0 0 0,1 1 1 0 0,0 0-1 0 0,0 0 1 0 0,0 0-1 0 0,-1 0 1 0 0,1 0-1 0 0,0 0 0 0 0,0 0 1 0 0,0 0-1 0 0,-1 1 1 0 0,1-1-1 0 0,0 1 1 0 0,-1 0-1 0 0,1-1 0 0 0,0 1 1 0 0,-1 0-1 0 0,1 0 1 0 0,-1 0-1 0 0,1 0 1 0 0,-1 0-1 0 0,1 0 1 0 0,-1 1-1 0 0,0-1 0 0 0,0 0 1 0 0,1 1-1 0 0,-1-1 1 0 0,0 1-1 0 0,0-1 1 0 0,-1 1-1 0 0,1-1 0 0 0,0 1 1 0 0,0 0-1 0 0,-1 0 1 0 0,1-1-1 0 0,-1 1 1 0 0,1 3-1 0 0,6 44 1379 0 0,0 83 0 0 0,3 30-705 0 0,-4-117-539 0 0,-1-5-866 0 0,13 49 0 0 0,-16-78-167 0 0,2-1-1 0 0,-1 1 0 0 0,2-1 0 0 0,-1 0 1 0 0,1 0-1 0 0,1 0 0 0 0,0-1 0 0 0,0 0 0 0 0,11 12 1 0 0,-2-8-2251 0 0,2-2-890 0 0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0.1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4 123 520 0 0,'-10'-5'831'0'0,"-75"-37"8158"0"0,84 42-8923 0 0,1 0 0 0 0,-1 0 0 0 0,1 0 0 0 0,-1-1 0 0 0,1 1 1 0 0,-1 0-1 0 0,1 0 0 0 0,0-1 0 0 0,-1 1 0 0 0,1 0 0 0 0,0-1 1 0 0,-1 1-1 0 0,1 0 0 0 0,0-1 0 0 0,-1 1 0 0 0,1-1 0 0 0,0 1 1 0 0,0 0-1 0 0,-1-1 0 0 0,1 1 0 0 0,0-1 0 0 0,0 1 0 0 0,0-1 1 0 0,0 1-1 0 0,0-1 0 0 0,-1 1 0 0 0,1-1 0 0 0,0 1 0 0 0,0-1 1 0 0,11-8 661 0 0,25-1-316 0 0,-34 10-265 0 0,257-31 1867 0 0,-159 23-1712 0 0,-39 2-1541 0 0,-57 6 593 0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0.4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9 63 60 0 0,'-27'-61'8715'0'0,"26"59"-7953"0"0,-12 19 1227 0 0,6 6-1120 0 0,1 0-1 0 0,-4 28 0 0 0,-2 11-48 0 0,-20 87 356 0 0,-23 88-4526 0 0,40-187-432 0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1.1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5 1 364 0 0,'0'0'1751'0'0,"-3"0"-972"0"0,-86 29 2648 0 0,-99 36-719 0 0,183-63-2646 0 0,1 0 0 0 0,0 1-1 0 0,0-1 1 0 0,0 1 0 0 0,0-1 0 0 0,0 1 0 0 0,0 0 0 0 0,1 1-1 0 0,-1-1 1 0 0,1 1 0 0 0,-3 4 0 0 0,5-7-34 0 0,0 1 0 0 0,0-1 0 0 0,1 1 1 0 0,-1 0-1 0 0,1 0 0 0 0,-1-1 0 0 0,1 1 0 0 0,-1 0 1 0 0,1 0-1 0 0,0-1 0 0 0,0 1 0 0 0,0 0 0 0 0,0 0 0 0 0,0 0 1 0 0,1-1-1 0 0,-1 1 0 0 0,0 0 0 0 0,1 0 0 0 0,-1-1 0 0 0,1 1 1 0 0,0 0-1 0 0,0-1 0 0 0,-1 1 0 0 0,1-1 0 0 0,0 1 1 0 0,0-1-1 0 0,1 1 0 0 0,-1-1 0 0 0,0 0 0 0 0,0 1 0 0 0,1-1 1 0 0,-1 0-1 0 0,2 1 0 0 0,10 8 38 0 0,0 0 1 0 0,1-1-1 0 0,0 0 0 0 0,0-1 0 0 0,1-1 1 0 0,0 0-1 0 0,0-1 0 0 0,1-1 0 0 0,17 4 1 0 0,-12-4 3 0 0,1-2 1 0 0,0 0-1 0 0,-1-1 1 0 0,1-1 0 0 0,0-1-1 0 0,30-4 1 0 0,-38 2-76 0 0,-1-1 1 0 0,0 0-1 0 0,0-1 0 0 0,0-1 1 0 0,0 0-1 0 0,-1-1 0 0 0,0 0 1 0 0,0-1-1 0 0,12-8 1 0 0,8-10 500 0 0,48-49 0 0 0,-24 21 1571 0 0,-56 52-2053 0 0,0 1 0 0 0,0 0 0 0 0,1 0 0 0 0,-1-1-1 0 0,0 1 1 0 0,0 0 0 0 0,0 0 0 0 0,1 0 0 0 0,-1-1-1 0 0,0 1 1 0 0,0 0 0 0 0,1 0 0 0 0,-1 0 0 0 0,0-1 0 0 0,0 1-1 0 0,1 0 1 0 0,-1 0 0 0 0,0 0 0 0 0,0 0 0 0 0,1 0-1 0 0,-1 0 1 0 0,0 0 0 0 0,1 0 0 0 0,-1 0 0 0 0,0 0-1 0 0,0 0 1 0 0,1 0 0 0 0,-1 0 0 0 0,0 0 0 0 0,1 0-1 0 0,-1 0 1 0 0,0 0 0 0 0,0 0 0 0 0,1 0 0 0 0,-1 0 0 0 0,0 0-1 0 0,1 1 1 0 0,-1-1 0 0 0,0 0 0 0 0,0 0 0 0 0,1 0-1 0 0,-1 1 1 0 0,2 15 289 0 0,-8 31 78 0 0,5-41-221 0 0,-2 23 181 0 0,1 0 0 0 0,2 0-1 0 0,5 47 1 0 0,-1 11 2396 0 0,-4-87-2708 0 0,1 1 1 0 0,-1-1 0 0 0,0 1 0 0 0,0-1 0 0 0,0 0 0 0 0,0 1 0 0 0,0-1 0 0 0,0 1 0 0 0,0-1-1 0 0,1 0 1 0 0,-1 1 0 0 0,0-1 0 0 0,0 1 0 0 0,1-1 0 0 0,-1 0 0 0 0,0 1 0 0 0,0-1 0 0 0,1 0 0 0 0,-1 1-1 0 0,0-1 1 0 0,1 0 0 0 0,-1 0 0 0 0,0 1 0 0 0,1-1 0 0 0,-1 0 0 0 0,1 0 0 0 0,-1 0 0 0 0,0 0-1 0 0,1 1 1 0 0,-1-1 0 0 0,1 0 0 0 0,-1 0 0 0 0,1 0 0 0 0,-1 0 0 0 0,1 0 0 0 0,-1 0 0 0 0,0 0 0 0 0,1 0-1 0 0,-1 0 1 0 0,1 0 0 0 0,-1 0 0 0 0,1 0 0 0 0,-1-1 0 0 0,0 1 0 0 0,1 0 0 0 0,-1 0 0 0 0,1 0-1 0 0,0-1 1 0 0,20-9 191 0 0,10-13-394 0 0,-1-2 0 0 0,26-29-1 0 0,-26 25-554 0 0,45-34 0 0 0,-74 62 696 0 0,1 0 0 0 0,-1 0 0 0 0,1 0 0 0 0,0 1 0 0 0,-1-1 0 0 0,1 1 0 0 0,0-1 1 0 0,-1 1-1 0 0,1-1 0 0 0,0 1 0 0 0,0 0 0 0 0,-1 0 0 0 0,1 0 0 0 0,0 0 0 0 0,0 0 0 0 0,0 0 0 0 0,-1 0 0 0 0,1 1 1 0 0,0-1-1 0 0,0 0 0 0 0,-1 1 0 0 0,1 0 0 0 0,0-1 0 0 0,-1 1 0 0 0,1 0 0 0 0,-1 0 0 0 0,1 0 0 0 0,-1 0 0 0 0,1 0 0 0 0,-1 0 1 0 0,2 2-1 0 0,5 5-16 0 0,0 0 0 0 0,-1 1 0 0 0,13 18 0 0 0,-5-7 15 0 0,-10-14 44 0 0,0 0 0 0 0,1 0 0 0 0,-1 0 1 0 0,1-1-1 0 0,1 0 0 0 0,-1-1 0 0 0,1 1 0 0 0,-1-1 1 0 0,1-1-1 0 0,1 1 0 0 0,-1-1 0 0 0,0 0 0 0 0,1-1 1 0 0,-1 0-1 0 0,1 0 0 0 0,0 0 0 0 0,0-1 0 0 0,0 0 1 0 0,-1-1-1 0 0,1 0 0 0 0,0 0 0 0 0,0-1 0 0 0,0 1 1 0 0,14-5-1 0 0,-3 0-12 0 0,1-1 0 0 0,-1 0 0 0 0,0-2 0 0 0,0 0 0 0 0,-1-1 0 0 0,-1-1 0 0 0,1 0 0 0 0,-1-2-1 0 0,-1 0 1 0 0,16-15 0 0 0,-32 27-3 0 0,0 0-1 0 0,0 0 1 0 0,0 0-1 0 0,1 0 1 0 0,-1 0-1 0 0,0 0 1 0 0,0 0-1 0 0,0 0 1 0 0,1 0-1 0 0,-1 0 1 0 0,0-1-1 0 0,0 1 1 0 0,0 0-1 0 0,1 0 1 0 0,-1 0-1 0 0,0 0 1 0 0,0 0-1 0 0,0-1 1 0 0,0 1-1 0 0,0 0 0 0 0,1 0 1 0 0,-1 0-1 0 0,0 0 1 0 0,0-1-1 0 0,0 1 1 0 0,0 0-1 0 0,0 0 1 0 0,0 0-1 0 0,0-1 1 0 0,0 1-1 0 0,0 0 1 0 0,0 0-1 0 0,0 0 1 0 0,0-1-1 0 0,0 1 1 0 0,0 0-1 0 0,0 0 1 0 0,0 0-1 0 0,0-1 1 0 0,0 1-1 0 0,0 0 1 0 0,0 0-1 0 0,0-1 0 0 0,0 1 1 0 0,0 0-1 0 0,0 0 1 0 0,0 0-1 0 0,-1 0 1 0 0,1-1-1 0 0,0 1 1 0 0,0 0-1 0 0,0 0 1 0 0,0 0-1 0 0,0 0 1 0 0,-1-1-1 0 0,1 1 1 0 0,0 0-1 0 0,0 0 1 0 0,-1 0-1 0 0,0 0-1 0 0,0 0 0 0 0,1 0-1 0 0,-1 0 1 0 0,0 0 0 0 0,0 1-1 0 0,0-1 1 0 0,0 0 0 0 0,0 0 0 0 0,0 1-1 0 0,0-1 1 0 0,0 1 0 0 0,1-1 0 0 0,-1 1-1 0 0,0-1 1 0 0,0 1 0 0 0,-1 1-1 0 0,-2 1-5 0 0,0 1 0 0 0,0 1 0 0 0,0-1 1 0 0,1 0-1 0 0,0 1 0 0 0,-1 0 0 0 0,2 0 0 0 0,-1 0 0 0 0,0 0 0 0 0,1 0 0 0 0,-2 7 0 0 0,3-9 17 0 0,0 1 0 0 0,1 0-1 0 0,-1 0 1 0 0,1 0 0 0 0,0 0 0 0 0,0 1 0 0 0,0-1 0 0 0,1 0 0 0 0,0 0-1 0 0,-1-1 1 0 0,1 1 0 0 0,0 0 0 0 0,1 0 0 0 0,-1 0 0 0 0,1-1 0 0 0,0 1 0 0 0,3 5-1 0 0,-2-5 13 0 0,1 1-1 0 0,-1-1 1 0 0,1 0-1 0 0,0 0 1 0 0,0-1-1 0 0,1 1 0 0 0,-1-1 1 0 0,1 0-1 0 0,-1 0 1 0 0,1 0-1 0 0,0-1 0 0 0,0 0 1 0 0,0 0-1 0 0,1 0 1 0 0,-1 0-1 0 0,0-1 1 0 0,1 0-1 0 0,-1 0 0 0 0,1 0 1 0 0,-1-1-1 0 0,7 0 1 0 0,-9 0-3 0 0,-1 0 0 0 0,1 0 0 0 0,-1-1 1 0 0,1 1-1 0 0,0-1 0 0 0,-1 1 0 0 0,1-1 0 0 0,-1 0 1 0 0,0 0-1 0 0,1 0 0 0 0,-1 0 0 0 0,0 0 0 0 0,1-1 1 0 0,1-1-1 0 0,0 0 21 0 0,-1 1-16 0 0,-1 1-1 0 0,1-1 1 0 0,-1 0-1 0 0,0 0 1 0 0,0-1-1 0 0,0 1 1 0 0,0 0-1 0 0,0-1 1 0 0,0 1-1 0 0,-1-1 1 0 0,1 1-1 0 0,-1-1 1 0 0,0 0-1 0 0,0 1 1 0 0,0-1-1 0 0,1-4 1 0 0,-1 2-15 0 0,0 0 1 0 0,-1 1 0 0 0,0-1-1 0 0,0 0 1 0 0,0 0 0 0 0,-1 0-1 0 0,1 0 1 0 0,-1 0 0 0 0,-2-6-1 0 0,0 2-336 0 0,0 1 1 0 0,-1 0-1 0 0,1 0 0 0 0,-2 0 0 0 0,1 0 0 0 0,-1 0 1 0 0,0 1-1 0 0,-1 0 0 0 0,0 0 0 0 0,-10-10 0 0 0,9 12-425 0 0,1 1-1 0 0,-1-1 0 0 0,-1 1 0 0 0,1 0 0 0 0,-1 1 0 0 0,-10-4 0 0 0,-24-3-5590 0 0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1.4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32 444 0 0,'82'-9'9051'0'0,"-80"8"-8482"0"0,2 1-165 0 0,12 0-47 0 0,-12 0-108 0 0,16 5 438 0 0,7 13-187 0 0,-19-11-418 0 0,0-2 1 0 0,1 1-1 0 0,-1-1 0 0 0,1 0 1 0 0,1-1-1 0 0,-1 0 0 0 0,1-1 1 0 0,-1 0-1 0 0,1 0 0 0 0,12 1 1 0 0,53-2-918 0 0,-72-2 637 0 0,9 8-130 0 0,1 14 250 0 0,-9-17 142 0 0,1 0 1 0 0,0 0-1 0 0,0 0 1 0 0,1-1 0 0 0,-1 0-1 0 0,1 0 1 0 0,0 0-1 0 0,0-1 1 0 0,0 0-1 0 0,1 0 1 0 0,-1 0 0 0 0,1-1-1 0 0,0 0 1 0 0,-1 0-1 0 0,1 0 1 0 0,0-1-1 0 0,11 0 1 0 0,-8 0 150 0 0,1 0 0 0 0,0-1 0 0 0,-1 0 0 0 0,1-1 0 0 0,0-1 0 0 0,-1 1 0 0 0,1-2 0 0 0,-1 1 0 0 0,0-2 0 0 0,19-7 0 0 0,-22 7-93 0 0,-1 0-1 0 0,0-1 0 0 0,0 1 1 0 0,0-1-1 0 0,-1 0 0 0 0,0 0 1 0 0,0-1-1 0 0,0 0 0 0 0,-1 0 1 0 0,1 0-1 0 0,-1 0 0 0 0,-1-1 1 0 0,1 0-1 0 0,-1 1 0 0 0,-1-1 1 0 0,1 0-1 0 0,-1 0 0 0 0,2-11 0 0 0,-3 13-203 0 0,-1 1 0 0 0,1-1 0 0 0,-1 0 0 0 0,0 1 0 0 0,0-1 0 0 0,0 0 0 0 0,-1 1 0 0 0,0-1 0 0 0,0 0 0 0 0,0 1 0 0 0,0-1 0 0 0,-1 1 0 0 0,0 0 0 0 0,0-1 0 0 0,0 1 0 0 0,0 0 0 0 0,-1 0 0 0 0,1 0 0 0 0,-1 0 0 0 0,0 1 0 0 0,0-1 0 0 0,-1 1 0 0 0,1 0 0 0 0,-1 0 0 0 0,0 0 0 0 0,1 0 0 0 0,-1 1 0 0 0,0-1 0 0 0,-8-2 0 0 0,2 1-812 0 0,0 0 1 0 0,-1 1-1 0 0,0 0 0 0 0,1 1 0 0 0,-1 0 1 0 0,0 1-1 0 0,0 0 0 0 0,0 1 0 0 0,-20 2 1 0 0,7 0-2866 0 0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1.9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7 2532 0 0,'13'-37'6229'0'0,"-12"39"-5471"0"0,2 7-458 0 0,-1 1 1 0 0,0-1-1 0 0,0 0 0 0 0,-1 0 1 0 0,0 1-1 0 0,-1-1 1 0 0,-1 18-1 0 0,1 18 189 0 0,9 58 369 0 0,4 104-552 0 0,-16-70-3223 0 0,3-129 2329 0 0,-1 1-1 0 0,0-1 0 0 0,0 0 0 0 0,-1 0 0 0 0,0 0 1 0 0,0 0-1 0 0,-1 0 0 0 0,0 0 0 0 0,0 0 1 0 0,-7 10-1 0 0,-1-6-1189 0 0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2.9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5 209 704 0 0,'-7'-6'830'0'0,"1"2"-123"0"0,0-1 1 0 0,1 0-1 0 0,0-1 1 0 0,0 1-1 0 0,1-1 0 0 0,-1 0 1 0 0,-5-11-1 0 0,9 16-662 0 0,1 0-1 0 0,0-1 0 0 0,0 1 0 0 0,0 0 1 0 0,0 0-1 0 0,0 0 0 0 0,0 0 0 0 0,0 0 0 0 0,1-1 1 0 0,-1 1-1 0 0,0 0 0 0 0,1 0 0 0 0,-1 0 1 0 0,1 0-1 0 0,-1 0 0 0 0,1 0 0 0 0,-1 0 1 0 0,1 0-1 0 0,0 0 0 0 0,-1 0 0 0 0,1 1 1 0 0,0-1-1 0 0,0 0 0 0 0,0 0 0 0 0,-1 0 0 0 0,1 1 1 0 0,1-1-1 0 0,27-17 500 0 0,11 3-146 0 0,0 3-1 0 0,0 1 1 0 0,53-7-1 0 0,-64 12-239 0 0,26-5 81 0 0,-11 1 252 0 0,2 2 1 0 0,-1 2-1 0 0,65 0 1 0 0,-102 6-390 0 0,-1 1 1 0 0,1 0-1 0 0,0 0 1 0 0,-1 0-1 0 0,1 1 1 0 0,-1 1 0 0 0,0-1-1 0 0,0 1 1 0 0,0 0-1 0 0,0 1 1 0 0,0-1 0 0 0,-1 1-1 0 0,8 6 1 0 0,-7-3 30 0 0,0-1 1 0 0,-1 1-1 0 0,0 1 1 0 0,0-1-1 0 0,0 1 0 0 0,-1 0 1 0 0,-1 1-1 0 0,1-1 1 0 0,-1 1-1 0 0,3 10 1 0 0,0 5 513 0 0,0 1 1 0 0,3 29 1162 0 0,-11-45-735 0 0,1-13-1121 0 0,-1 1 0 0 0,1-1 0 0 0,0 0 0 0 0,0 0 0 0 0,0 1 0 0 0,1-1 0 0 0,0 0 0 0 0,-1 1 0 0 0,1-1 0 0 0,0 0 0 0 0,1 1 0 0 0,-1-1 0 0 0,1 1 0 0 0,-1 0-1 0 0,1-1 1 0 0,0 1 0 0 0,0 0 0 0 0,0 0 0 0 0,1 0 0 0 0,-1 0 0 0 0,1 1 0 0 0,0-1 0 0 0,-1 1 0 0 0,1 0 0 0 0,0-1 0 0 0,1 1 0 0 0,-1 0 0 0 0,0 1 0 0 0,7-4 0 0 0,-3 2-48 0 0,1 1 0 0 0,-1 0 0 0 0,0 0 0 0 0,1 0 0 0 0,-1 1 0 0 0,1 0 0 0 0,-1 0 0 0 0,1 1 0 0 0,-1 0 1 0 0,1 0-1 0 0,0 1 0 0 0,-1 0 0 0 0,1 0 0 0 0,7 3 0 0 0,22 10-66 0 0,0 3 0 0 0,57 34 0 0 0,-58-30 163 0 0,1-1 1 0 0,51 19 0 0 0,-80-36-3 0 0,-1-1 1 0 0,0 0 0 0 0,1-1 0 0 0,-1 1 0 0 0,1-1 0 0 0,-1-1 0 0 0,1 0 0 0 0,0 0 0 0 0,-1 0 0 0 0,1-1 0 0 0,-1 0 0 0 0,1 0 0 0 0,-1-1 0 0 0,1 0 0 0 0,-1-1 0 0 0,12-5 0 0 0,-11 4-45 0 0,-1 0 0 0 0,0-1-1 0 0,0 0 1 0 0,-1 0 0 0 0,1-1 0 0 0,-1 0 0 0 0,0 0 0 0 0,-1-1 0 0 0,1 1 0 0 0,-1-1 0 0 0,-1 0-1 0 0,1-1 1 0 0,-1 1 0 0 0,5-15 0 0 0,-6 15 1 0 0,10-34-109 0 0,-12 39 141 0 0,-1 0 0 0 0,0 0 1 0 0,0 1-1 0 0,0-1 0 0 0,0 0 0 0 0,0 0 0 0 0,0 0 0 0 0,0 0 0 0 0,0 1 1 0 0,-1-1-1 0 0,1 0 0 0 0,-1 0 0 0 0,1 1 0 0 0,-1-1 0 0 0,0 0 1 0 0,0 1-1 0 0,0-1 0 0 0,0 1 0 0 0,-2-4 0 0 0,0 4-2 0 0,1-1 0 0 0,-1 1 0 0 0,0 0 1 0 0,0-1-1 0 0,1 1 0 0 0,-1 0 0 0 0,0 1 0 0 0,0-1 0 0 0,0 0 0 0 0,0 1 0 0 0,0 0 1 0 0,-1 0-1 0 0,1 0 0 0 0,0 0 0 0 0,0 0 0 0 0,0 0 0 0 0,0 1 0 0 0,-5 1 0 0 0,5-1 8 0 0,-3 0-7 0 0,-1 1-1 0 0,0-1 1 0 0,1 2-1 0 0,0-1 0 0 0,-1 1 1 0 0,1 0-1 0 0,0 0 1 0 0,0 1-1 0 0,-9 7 1 0 0,12-9 17 0 0,0 1-1 0 0,0-1 1 0 0,1 1 0 0 0,-1 0 0 0 0,1-1-1 0 0,0 1 1 0 0,-1 1 0 0 0,1-1 0 0 0,1 0-1 0 0,-1 0 1 0 0,0 1 0 0 0,1-1 0 0 0,0 1-1 0 0,-1-1 1 0 0,1 1 0 0 0,1-1 0 0 0,-1 1-1 0 0,0 4 1 0 0,2-6 8 0 0,-1 1 1 0 0,1-1-1 0 0,-1 1 1 0 0,1-1-1 0 0,0 1 0 0 0,0-1 1 0 0,0 1-1 0 0,0-1 0 0 0,1 0 1 0 0,-1 0-1 0 0,1 0 0 0 0,-1 0 1 0 0,1 0-1 0 0,0 0 0 0 0,0 0 1 0 0,0 0-1 0 0,0 0 1 0 0,0-1-1 0 0,0 1 0 0 0,0-1 1 0 0,0 0-1 0 0,1 0 0 0 0,-1 0 1 0 0,0 0-1 0 0,6 2 0 0 0,3 1 21 0 0,1-1 0 0 0,0 0-1 0 0,1 0 1 0 0,13 0 0 0 0,-7-1 0 0 0,1-1 0 0 0,-1-2-1 0 0,1 0 1 0 0,-1-1 0 0 0,38-8 0 0 0,90-39 419 0 0,-92 29-49 0 0,-49 17-384 0 0,-3 2-23 0 0,1-1 0 0 0,0 1 1 0 0,-1-1-1 0 0,1 1 0 0 0,7-1 0 0 0,-10 2 1 0 0,0 0 0 0 0,0 0 0 0 0,0 0 0 0 0,0 0 0 0 0,0 0 0 0 0,0 0 0 0 0,0 0 0 0 0,0 0 0 0 0,-1 1 0 0 0,1-1 0 0 0,0 0 0 0 0,0 1 0 0 0,0-1 0 0 0,0 1 0 0 0,0-1 0 0 0,0 1 0 0 0,-1-1 0 0 0,1 1 0 0 0,0-1 0 0 0,0 1 0 0 0,-1 0 0 0 0,1-1 0 0 0,0 1 0 0 0,-1 0 0 0 0,1 0 0 0 0,-1 0 0 0 0,1-1 0 0 0,-1 1 0 0 0,1 0 0 0 0,-1 0 0 0 0,0 0 0 0 0,1 1 0 0 0,2 11-24 0 0,-2-10 37 0 0,0 1-1 0 0,0 0 1 0 0,0 0 0 0 0,0-1-1 0 0,0 1 1 0 0,1-1-1 0 0,-1 1 1 0 0,1-1 0 0 0,0 1-1 0 0,0-1 1 0 0,0 0 0 0 0,1 0-1 0 0,-1 0 1 0 0,1 0-1 0 0,0-1 1 0 0,0 1 0 0 0,-1-1-1 0 0,2 1 1 0 0,4 2 0 0 0,-3-3 0 0 0,0-1 0 0 0,0 0 0 0 0,0 0 0 0 0,0 0 0 0 0,0 0 1 0 0,0-1-1 0 0,1 0 0 0 0,-1 0 0 0 0,0 0 0 0 0,0-1 0 0 0,0 1 1 0 0,1-1-1 0 0,-1-1 0 0 0,6-1 0 0 0,7-4-191 0 0,0-1 0 0 0,27-16 1 0 0,3-1-667 0 0,-46 24 781 0 0,-1 0-1 0 0,0 0 0 0 0,1 1 0 0 0,-1-1 0 0 0,1 1 0 0 0,-1-1 0 0 0,1 1 1 0 0,-1 0-1 0 0,1 0 0 0 0,-1-1 0 0 0,1 1 0 0 0,0 0 0 0 0,-1 0 0 0 0,1 1 0 0 0,-1-1 1 0 0,1 0-1 0 0,2 1 0 0 0,-3 0 42 0 0,-1-1 1 0 0,1 1-1 0 0,0-1 0 0 0,0 1 1 0 0,0 0-1 0 0,-1 0 0 0 0,1-1 1 0 0,0 1-1 0 0,-1 0 0 0 0,1 0 1 0 0,0 0-1 0 0,-1 0 0 0 0,1 0 1 0 0,-1 0-1 0 0,0 0 0 0 0,1 0 1 0 0,-1 0-1 0 0,0 0 0 0 0,1 1 1 0 0,0 5 0 0 0,-1-1 0 0 0,0 1 0 0 0,0 0 0 0 0,0-1 0 0 0,-1 1 0 0 0,-2 8 0 0 0,-2 9 217 0 0,0 0 0 0 0,-2 0 0 0 0,-1-1 0 0 0,-1 0 0 0 0,-1 0 0 0 0,0-1 0 0 0,-2-1 0 0 0,-1 0 0 0 0,-21 27 0 0 0,29-41-48 0 0,-1-1 0 0 0,-1-1 0 0 0,1 1 0 0 0,-1-1 0 0 0,1 0 0 0 0,-1-1 0 0 0,-1 0 0 0 0,1 0 0 0 0,-1 0 0 0 0,1-1 0 0 0,-1 0 0 0 0,0 0 0 0 0,0-1 0 0 0,-12 1 0 0 0,17-2-120 0 0,-1 0 0 0 0,0-1 1 0 0,1 0-1 0 0,-1 0 1 0 0,0 0-1 0 0,0 0 1 0 0,1-1-1 0 0,-1 1 1 0 0,0-1-1 0 0,1 0 1 0 0,-1 0-1 0 0,1 0 1 0 0,-1-1-1 0 0,1 1 1 0 0,-1-1-1 0 0,1 0 1 0 0,0 0-1 0 0,0 0 1 0 0,0 0-1 0 0,0 0 1 0 0,0-1-1 0 0,1 0 0 0 0,-1 1 1 0 0,1-1-1 0 0,-1 0 1 0 0,1 0-1 0 0,0 0 1 0 0,0-1-1 0 0,0 1 1 0 0,1 0-1 0 0,-1-1 1 0 0,1 1-1 0 0,-2-7 1 0 0,1 0-270 0 0,1 1 1 0 0,0 0-1 0 0,0-1 1 0 0,1 0 0 0 0,0 1-1 0 0,1-1 1 0 0,0 1-1 0 0,0-1 1 0 0,1 1-1 0 0,0 0 1 0 0,1 0 0 0 0,0 0-1 0 0,0 0 1 0 0,6-11-1 0 0,3-2-1152 0 0,0 1-1 0 0,1 0 1 0 0,1 1 0 0 0,23-25-1 0 0,-16 23-1414 0 0,-1 5-814 0 0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3.7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2 2 196 0 0,'-4'-1'1657'0'0,"-4"0"-1126"0"0,0 1 1 0 0,-1 0 0 0 0,1 1-1 0 0,0-1 1 0 0,-1 1 0 0 0,1 1-1 0 0,0 0 1 0 0,0 0-1 0 0,0 1 1 0 0,-13 5 0 0 0,8-2-233 0 0,1 0 0 0 0,0 0 0 0 0,0 1 0 0 0,1 1 0 0 0,0 0 0 0 0,-12 11 0 0 0,21-18-259 0 0,1 1-1 0 0,-1-1 0 0 0,1 1 1 0 0,-1-1-1 0 0,1 1 0 0 0,0-1 1 0 0,-1 1-1 0 0,1 0 0 0 0,0 0 1 0 0,0-1-1 0 0,0 1 0 0 0,0 0 1 0 0,1 0-1 0 0,-1 0 0 0 0,0 0 1 0 0,1 0-1 0 0,-1 0 0 0 0,1 0 1 0 0,0 0-1 0 0,0 1 0 0 0,0-1 1 0 0,0 0-1 0 0,0 0 0 0 0,0 0 1 0 0,1 0-1 0 0,-1 0 0 0 0,1 0 1 0 0,-1 0-1 0 0,1 0 0 0 0,0 0 1 0 0,-1 0-1 0 0,1 0 0 0 0,2 2 1 0 0,-3-3-33 0 0,1-1 1 0 0,0 1-1 0 0,-1 0 0 0 0,1 0 1 0 0,0-1-1 0 0,0 1 1 0 0,-1 0-1 0 0,1-1 1 0 0,0 1-1 0 0,0-1 1 0 0,0 1-1 0 0,0-1 0 0 0,0 1 1 0 0,0-1-1 0 0,0 0 1 0 0,0 1-1 0 0,0-1 1 0 0,0 0-1 0 0,1 0 0 0 0,-1 0 12 0 0,3 1-6 0 0,-1 0-1 0 0,1 0 1 0 0,-1-1-1 0 0,1 1 1 0 0,-1-1-1 0 0,1 0 1 0 0,0 0-1 0 0,-1-1 1 0 0,1 1-1 0 0,-1-1 1 0 0,1 1-1 0 0,6-3 1 0 0,-1 0 27 0 0,99-25 673 0 0,-105 28-682 0 0,-1-1 0 0 0,0 1 1 0 0,1 0-1 0 0,-1 0 0 0 0,0 0 0 0 0,1 1 0 0 0,-1-1 0 0 0,0 0 0 0 0,1 1 1 0 0,-1 0-1 0 0,0-1 0 0 0,0 1 0 0 0,1 0 0 0 0,-1 0 0 0 0,0 0 0 0 0,0 0 1 0 0,3 3-1 0 0,-1-1 33 0 0,-1-1-1 0 0,0 1 1 0 0,-1 0 0 0 0,1 0 0 0 0,0 0 0 0 0,-1 0-1 0 0,1 0 1 0 0,-1 1 0 0 0,2 4 0 0 0,3 12 88 0 0,-1 0 0 0 0,0 1 0 0 0,-2 0 0 0 0,0-1 0 0 0,0 37 0 0 0,-3-36-721 0 0,1-1 0 0 0,1 0 0 0 0,0 0 0 0 0,1 0-1 0 0,2 0 1 0 0,9 24 0 0 0,-14-41 338 0 0,0-1 0 0 0,1 0 0 0 0,-1 1 0 0 0,0-1-1 0 0,1 0 1 0 0,0 1 0 0 0,0-1 0 0 0,-1 0 0 0 0,1 0 0 0 0,1 0-1 0 0,-1-1 1 0 0,0 1 0 0 0,0 0 0 0 0,1-1 0 0 0,3 2 0 0 0,-5-2 145 0 0,1-1 0 0 0,-1 0 0 0 0,1 0 0 0 0,0 1 1 0 0,-1-1-1 0 0,1 0 0 0 0,0-1 0 0 0,-1 1 0 0 0,1 0 1 0 0,0 0-1 0 0,-1-1 0 0 0,1 1 0 0 0,-1-1 0 0 0,1 1 0 0 0,-1-1 1 0 0,1 0-1 0 0,-1 0 0 0 0,1 1 0 0 0,-1-1 0 0 0,1 0 1 0 0,-1 0-1 0 0,0 0 0 0 0,0-1 0 0 0,0 1 0 0 0,1 0 0 0 0,-1 0 1 0 0,0-1-1 0 0,0-1 0 0 0,21-27-301 0 0,23-43 0 0 0,-26 40 1297 0 0,25-33 0 0 0,-30 48-403 0 0,-2 2 200 0 0,24-26 0 0 0,-31 38-542 0 0,-1 0 0 0 0,1 0-1 0 0,0 0 1 0 0,0 1 0 0 0,0 0-1 0 0,0 0 1 0 0,1 0 0 0 0,0 1-1 0 0,11-4 1 0 0,-15 5-113 0 0,0 1 0 0 0,1-1 0 0 0,-1 1 0 0 0,1 0 0 0 0,-1 0 0 0 0,1 0 0 0 0,-1 0 0 0 0,1 1 1 0 0,-1-1-1 0 0,0 0 0 0 0,1 1 0 0 0,-1 0 0 0 0,0 0 0 0 0,1 0 0 0 0,-1 0 0 0 0,0 0 0 0 0,0 0 0 0 0,0 0 0 0 0,0 1 0 0 0,0-1 0 0 0,0 1 1 0 0,0-1-1 0 0,0 1 0 0 0,-1 0 0 0 0,1 0 0 0 0,0 0 0 0 0,-1 0 0 0 0,0 0 0 0 0,1 0 0 0 0,-1 0 0 0 0,0 0 0 0 0,1 3 0 0 0,0 1 38 0 0,1 0 0 0 0,-1 0 0 0 0,-1 0 0 0 0,1 0 1 0 0,-1 0-1 0 0,0 1 0 0 0,0-1 0 0 0,0 1 0 0 0,-1-1 0 0 0,-1 11 0 0 0,0-9 70 0 0,-1 0 0 0 0,0-1 1 0 0,0 0-1 0 0,0 1 1 0 0,-1-1-1 0 0,0 0 0 0 0,0 0 1 0 0,-8 11-1 0 0,10-17 319 0 0,1-2-475 0 0,1-1 0 0 0,0 1 0 0 0,0 0 1 0 0,0-1-1 0 0,0 1 0 0 0,0 0 0 0 0,0 0 0 0 0,0 0 1 0 0,0 0-1 0 0,0 0 0 0 0,0 0 0 0 0,1 0 0 0 0,-1 0 0 0 0,2 0 1 0 0,38-16-118 0 0,0 1 1 0 0,84-18 0 0 0,-81 24-32 0 0,-1-2 0 0 0,73-31 0 0 0,-94 33 108 0 0,69-38 56 0 0,-84 44 28 0 0,1-1 0 0 0,-1 0 0 0 0,0-1 1 0 0,-1 0-1 0 0,0 0 0 0 0,0 0 1 0 0,0-1-1 0 0,0 1 0 0 0,4-10 1 0 0,-9 15-47 0 0,-1 1 1 0 0,0 0 0 0 0,0 0 0 0 0,0-1 0 0 0,0 1 0 0 0,0 0-1 0 0,0 0 1 0 0,0-1 0 0 0,0 1 0 0 0,0 0 0 0 0,0-1 0 0 0,1 1 0 0 0,-1 0-1 0 0,-1 0 1 0 0,1-1 0 0 0,0 1 0 0 0,0 0 0 0 0,0-1 0 0 0,0 1-1 0 0,0 0 1 0 0,0 0 0 0 0,0-1 0 0 0,0 1 0 0 0,0 0 0 0 0,0 0-1 0 0,-1-1 1 0 0,1 1 0 0 0,0 0 0 0 0,0 0 0 0 0,0-1 0 0 0,-1 1 0 0 0,1 0-1 0 0,0 0 1 0 0,-1-1 0 0 0,-12-4 89 0 0,-8 2 41 0 0,10 3-70 0 0,0 1 1 0 0,0 0 0 0 0,0 1-1 0 0,1 0 1 0 0,-1 1 0 0 0,1 0 0 0 0,-1 0-1 0 0,1 1 1 0 0,0 1 0 0 0,0 0-1 0 0,1 0 1 0 0,0 1 0 0 0,0 0 0 0 0,0 0-1 0 0,0 1 1 0 0,1 0 0 0 0,0 1-1 0 0,1 0 1 0 0,0 0 0 0 0,0 0 0 0 0,0 1-1 0 0,-5 10 1 0 0,10-14-40 0 0,0-1 0 0 0,1 0-1 0 0,-1 0 1 0 0,1 1 0 0 0,0-1 0 0 0,0 1-1 0 0,0-1 1 0 0,1 1 0 0 0,-1-1 0 0 0,1 1-1 0 0,0-1 1 0 0,1 1 0 0 0,-1 0 0 0 0,1-1-1 0 0,2 9 1 0 0,-1-6-71 0 0,1-1 0 0 0,0 1 0 0 0,1 0 0 0 0,0-1 0 0 0,0 1 0 0 0,0-1-1 0 0,0 0 1 0 0,11 10 0 0 0,3 0-795 0 0,1 0 0 0 0,1-2 0 0 0,0 0 0 0 0,38 20 0 0 0,-42-27-933 0 0,-1 0-1 0 0,32 9 0 0 0,-20-9-1189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8.2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5 250 496 0 0,'-4'-46'3416'0'0,"-12"-53"-1"0"0,11 79-3270 0 0,-1 0-1 0 0,-12-29 0 0 0,16 45-779 0 0,-1-2 434 0 0,14 1-4319 0 0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4.67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89 37 660 0 0,'0'-3'1300'0'0,"0"3"-1294"0"0,0-2 197 0 0,0 1-1 0 0,0-1 0 0 0,-1 0 1 0 0,1 0-1 0 0,0 1 1 0 0,-1-1-1 0 0,1 0 1 0 0,-1 1-1 0 0,1-1 0 0 0,-1 1 1 0 0,0-1-1 0 0,0 1 1 0 0,0-1-1 0 0,1 1 0 0 0,-1-1 1 0 0,-1 1-1 0 0,1 0 1 0 0,0 0-1 0 0,-3-3 1 0 0,4 4-145 0 0,-1 0 0 0 0,0 0 0 0 0,0 0 0 0 0,0 0 1 0 0,0 0-1 0 0,0 0 0 0 0,0 0 0 0 0,1 0 0 0 0,-1 0 1 0 0,0 0-1 0 0,0 1 0 0 0,0-1 0 0 0,0 0 0 0 0,1 0 1 0 0,-1 1-1 0 0,0-1 0 0 0,0 1 0 0 0,0-1 0 0 0,1 1 1 0 0,-1-1-1 0 0,0 1 0 0 0,1-1 0 0 0,-2 2 0 0 0,-12 11 380 0 0,14-13-428 0 0,-3 4 103 0 0,-1 0 0 0 0,1 0 0 0 0,1 0 0 0 0,-1 0 1 0 0,1 1-1 0 0,-1-1 0 0 0,1 1 0 0 0,0-1 0 0 0,1 1 0 0 0,-1 0 0 0 0,1 0 1 0 0,-1 7-1 0 0,0 6 296 0 0,0 35 0 0 0,2-48-355 0 0,4 100 871 0 0,-4-103-902 0 0,0-1-1 0 0,0 0 1 0 0,-1 0 0 0 0,1 0 0 0 0,0 0-1 0 0,-1 1 1 0 0,1-1 0 0 0,-1 0 0 0 0,0 0-1 0 0,1 0 1 0 0,-1 0 0 0 0,0 0 0 0 0,1 0-1 0 0,-1 0 1 0 0,0 0 0 0 0,0-1-1 0 0,0 1 1 0 0,0 0 0 0 0,0 0 0 0 0,0-1-1 0 0,0 1 1 0 0,0-1 0 0 0,0 1 0 0 0,-1-1-1 0 0,1 1 1 0 0,0-1 0 0 0,0 1-1 0 0,0-1 1 0 0,0 0 0 0 0,-1 0 0 0 0,1 0-1 0 0,0 0 1 0 0,0 0 0 0 0,-1 0 0 0 0,1 0-1 0 0,0 0 1 0 0,-2-1 0 0 0,2 1-22 0 0,-6 1-10 0 0,0-1 0 0 0,0-1 0 0 0,0 1 0 0 0,0-1 0 0 0,0 0 0 0 0,0-1 0 0 0,0 0 0 0 0,-9-3 0 0 0,-5-2-514 0 0,19 6 223 0 0,-1 0 118 0 0,0 0 0 0 0,1 1-1 0 0,-1-1 1 0 0,0 0 0 0 0,0 1-1 0 0,0 0 1 0 0,1 0 0 0 0,-1 0-1 0 0,-6 0 1 0 0,6 0-74 0 0,0 0-261 0 0,1 0 479 0 0,-6 1-8 0 0,8-1 49 0 0,0 1 0 0 0,0-1 1 0 0,0 0-1 0 0,0 0 0 0 0,0 0 1 0 0,-1 0-1 0 0,1 1 1 0 0,0-1-1 0 0,0 0 0 0 0,0 0 1 0 0,0 0-1 0 0,0 1 0 0 0,0-1 1 0 0,0 0-1 0 0,0 0 0 0 0,0 0 1 0 0,0 1-1 0 0,0-1 1 0 0,0 0-1 0 0,0 0 0 0 0,0 1 1 0 0,0-1-1 0 0,0 0 0 0 0,0 0 1 0 0,0 0-1 0 0,1 1 0 0 0,-1-1 1 0 0,0 0-1 0 0,0 0 1 0 0,0 0-1 0 0,0 0 0 0 0,0 1 1 0 0,0-1-1 0 0,1 0 0 0 0,-1 0 1 0 0,0 0-1 0 0,0 0 0 0 0,4 2 70 0 0,0 0 0 0 0,0-1 0 0 0,0 1 0 0 0,0-1 0 0 0,0 0 0 0 0,0 0 0 0 0,0-1 0 0 0,7 1 0 0 0,-9-1-57 0 0,13 4 164 0 0,0 1 1 0 0,0 0 0 0 0,-1 1 0 0 0,0 0 0 0 0,0 1 0 0 0,17 12 0 0 0,-24-15-84 0 0,0 2 0 0 0,0-1 0 0 0,0 1 1 0 0,-1 0-1 0 0,0 0 0 0 0,0 1 0 0 0,-1 0 0 0 0,0 0 0 0 0,0 0 0 0 0,0 0 0 0 0,-1 1 0 0 0,5 12 0 0 0,-8-16-4 0 0,1 0 0 0 0,-1 1-1 0 0,-1-1 1 0 0,1 0 0 0 0,0 0-1 0 0,-1 0 1 0 0,0 1-1 0 0,0-1 1 0 0,0 0 0 0 0,-1 0-1 0 0,1 1 1 0 0,-1-1 0 0 0,0 0-1 0 0,0 0 1 0 0,-4 8-1 0 0,2-6-6 0 0,0 0 1 0 0,-1 0-1 0 0,0-1 0 0 0,0 1 0 0 0,-1-1 0 0 0,1 0 0 0 0,-1 0 0 0 0,0 0 0 0 0,-7 4 0 0 0,-2 1 6 0 0,0-1 0 0 0,-1 0 1 0 0,-1-1-1 0 0,1-1 0 0 0,-1-1 0 0 0,-1 0 0 0 0,-18 4 1 0 0,26-8-221 0 0,-1 0 1 0 0,0-1-1 0 0,0 0 0 0 0,0 0 1 0 0,-12-2-1 0 0,19 1-46 0 0,-1-1-1 0 0,1 0 0 0 0,0 1 1 0 0,-1-1-1 0 0,1 0 1 0 0,0 0-1 0 0,-1-1 1 0 0,-4-2-1 0 0,6 3 20 0 0,1 0 0 0 0,0 0 0 0 0,-1-1 0 0 0,1 1 0 0 0,0 0 0 0 0,0 0 0 0 0,0-1 0 0 0,0 1 0 0 0,0 0 0 0 0,0-1 0 0 0,0 1 0 0 0,0-1 0 0 0,1 1 0 0 0,-1-1 0 0 0,1 1 0 0 0,-1-1 0 0 0,1 0 0 0 0,0 1 0 0 0,-1-3 0 0 0,1-6-338 0 0,0 1 1 0 0,1-1 0 0 0,0 1 0 0 0,1-1 0 0 0,0 1-1 0 0,0 0 1 0 0,1-1 0 0 0,0 1 0 0 0,1 0 0 0 0,5-9 0 0 0,10-16 353 0 0,24-35 1 0 0,-38 61 289 0 0,34-48 3976 0 0,-41 56-4038 0 0,-1 1-1 0 0,0 0 1 0 0,1-1-1 0 0,-1 1 1 0 0,0 0 0 0 0,1 0-1 0 0,-1 1 1 0 0,1-1-1 0 0,0 1 1 0 0,-1-1-1 0 0,-2 3 1 0 0,-27 24 359 0 0,24-20-313 0 0,-113 113 279 0 0,48-33-3186 0 0,54-58-597 0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5.4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4 37 112 0 0,'43'-33'7184'0'0,"-47"32"-7068"0"0,0 0 0 0 0,0 0 0 0 0,0 1 0 0 0,0 0 0 0 0,0-1 0 0 0,0 1 0 0 0,0 0 0 0 0,0 1 0 0 0,0-1 0 0 0,0 1 0 0 0,0 0 0 0 0,0 0 0 0 0,1 0 0 0 0,-1 1 0 0 0,0-1 0 0 0,0 1 0 0 0,-5 3 0 0 0,-4 2-2 0 0,1 0 0 0 0,0 1-1 0 0,-21 18 1 0 0,31-25-90 0 0,1 0 1 0 0,-1 0-1 0 0,1 0 1 0 0,-1 0-1 0 0,1 1 0 0 0,0-1 1 0 0,0 1-1 0 0,-1-1 1 0 0,1 1-1 0 0,0-1 1 0 0,1 1-1 0 0,-1 0 1 0 0,0 0-1 0 0,0-1 0 0 0,1 1 1 0 0,-1 0-1 0 0,1 0 1 0 0,-1 0-1 0 0,1-1 1 0 0,0 3-1 0 0,0-2-6 0 0,1-1-1 0 0,0 1 1 0 0,-1-1 0 0 0,1 1-1 0 0,0-1 1 0 0,0 0 0 0 0,0 1-1 0 0,0-1 1 0 0,0 0 0 0 0,0 0-1 0 0,1 0 1 0 0,-1 0 0 0 0,0 0-1 0 0,0 0 1 0 0,1 0 0 0 0,-1 0-1 0 0,1 0 1 0 0,-1-1 0 0 0,1 1-1 0 0,1 0 1 0 0,1 0-1 0 0,0 0 0 0 0,1 0 0 0 0,-1-1 0 0 0,0 0 1 0 0,1 1-1 0 0,-1-2 0 0 0,0 1 0 0 0,0 0 0 0 0,8-3 0 0 0,-6 3-25 0 0,5-2 31 0 0,1 0 0 0 0,-1-1 1 0 0,-1 0-1 0 0,1-1 0 0 0,0 0 1 0 0,13-7-1 0 0,-10 4 24 0 0,17-14 257 0 0,-29 19-220 0 0,-5 3-19 0 0,-3 0-22 0 0,1 1 0 0 0,-1 0 0 0 0,0 0 0 0 0,1 1 0 0 0,-1 0 0 0 0,1 0 0 0 0,0 0 0 0 0,0 0 0 0 0,0 1 0 0 0,1 0 0 0 0,-1 0 0 0 0,-5 7 0 0 0,-2 1 107 0 0,1 2 1 0 0,1-1-1 0 0,-12 20 1 0 0,16-23-12 0 0,0 1-1 0 0,1-1 1 0 0,1 1 0 0 0,0 0 0 0 0,0 0 0 0 0,1 0 0 0 0,1 0-1 0 0,0 1 1 0 0,-2 21 0 0 0,5-31-119 0 0,-1-1 1 0 0,0 0-1 0 0,0 0 1 0 0,1 0-1 0 0,-1 1 1 0 0,0-1-1 0 0,1 0 1 0 0,-1 0-1 0 0,1 0 0 0 0,0 0 1 0 0,-1 0-1 0 0,1 0 1 0 0,0 0-1 0 0,0 0 1 0 0,-1 0-1 0 0,1 0 1 0 0,0-1-1 0 0,0 1 0 0 0,0 0 1 0 0,0 0-1 0 0,0-1 1 0 0,0 1-1 0 0,0-1 1 0 0,2 1-1 0 0,0 1-1 0 0,0-1 0 0 0,0 0 1 0 0,0-1-1 0 0,0 1 0 0 0,0 0 0 0 0,0-1 0 0 0,0 0 1 0 0,0 1-1 0 0,0-1 0 0 0,3-1 0 0 0,11-2 6 0 0,0-1 0 0 0,0 0-1 0 0,0-1 1 0 0,-1-1 0 0 0,0-1 0 0 0,27-15 0 0 0,92-67 392 0 0,-93 59 78 0 0,47-31 893 0 0,-87 60-1294 0 0,-2 6-78 0 0,-1-1 1 0 0,0 1-1 0 0,0 0 1 0 0,0-1-1 0 0,0 1 1 0 0,-3 4-1 0 0,2-4-12 0 0,0 0 0 0 0,1 0 0 0 0,-1 0 0 0 0,1 0 0 0 0,0 1 1 0 0,0 5-1 0 0,1-6 12 0 0,0-1 1 0 0,0 0-1 0 0,1 0 1 0 0,-1 0-1 0 0,1 0 1 0 0,0 0 0 0 0,0 0-1 0 0,0 0 1 0 0,1 0-1 0 0,0 0 1 0 0,-1-1-1 0 0,1 1 1 0 0,1-1-1 0 0,-1 1 1 0 0,5 5 0 0 0,-4-6-3 0 0,1 0 0 0 0,0 0 1 0 0,0 0-1 0 0,0 0 0 0 0,0-1 1 0 0,0 1-1 0 0,1-1 0 0 0,-1 0 1 0 0,1 0-1 0 0,0-1 0 0 0,0 0 1 0 0,8 2-1 0 0,-5-2-40 0 0,-1 0-1 0 0,1-1 1 0 0,0 0-1 0 0,0 0 1 0 0,-1-1-1 0 0,1 0 1 0 0,0-1 0 0 0,-1 1-1 0 0,1-1 1 0 0,-1-1-1 0 0,0 1 1 0 0,0-1-1 0 0,0-1 1 0 0,0 1 0 0 0,0-1-1 0 0,-1 0 1 0 0,8-7-1 0 0,9-8-149 0 0,-1-1 0 0 0,-2-1 0 0 0,22-27 0 0 0,-27 30 221 0 0,13-17 431 0 0,-18 21-259 0 0,1 1 0 0 0,15-14-1 0 0,-25 25-38 0 0,0 3-169 0 0,-1-1 0 0 0,1 1 1 0 0,-1 0-1 0 0,1-1 0 0 0,-1 1 0 0 0,1 0 1 0 0,-1 0-1 0 0,0-1 0 0 0,1 1 1 0 0,-1 0-1 0 0,0 0 0 0 0,0 0 0 0 0,1-1 1 0 0,-1 1-1 0 0,0 0 0 0 0,0 0 1 0 0,0 0-1 0 0,0 1 0 0 0,2 22 80 0 0,-2-21-75 0 0,3 26 52 0 0,8 72-3150 0 0,-8-84 256 0 0,1-1 0 0 0,6 17 1 0 0,-4-19-1699 0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5.8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06 492 0 0,'23'-84'10795'0'0,"-22"79"-10244"0"0,4-9 1354 0 0,-5 13-1884 0 0,0 1 1 0 0,0 0-1 0 0,0 0 0 0 0,1 0 1 0 0,-1-1-1 0 0,0 1 1 0 0,0 0-1 0 0,1 0 0 0 0,-1 0 1 0 0,0 0-1 0 0,1 0 1 0 0,-1 0-1 0 0,0-1 0 0 0,1 1 1 0 0,-1 0-1 0 0,0 0 0 0 0,0 0 1 0 0,1 0-1 0 0,-1 0 1 0 0,0 0-1 0 0,1 0 0 0 0,-1 0 1 0 0,0 0-1 0 0,1 1 1 0 0,-1-1-1 0 0,0 0 0 0 0,0 0 1 0 0,1 0-1 0 0,-1 0 0 0 0,0 0 1 0 0,1 0-1 0 0,-1 1 1 0 0,0-1-1 0 0,1 0 0 0 0,-1 2-1 0 0,1-1-1 0 0,0 1 1 0 0,-1-1-1 0 0,1 1 0 0 0,-1-1 1 0 0,1 1-1 0 0,-1 0 1 0 0,0-1-1 0 0,1 1 0 0 0,-1-1 1 0 0,0 1-1 0 0,0 0 1 0 0,0-1-1 0 0,-1 4 0 0 0,1-1 27 0 0,0 13-657 0 0,-1 1-1 0 0,0-1 0 0 0,-1 1 1 0 0,-8 30-1 0 0,-13 43-6154 0 0,19-75 4166 0 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6.1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6 141 1556 0 0,'-34'-67'6550'0'0,"24"45"-5203"0"0,-18-27 0 0 0,27 47-1646 0 0,-1 7-1773 0 0,2-4 1852 0 0,0 0 0 0 0,0 1 1 0 0,0-1-1 0 0,0 0 0 0 0,0 0 0 0 0,0 1 0 0 0,0-1 0 0 0,0 0 0 0 0,0 0 0 0 0,1 1 0 0 0,-1-1 0 0 0,0 0 0 0 0,1 0 1 0 0,-1 0-1 0 0,1 1 0 0 0,0-1 0 0 0,-1 0 0 0 0,2 1 0 0 0,5 8-1627 0 0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6.6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4 188 0 0,'11'8'744'0'0,"0"0"0"0"0,0 1 0 0 0,-1 1 0 0 0,0-1 0 0 0,0 2 0 0 0,-1-1 1 0 0,0 2-1 0 0,-1-1 0 0 0,-1 1 0 0 0,0 0 0 0 0,0 0 0 0 0,6 18 0 0 0,-4-6-220 0 0,0 2 0 0 0,-2-1-1 0 0,-1 1 1 0 0,0 0 0 0 0,2 41 0 0 0,-6 29 1316 0 0,-2-94-1156 0 0,15-30-596 0 0,4 4-203 0 0,0 0 0 0 0,2 1-1 0 0,33-29 1 0 0,75-51-489 0 0,130-68-806 0 0,-227 151 1473 0 0,22-13 4 0 0,-52 32 32 0 0,-2 8-12 0 0,-2 13-9 0 0,-7 5-46 0 0,2 0 0 0 0,0 1 1 0 0,-6 50-1 0 0,11-62-11 0 0,2 1 0 0 0,-1-1-1 0 0,2 0 1 0 0,0 0 0 0 0,1 0 0 0 0,0 0 0 0 0,1 0 0 0 0,10 25 0 0 0,-13-37-21 0 0,1-1-1 0 0,-1 1 1 0 0,1 0-1 0 0,-1-1 1 0 0,1 1 0 0 0,0-1-1 0 0,0 1 1 0 0,0-1-1 0 0,0 0 1 0 0,0 1 0 0 0,0-1-1 0 0,0 0 1 0 0,1 0-1 0 0,-1 0 1 0 0,0 0 0 0 0,1 0-1 0 0,-1 0 1 0 0,1 0-1 0 0,-1 0 1 0 0,1-1 0 0 0,-1 1-1 0 0,1 0 1 0 0,2 0-1 0 0,-1-1-15 0 0,-1 0 0 0 0,1 0-1 0 0,-1-1 1 0 0,0 1 0 0 0,1-1-1 0 0,-1 0 1 0 0,0 1 0 0 0,1-1-1 0 0,-1 0 1 0 0,0 0 0 0 0,0 0-1 0 0,0-1 1 0 0,0 1 0 0 0,3-3-1 0 0,5-4-103 0 0,-1-1 0 0 0,0 0 0 0 0,0-1 0 0 0,13-19 0 0 0,-10 12-9 0 0,98-160 272 0 0,-109 176-138 0 0,-1 0 0 0 0,1 1 0 0 0,-1-1 0 0 0,1 0 0 0 0,-1 0 0 0 0,0 0 0 0 0,1 0 0 0 0,-1 0 0 0 0,0-1 0 0 0,1 1 0 0 0,-1 0 0 0 0,0 0 0 0 0,0 0 0 0 0,0 0 0 0 0,0 0 0 0 0,0 0 0 0 0,-1-2 0 0 0,1 3-3 0 0,0 0 0 0 0,-1-1-1 0 0,1 1 1 0 0,0 0 0 0 0,-1-1 0 0 0,1 1-1 0 0,0 0 1 0 0,-1 0 0 0 0,1-1 0 0 0,-1 1 0 0 0,1 0-1 0 0,0 0 1 0 0,-1 0 0 0 0,1-1 0 0 0,-1 1-1 0 0,1 0 1 0 0,-1 0 0 0 0,1 0 0 0 0,0 0-1 0 0,-1 0 1 0 0,1 0 0 0 0,-1 0 0 0 0,1 0-1 0 0,-1 0 1 0 0,1 0 0 0 0,-1 0 0 0 0,0 1-1 0 0,-2-1 1 0 0,0 1-1 0 0,0 0 1 0 0,0 1-1 0 0,0-1 1 0 0,0 0-1 0 0,0 1 1 0 0,0 0-1 0 0,0-1 1 0 0,0 1-1 0 0,-2 3 1 0 0,-9 10-65 0 0,1 0 1 0 0,1 1 0 0 0,0 1-1 0 0,1 0 1 0 0,1 0 0 0 0,-15 35-1 0 0,9-11-1228 0 0,1 0 0 0 0,-9 49 0 0 0,17-36-2418 0 0,3-28 965 0 0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7.7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6 72 408 0 0,'-4'-69'7813'0'0,"4"67"-7076"0"0,-13 27 1287 0 0,-45 168 2381 0 0,-11 29-1969 0 0,66-215-2408 0 0,2-1 268 0 0,-1-1 1 0 0,-1 1-1 0 0,1-1 1 0 0,-7 11-1 0 0,7-14 39 0 0,2-4-341 0 0,0 0 0 0 0,0 0 0 0 0,1 0 0 0 0,-1 0 1 0 0,0 1-1 0 0,1-1 0 0 0,-1 0 0 0 0,1 0 0 0 0,0 0 0 0 0,0 1 1 0 0,0-1-1 0 0,0 0 0 0 0,0 1 0 0 0,0-1 0 0 0,0 1 0 0 0,0-1 1 0 0,0 1-1 0 0,1 0 0 0 0,-1-1 0 0 0,1 1 0 0 0,-1 0 0 0 0,3-1 1 0 0,38-26-211 0 0,-24 18 68 0 0,0 1-1 0 0,1 1 1 0 0,30-9-1 0 0,-43 15 100 0 0,1 0 0 0 0,0 1-1 0 0,0 0 1 0 0,0 0 0 0 0,0 0 0 0 0,0 1 0 0 0,0 0 0 0 0,0 0-1 0 0,0 1 1 0 0,0 0 0 0 0,-1 0 0 0 0,1 1 0 0 0,0 0-1 0 0,7 2 1 0 0,-12-3 41 0 0,1 0 0 0 0,-1 0-1 0 0,0 0 1 0 0,0 0 0 0 0,0 1-1 0 0,0-1 1 0 0,0 0 0 0 0,0 1-1 0 0,0 0 1 0 0,0-1 0 0 0,-1 1-1 0 0,1 0 1 0 0,-1 0 0 0 0,1 0-1 0 0,-1 0 1 0 0,0 0 0 0 0,1 0-1 0 0,-1 0 1 0 0,0 0 0 0 0,-1 1-1 0 0,1-1 1 0 0,0 0 0 0 0,-1 1-1 0 0,1-1 1 0 0,-1 0 0 0 0,1 1 0 0 0,-1-1-1 0 0,0 1 1 0 0,0-1 0 0 0,0 1-1 0 0,-1-1 1 0 0,1 0 0 0 0,-1 1-1 0 0,1-1 1 0 0,-3 5 0 0 0,1-1 5 0 0,-1 0 0 0 0,-1 0 0 0 0,1 0 0 0 0,-1-1 0 0 0,0 1 0 0 0,-1-1 0 0 0,1 0 0 0 0,-1 0 0 0 0,0 0 0 0 0,0-1 1 0 0,-11 7-1 0 0,-1 1-436 0 0,-1-2 1 0 0,0 0 0 0 0,-1-1 0 0 0,0-1 0 0 0,-1-1-1 0 0,0 0 1 0 0,-38 6 0 0 0,54-12 36 0 0,-1-1 0 0 0,1 0 0 0 0,-1 0 0 0 0,1-1-1 0 0,-1 1 1 0 0,1-1 0 0 0,-1 0 0 0 0,-4-1 0 0 0,9 1 305 0 0,-1 1 0 0 0,1 0 0 0 0,-1 0 0 0 0,1 0 0 0 0,0-1-1 0 0,-1 1 1 0 0,1 0 0 0 0,0-1 0 0 0,-1 1 0 0 0,1 0 0 0 0,0-1 0 0 0,-1 1 0 0 0,1 0 0 0 0,0-1 0 0 0,0 1 0 0 0,-1-1 0 0 0,1 1-1 0 0,0 0 1 0 0,0-1 0 0 0,0 1 0 0 0,0-1 0 0 0,0 1 0 0 0,-1-1 0 0 0,1 1 0 0 0,0-1 0 0 0,0 1 0 0 0,0 0 0 0 0,0-1 0 0 0,0 1-1 0 0,0-1 1 0 0,1 1 0 0 0,-1-1 0 0 0,0 1 0 0 0,0-1 0 0 0,0 1 0 0 0,0 0 0 0 0,0-1 0 0 0,1 0 0 0 0,7-14-1912 0 0,-7 14 1912 0 0,9-13-2134 0 0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8.2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407 1324 0 0,'18'-5'1175'0'0,"-13"3"-779"0"0,0 1 0 0 0,-1-1 0 0 0,1 1 0 0 0,0 0 0 0 0,0 1 0 0 0,0-1 0 0 0,0 1 0 0 0,0 0 0 0 0,0 0 0 0 0,0 0 0 0 0,-1 1 0 0 0,1 0 0 0 0,0 0 0 0 0,0 0 0 0 0,0 0 0 0 0,-1 1 0 0 0,9 3 0 0 0,23 17 658 0 0,-23-13-864 0 0,1-1-1 0 0,0 0 0 0 0,1-1 1 0 0,0 0-1 0 0,0-1 0 0 0,0-1 0 0 0,17 4 1 0 0,-21-8-229 0 0,0 0 1 0 0,0 0 0 0 0,1-1-1 0 0,-1-1 1 0 0,0 0 0 0 0,0 0-1 0 0,0-1 1 0 0,-1-1 0 0 0,1 0-1 0 0,0 0 1 0 0,-1-1 0 0 0,0 0-1 0 0,18-10 1 0 0,24-11 414 0 0,-50 24-349 0 0,6 10 271 0 0,-5-8-260 0 0,0 0 0 0 0,0 1 0 0 0,1-1-1 0 0,-1-1 1 0 0,0 1 0 0 0,1 0-1 0 0,-1-1 1 0 0,0 0 0 0 0,1 0-1 0 0,-1 0 1 0 0,0 0 0 0 0,1 0 0 0 0,-1-1-1 0 0,0 1 1 0 0,1-1 0 0 0,4-2-1 0 0,-3 1-14 0 0,1-1 0 0 0,-1 0 0 0 0,0 0 0 0 0,0 0 0 0 0,0-1 0 0 0,0 0 0 0 0,-1 0 0 0 0,7-7 0 0 0,4-7 62 0 0,-1 0-1 0 0,-1-2 1 0 0,18-34-1 0 0,-30 52-66 0 0,55-122 1464 0 0,-36 77 1460 0 0,33-58 0 0 0,-53 104-2860 0 0,0 0-1 0 0,1 1 1 0 0,-1-1-1 0 0,0 0 1 0 0,0 1 0 0 0,1-1-1 0 0,-1 0 1 0 0,0 1 0 0 0,1-1-1 0 0,-1 1 1 0 0,1-1 0 0 0,-1 0-1 0 0,1 1 1 0 0,-1-1-1 0 0,1 1 1 0 0,-1 0 0 0 0,1-1-1 0 0,-1 1 1 0 0,1-1 0 0 0,0 1-1 0 0,-1 0 1 0 0,1-1 0 0 0,0 1-1 0 0,-1 0 1 0 0,1 0 0 0 0,0 0-1 0 0,-1 0 1 0 0,2-1-1 0 0,-1 2-18 0 0,0 0-1 0 0,-1 0 0 0 0,1 0 1 0 0,-1 0-1 0 0,1 0 0 0 0,-1 0 1 0 0,1 0-1 0 0,-1 0 0 0 0,0 0 1 0 0,1 0-1 0 0,-1 0 0 0 0,0 0 1 0 0,0 0-1 0 0,0 1 0 0 0,0 0 1 0 0,-1 49 558 0 0,-18 180-184 0 0,9-77-3124 0 0,0-4-4308 0 0,-1-67-1277 0 0,7-62 3277 0 0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8.6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27 1464 0 0,'24'-22'1236'0'0,"4"1"-324"0"0,2 2-176 0 0,1 1-152 0 0,5 3-136 0 0,-3 5-91 0 0,3-2-45 0 0,1 6-64 0 0,-3 3-100 0 0,1 3-284 0 0,-3 5-196 0 0,1 1-249 0 0,1 2-315 0 0,-4 2-528 0 0,-6 1 752 0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2:59.6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 41 680 0 0,'-6'-38'4304'0'0,"6"36"-3247"0"0,1 4-581 0 0,11 54 894 0 0,-3 1-1 0 0,4 73 1 0 0,-7 122-1020 0 0,-19-84-4319 0 0,13-162 3536 0 0,0-4 216 0 0,-1-1 1 0 0,1 1-1 0 0,0 0 0 0 0,0-1 1 0 0,-1 1-1 0 0,1 0 1 0 0,0-1-1 0 0,-1 1 1 0 0,0-1-1 0 0,1 1 0 0 0,-1-1 1 0 0,0 1-1 0 0,-1 1 1 0 0,-7 8-922 0 0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0.0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 53 96 0 0,'-11'-6'1845'0'0,"11"6"-1771"0"0,0 0-1 0 0,-1 0 1 0 0,1 0-1 0 0,0-1 1 0 0,-1 1-1 0 0,1 0 0 0 0,0 0 1 0 0,0 0-1 0 0,-1 0 1 0 0,1-1-1 0 0,0 1 1 0 0,-1 0-1 0 0,1 0 1 0 0,0-1-1 0 0,0 1 0 0 0,-1 0 1 0 0,1 0-1 0 0,0-1 1 0 0,0 1-1 0 0,0 0 1 0 0,0-1-1 0 0,-1 1 1 0 0,1 0-1 0 0,0-1 1 0 0,0 1-1 0 0,0 0 0 0 0,0-1 1 0 0,0 1-1 0 0,0 0 1 0 0,0-1-1 0 0,0 1 1 0 0,17-7 145 0 0,0 2 0 0 0,1 1 0 0 0,0 0 0 0 0,0 1-1 0 0,0 0 1 0 0,20 1 0 0 0,-8 0-97 0 0,37-4-718 0 0,-1 3-1 0 0,1 4 1 0 0,72 8 0 0 0,-119-6-306 0 0,-3-1 647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8.6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4 30 1052 0 0,'2'1'1349'0'0,"-1"0"-1212"0"0,0-1 0 0 0,-1 1 0 0 0,1 0 0 0 0,0-1 1 0 0,-1 1-1 0 0,1-1 0 0 0,0 1 0 0 0,-1 0 0 0 0,1 0 0 0 0,-1-1 0 0 0,1 1 0 0 0,-1 0 1 0 0,1 0-1 0 0,-1 0 0 0 0,0-1 0 0 0,1 1 0 0 0,-1 0 0 0 0,0 0 0 0 0,0 0 1 0 0,0 0-1 0 0,0 0 0 0 0,0 0 0 0 0,0 0 0 0 0,0-1 0 0 0,0 1 0 0 0,0 0 0 0 0,0 0 1 0 0,0 0-1 0 0,0 0 0 0 0,0 0 0 0 0,-1 0 0 0 0,1 0 0 0 0,0-1 0 0 0,-1 1 1 0 0,1 0-1 0 0,-1 0 0 0 0,1 0 0 0 0,-2 0 0 0 0,-3 8 614 0 0,-1 0 0 0 0,-12 14 0 0 0,4-6-43 0 0,5-3-341 0 0,0-1 1 0 0,0 2-1 0 0,1-1 1 0 0,1 1-1 0 0,1 0 1 0 0,-8 26-1 0 0,12-35-301 0 0,1-1 0 0 0,0 1 0 0 0,1-1 0 0 0,-1 1 1 0 0,1 0-1 0 0,0-1 0 0 0,0 1 0 0 0,1 0 0 0 0,-1-1 0 0 0,1 1 0 0 0,1-1 0 0 0,-1 1 0 0 0,1-1 1 0 0,0 0-1 0 0,0 0 0 0 0,0 1 0 0 0,1-1 0 0 0,0-1 0 0 0,0 1 0 0 0,0 0 0 0 0,1-1 0 0 0,-1 0 1 0 0,5 5-1 0 0,0-3-48 0 0,-1 1 0 0 0,1-1 0 0 0,0-1-1 0 0,0 1 1 0 0,1-1 0 0 0,0-1 0 0 0,0 0 0 0 0,0 0 0 0 0,0-1 0 0 0,0 0 0 0 0,1 0 0 0 0,-1-1 0 0 0,1 0 0 0 0,0-1 0 0 0,0 0 0 0 0,10-1 0 0 0,-13 0-189 0 0,0-1 1 0 0,0 1 0 0 0,0-2 0 0 0,0 1 0 0 0,0-1 0 0 0,0 0-1 0 0,0-1 1 0 0,0 1 0 0 0,-1-1 0 0 0,1-1 0 0 0,-1 1 0 0 0,0-1-1 0 0,0 0 1 0 0,0 0 0 0 0,-1-1 0 0 0,0 0 0 0 0,1 0 0 0 0,-1 0-1 0 0,-1-1 1 0 0,1 1 0 0 0,-1-1 0 0 0,6-11 0 0 0,7-21-138 0 0,-1-1 1 0 0,-2-1-1 0 0,-2-1 1 0 0,8-48-1 0 0,-4 21 1946 0 0,-15 65-1575 0 0,7-22 506 0 0,-8 25-534 0 0,0-1 1 0 0,0 1 0 0 0,0 0-1 0 0,0-1 1 0 0,0 1-1 0 0,0 0 1 0 0,0-1 0 0 0,0 1-1 0 0,1 0 1 0 0,-1-1 0 0 0,0 1-1 0 0,0 0 1 0 0,0 0 0 0 0,0-1-1 0 0,1 1 1 0 0,-1 0 0 0 0,0-1-1 0 0,0 1 1 0 0,1 0-1 0 0,-1 0 1 0 0,0 0 0 0 0,0-1-1 0 0,1 1 1 0 0,-1 0 0 0 0,0 0-1 0 0,1 0 1 0 0,-1 0 0 0 0,0 0-1 0 0,1 0 1 0 0,-1 0 0 0 0,0-1-1 0 0,1 1 1 0 0,-1 0-1 0 0,0 0 1 0 0,1 0 0 0 0,-1 0-1 0 0,0 0 1 0 0,1 0 0 0 0,-1 0-1 0 0,0 1 1 0 0,1-1 0 0 0,-1 0-1 0 0,0 0 1 0 0,0 0 0 0 0,1 0-1 0 0,-1 0 1 0 0,0 0-1 0 0,1 1 1 0 0,-1-1 0 0 0,0 0-1 0 0,0 0 1 0 0,1 0 0 0 0,-1 1-1 0 0,0-1 1 0 0,1 1 6 0 0,0 0-1 0 0,0 0 1 0 0,-1 0 0 0 0,1 1-1 0 0,-1-1 1 0 0,1 0 0 0 0,-1 0-1 0 0,0 0 1 0 0,1 0 0 0 0,-1 0-1 0 0,0 1 1 0 0,0-1 0 0 0,0 0-1 0 0,0 0 1 0 0,0 3 0 0 0,0 1 80 0 0,48 255 1655 0 0,-31-87-4570 0 0,-17-161 1454 0 0,0 0-1 0 0,-1 0 1 0 0,0-1-1 0 0,0 1 1 0 0,-7 22 0 0 0,4-23-1946 0 0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0.3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3 0 36 0 0,'-1'3'1617'0'0,"-8"24"-280"0"0,1 0 0 0 0,1 1 0 0 0,1-1 0 0 0,1 1 0 0 0,0 31 0 0 0,4-44-1202 0 0,1 1 1 0 0,1 0-1 0 0,0-1 1 0 0,1 1-1 0 0,0-1 1 0 0,2 1-1 0 0,0-1 1 0 0,0 0-1 0 0,2 0 1 0 0,13 26-1 0 0,-15-34-358 0 0,1 0-1 0 0,0 0 1 0 0,1-1 0 0 0,0 0-1 0 0,0 0 1 0 0,0 0 0 0 0,0-1-1 0 0,1 0 1 0 0,0 0 0 0 0,0 0 0 0 0,1-1-1 0 0,-1 0 1 0 0,1-1 0 0 0,0 0-1 0 0,0 0 1 0 0,0 0 0 0 0,14 2-1 0 0,-20-5 22 0 0,0 0 0 0 0,0 0-1 0 0,0 0 1 0 0,-1 0-1 0 0,1 0 1 0 0,0 0-1 0 0,0 0 1 0 0,0-1 0 0 0,-1 1-1 0 0,1 0 1 0 0,1-2-1 0 0,2 1-328 0 0,9-5-1250 0 0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0.7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 44 320 0 0,'-6'-12'760'0'0,"1"2"232"0"0,-1-3-216 0 0,-3 5-740 0 0,14 18-1796 0 0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1.2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6 27 320 0 0,'-15'-20'2570'0'0,"5"14"-897"0"0,10 6-1599 0 0,0 0-1 0 0,-1 0 1 0 0,1 0-1 0 0,0 0 1 0 0,-1 0-1 0 0,1 1 0 0 0,0-1 1 0 0,-1 0-1 0 0,1 0 1 0 0,0 0-1 0 0,0 1 1 0 0,-1-1-1 0 0,1 0 1 0 0,0 0-1 0 0,0 1 0 0 0,0-1 1 0 0,-1 0-1 0 0,1 0 1 0 0,0 1-1 0 0,0-1 1 0 0,0 0-1 0 0,0 1 1 0 0,-1-1-1 0 0,1 0 1 0 0,0 0-1 0 0,0 1 0 0 0,0-1 1 0 0,0 0-1 0 0,0 1 1 0 0,0-1-1 0 0,0 0 1 0 0,0 1-1 0 0,0-1 1 0 0,0 1-1 0 0,-1 23 538 0 0,1 1 0 0 0,1-1 0 0 0,1 1 0 0 0,6 27 0 0 0,-5-30-343 0 0,8 49 1139 0 0,-11-68-937 0 0,0-2-393 0 0,1-1 1 0 0,-1 1-1 0 0,0 0 0 0 0,0 0 0 0 0,0 0 0 0 0,0-1 0 0 0,0 1 0 0 0,0 0 0 0 0,0 0 0 0 0,-1 0 0 0 0,1-1 0 0 0,0 1 0 0 0,0 0 0 0 0,-1 0 0 0 0,1-1 0 0 0,-1 2 0 0 0,-22 6 261 0 0,20-7-377 0 0,-1 26-23 0 0,0-8 64 0 0,-17 160-650 0 0,11-78-2723 0 0,9-96 2877 0 0,1 0 0 0 0,-1 0 0 0 0,1 0 0 0 0,0 0 0 0 0,0 0 0 0 0,1 0 1 0 0,-1 0-1 0 0,1 0 0 0 0,0 0 0 0 0,3 7 0 0 0,2-2-1533 0 0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1.9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1 1 228 0 0,'0'0'663'0'0,"-7"9"448"0"0,-5 3-633 0 0,-1-1 0 0 0,0 0 0 0 0,0-1 0 0 0,-1-1 0 0 0,-23 12-1 0 0,-5 4 85 0 0,-4 2-120 0 0,32-20-320 0 0,0 1 0 0 0,0 0 0 0 0,1 1 0 0 0,1 0 0 0 0,-21 20 0 0 0,31-27-80 0 0,1 0 1 0 0,-1-1 0 0 0,1 1-1 0 0,0 0 1 0 0,0 0 0 0 0,0 0 0 0 0,0 0-1 0 0,0 0 1 0 0,1 0 0 0 0,-1 0-1 0 0,1 1 1 0 0,-1-1 0 0 0,1 0 0 0 0,0 0-1 0 0,0 0 1 0 0,0 0 0 0 0,0 5-1 0 0,1-3 30 0 0,0 0-1 0 0,0 0 0 0 0,0 0 1 0 0,1 1-1 0 0,-1-1 1 0 0,1-1-1 0 0,0 1 0 0 0,4 6 1 0 0,5 3 186 0 0,0 1 1 0 0,0-2-1 0 0,21 18 1 0 0,-30-28-224 0 0,12 10 57 0 0,0-1-1 0 0,1 0 0 0 0,0-1 0 0 0,1-1 0 0 0,0 0 0 0 0,0-1 1 0 0,1-1-1 0 0,0-1 0 0 0,0 0 0 0 0,35 6 0 0 0,-39-10-66 0 0,-1 0 0 0 0,1-1 0 0 0,0-1-1 0 0,0 0 1 0 0,0-1 0 0 0,0 0 0 0 0,0-1 0 0 0,0 0-1 0 0,-1-1 1 0 0,1-1 0 0 0,-1 0 0 0 0,0 0 0 0 0,0-2-1 0 0,0 1 1 0 0,20-15 0 0 0,-6 0 143 0 0,-2-2-1 0 0,-1-1 1 0 0,0-1-1 0 0,-2-1 1 0 0,-1-1-1 0 0,22-36 1 0 0,-32 50-40 0 0,-10 12-127 0 0,1 0 0 0 0,-1 0 0 0 0,0 0 0 0 0,0-1 0 0 0,0 1 1 0 0,0 0-1 0 0,0 0 0 0 0,0 0 0 0 0,0 0 0 0 0,0 0 0 0 0,0 0 1 0 0,1 0-1 0 0,-1 0 0 0 0,0 0 0 0 0,0 0 0 0 0,0 0 0 0 0,0 0 1 0 0,0 0-1 0 0,0 0 0 0 0,1 0 0 0 0,-1 0 0 0 0,0 0 0 0 0,0 0 1 0 0,0 0-1 0 0,0 0 0 0 0,0 0 0 0 0,0 0 0 0 0,1 0 0 0 0,-1 0 1 0 0,0 0-1 0 0,0 0 0 0 0,0 0 0 0 0,0 0 0 0 0,0 0 0 0 0,0 0 1 0 0,0 0-1 0 0,1 0 0 0 0,-1 0 0 0 0,0 0 0 0 0,0 0 0 0 0,0 1 1 0 0,0-1-1 0 0,0 0 0 0 0,0 0 0 0 0,0 0 0 0 0,1 23 32 0 0,-1-8 14 0 0,0 3 94 0 0,2-1-1 0 0,-1 1 1 0 0,2-1 0 0 0,1 1-1 0 0,8 26 1 0 0,-12-43-124 0 0,1 1 0 0 0,-1 0 0 0 0,1 0 0 0 0,0-1 0 0 0,-1 1 0 0 0,1 0 0 0 0,0-1-1 0 0,0 1 1 0 0,0-1 0 0 0,0 1 0 0 0,1-1 0 0 0,-1 0 0 0 0,0 1 0 0 0,0-1 0 0 0,1 0 0 0 0,-1 0 0 0 0,1 0-1 0 0,-1 0 1 0 0,1 0 0 0 0,-1 0 0 0 0,1 0 0 0 0,3 0 0 0 0,-3 0-4 0 0,1-1 0 0 0,0 0 0 0 0,-1 0 0 0 0,1 0 0 0 0,-1-1 1 0 0,1 1-1 0 0,0-1 0 0 0,-1 1 0 0 0,1-1 0 0 0,-1 0 0 0 0,1 0 0 0 0,-1 0 0 0 0,5-2 0 0 0,6-6 3 0 0,0 1-1 0 0,0-2 1 0 0,-1 0 0 0 0,12-13-1 0 0,-20 19-9 0 0,75-78-85 0 0,-79 81 71 0 0,1 0-1 0 0,0 1 1 0 0,-1-1 0 0 0,1 1 0 0 0,0-1 0 0 0,0 1-1 0 0,-1-1 1 0 0,1 1 0 0 0,0 0 0 0 0,0-1-1 0 0,0 1 1 0 0,-1 0 0 0 0,1 0 0 0 0,0-1 0 0 0,0 1-1 0 0,0 0 1 0 0,0 0 0 0 0,0 0 0 0 0,-1 0 0 0 0,1 0-1 0 0,0 0 1 0 0,0 0 0 0 0,0 0 0 0 0,0 1-1 0 0,0-1 1 0 0,0 0 0 0 0,-1 0 0 0 0,1 1 0 0 0,0-1-1 0 0,0 1 1 0 0,0-1 0 0 0,-1 0 0 0 0,1 1-1 0 0,0 0 1 0 0,-1-1 0 0 0,1 1 0 0 0,0-1 0 0 0,-1 1-1 0 0,1 0 1 0 0,-1-1 0 0 0,1 1 0 0 0,-1 0 0 0 0,1 0-1 0 0,0 1 1 0 0,3 5-3 0 0,0 0 1 0 0,-1 1-1 0 0,5 15 0 0 0,-3-11 5 0 0,2 5 35 0 0,1 0 0 0 0,1 0 0 0 0,1-1 0 0 0,0 0 0 0 0,1-1 0 0 0,13 14 0 0 0,-19-23 40 0 0,0 0 0 0 0,1-1 0 0 0,-1 0 0 0 0,1 0 0 0 0,1 0 0 0 0,-1-1-1 0 0,1 0 1 0 0,-1 0 0 0 0,1 0 0 0 0,0-1 0 0 0,0 0 0 0 0,1-1 0 0 0,-1 0 0 0 0,0 0 0 0 0,1 0-1 0 0,14 1 1 0 0,-16-3-8 0 0,0 0 0 0 0,1-1 0 0 0,-1 0 0 0 0,0 0 0 0 0,0 0 0 0 0,-1 0 0 0 0,1-1 0 0 0,0 0 0 0 0,0 0-1 0 0,-1-1 1 0 0,1 0 0 0 0,-1 0 0 0 0,0 0 0 0 0,0 0 0 0 0,0-1 0 0 0,0 0 0 0 0,-1 0 0 0 0,0 0 0 0 0,1-1 0 0 0,-2 1 0 0 0,1-1 0 0 0,0 0-1 0 0,-1 0 1 0 0,6-11 0 0 0,-4 4 11 0 0,-1 0 0 0 0,0 0-1 0 0,0-1 1 0 0,-1 1-1 0 0,-1-1 1 0 0,0 0 0 0 0,-1 0-1 0 0,0 0 1 0 0,-1 0 0 0 0,-2-20-1 0 0,2 29-65 0 0,-1 0 0 0 0,0 0 0 0 0,1 0 1 0 0,-2 0-1 0 0,1 0 0 0 0,0 1 0 0 0,-1-1 0 0 0,1 0 0 0 0,-1 1 0 0 0,0-1 0 0 0,-1 1 0 0 0,1-1 0 0 0,0 1 1 0 0,-1 0-1 0 0,0 0 0 0 0,0 0 0 0 0,-5-4 0 0 0,3 4 14 0 0,0 0 1 0 0,0 0-1 0 0,-1 0 0 0 0,0 1 1 0 0,1 0-1 0 0,-1 0 0 0 0,0 0 1 0 0,0 1-1 0 0,0 0 0 0 0,-11-1 1 0 0,4 2-198 0 0,1 0 0 0 0,0 0 0 0 0,0 1 0 0 0,0 1 0 0 0,0 0 0 0 0,0 1 0 0 0,0 0-1 0 0,1 1 1 0 0,-1 0 0 0 0,1 1 0 0 0,-15 9 0 0 0,19-9-334 0 0,0 0-1 0 0,0 1 0 0 0,0 0 1 0 0,1 0-1 0 0,0 1 0 0 0,0 0 0 0 0,-7 11 1 0 0,12-17 419 0 0,1 0 0 0 0,0 0 0 0 0,-1 0 0 0 0,1 0 0 0 0,0 0 0 0 0,-1 0 0 0 0,1 0 0 0 0,0 0 0 0 0,0 0 1 0 0,0 0-1 0 0,0 0 0 0 0,0 0 0 0 0,0-1 0 0 0,0 1 0 0 0,0 0 0 0 0,0 0 0 0 0,1 0 0 0 0,-1 0 0 0 0,0 0 0 0 0,1 0 0 0 0,-1 0 1 0 0,0 0-1 0 0,1 0 0 0 0,-1 0 0 0 0,1 0 0 0 0,0-1 0 0 0,-1 1 0 0 0,1 0 0 0 0,0 0 0 0 0,-1-1 0 0 0,1 1 0 0 0,1 0 1 0 0,1 2-244 0 0,-1-1 1 0 0,1 0 0 0 0,0 0 0 0 0,1 0 0 0 0,-1 0-1 0 0,0 0 1 0 0,5 1 0 0 0,9 1-1106 0 0,4-2 269 0 0</inkml:trace>
</inkml:ink>
</file>

<file path=ppt/ink/ink1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2.3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29 332 0 0,'94'-24'7273'0'0,"-92"23"-7163"0"0,0 1-1 0 0,0-1 1 0 0,1 1-1 0 0,-1 0 1 0 0,0-1-1 0 0,1 1 1 0 0,-1 0-1 0 0,0 1 1 0 0,0-1-1 0 0,1 0 1 0 0,-1 1-1 0 0,0-1 1 0 0,0 1-1 0 0,0 0 1 0 0,1-1-1 0 0,-1 1 1 0 0,0 0-1 0 0,0 0 1 0 0,0 1-1 0 0,0-1 1 0 0,-1 0-1 0 0,1 1 1 0 0,2 1-1 0 0,2 4 176 0 0,0 0 0 0 0,0 0-1 0 0,-1 0 1 0 0,7 13 0 0 0,-2-4 117 0 0,14 23 209 0 0,19 27-18 0 0,-39-61-547 0 0,0 0 0 0 0,0 0 1 0 0,1 0-1 0 0,-1-1 0 0 0,1 1 1 0 0,0-1-1 0 0,0 0 0 0 0,1-1 1 0 0,6 4-1 0 0,-9-6-33 0 0,0 0 0 0 0,0 0 0 0 0,0 0 1 0 0,0 0-1 0 0,0 0 0 0 0,1-1 0 0 0,-1 1 0 0 0,0-1 0 0 0,1 0 1 0 0,-1 0-1 0 0,0-1 0 0 0,0 1 0 0 0,1 0 0 0 0,-1-1 0 0 0,0 0 1 0 0,0 0-1 0 0,0 0 0 0 0,0 0 0 0 0,0-1 0 0 0,0 1 0 0 0,0-1 1 0 0,0 1-1 0 0,0-1 0 0 0,-1 0 0 0 0,1 0 0 0 0,2-3 0 0 0,6-7-109 0 0,-1 1 0 0 0,0-1 0 0 0,-1 0-1 0 0,11-19 1 0 0,-1 2-462 0 0,-17 27 393 0 0,3 8-454 0 0,-4-3 619 0 0,1-1 1 0 0,-1 0-1 0 0,1 0 1 0 0,0 1-1 0 0,-1-1 1 0 0,1 0-1 0 0,0-1 1 0 0,4 4-1 0 0,-1-4 99 0 0,0 0 0 0 0,0 0-1 0 0,0 0 1 0 0,0-1-1 0 0,0 1 1 0 0,0-1 0 0 0,0 0-1 0 0,0-1 1 0 0,0 1-1 0 0,0-1 1 0 0,0 0 0 0 0,0-1-1 0 0,0 1 1 0 0,0-1-1 0 0,0 0 1 0 0,-1 0 0 0 0,1 0-1 0 0,-1-1 1 0 0,1 0-1 0 0,-1 1 1 0 0,0-1-1 0 0,0-1 1 0 0,5-5 0 0 0,-5 5 14 0 0,1-1 1 0 0,-1 0 0 0 0,0-1 0 0 0,-1 1-1 0 0,1-1 1 0 0,-1 1 0 0 0,0-1-1 0 0,-1 0 1 0 0,1 0 0 0 0,-1-1 0 0 0,-1 1-1 0 0,1 0 1 0 0,0-9 0 0 0,0 2-260 0 0,-2 1 1 0 0,0 0-1 0 0,0 0 1 0 0,-1-1 0 0 0,-6-23-1 0 0,7 35-9 0 0,0 0 0 0 0,-1 0 0 0 0,1 0 0 0 0,-1 0-1 0 0,1 0 1 0 0,-1 1 0 0 0,1-1 0 0 0,-1 0 0 0 0,1 0 0 0 0,-1 0 0 0 0,0 1 0 0 0,1-1-1 0 0,-1 0 1 0 0,0 1 0 0 0,0-1 0 0 0,0 0 0 0 0,0 1 0 0 0,1-1 0 0 0,-1 1 0 0 0,0 0 0 0 0,0-1-1 0 0,0 1 1 0 0,0 0 0 0 0,-2-1 0 0 0,-18 0-5456 0 0</inkml:trace>
</inkml:ink>
</file>

<file path=ppt/ink/ink1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2.7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2 36 968 0 0,'-1'-3'1612'0'0,"-12"-19"1097"0"0,12 22-2613 0 0,0-1 0 0 0,0 0 1 0 0,0 0-1 0 0,0 0 0 0 0,0 0 1 0 0,0 1-1 0 0,0-1 1 0 0,-1 0-1 0 0,1 1 0 0 0,0-1 1 0 0,0 1-1 0 0,0-1 0 0 0,-1 1 1 0 0,1 0-1 0 0,0-1 0 0 0,-1 1 1 0 0,1 0-1 0 0,0 0 1 0 0,0 0-1 0 0,-1 0 0 0 0,1 0 1 0 0,0 0-1 0 0,-3 1 0 0 0,1 0-21 0 0,1 0-1 0 0,-1-1 0 0 0,0 2 1 0 0,1-1-1 0 0,-1 0 1 0 0,0 0-1 0 0,1 1 0 0 0,0 0 1 0 0,-1-1-1 0 0,1 1 0 0 0,0 0 1 0 0,0 0-1 0 0,0 0 1 0 0,0 0-1 0 0,0 1 0 0 0,0-1 1 0 0,1 0-1 0 0,-1 1 0 0 0,1 0 1 0 0,0-1-1 0 0,-1 1 1 0 0,1 0-1 0 0,1-1 0 0 0,-2 4 1 0 0,1 0 25 0 0,0 0 0 0 0,1 0 1 0 0,0 0-1 0 0,0 0 1 0 0,0 0-1 0 0,1 0 1 0 0,0 0-1 0 0,0 0 0 0 0,0 0 1 0 0,1 0-1 0 0,3 8 1 0 0,28 55 636 0 0,0 0 608 0 0,-33-68-1299 0 0,0 0 1 0 0,1 0-1 0 0,-1 0 0 0 0,0 1 1 0 0,0-1-1 0 0,0 0 0 0 0,0 0 1 0 0,0 0-1 0 0,0 1 1 0 0,0-1-1 0 0,-1 0 0 0 0,1 0 1 0 0,0 0-1 0 0,-1 0 0 0 0,1 0 1 0 0,0 1-1 0 0,-1-1 1 0 0,1 0-1 0 0,-1 0 0 0 0,0 0 1 0 0,1 0-1 0 0,-1 0 0 0 0,0-1 1 0 0,0 1-1 0 0,0 0 1 0 0,1 0-1 0 0,-1 0 0 0 0,0-1 1 0 0,0 1-1 0 0,0 0 0 0 0,0-1 1 0 0,-2 2-1 0 0,-3 1 51 0 0,0-1 0 0 0,0 1 0 0 0,0-1 0 0 0,-8 2 0 0 0,-1 0-123 0 0,0-2 1 0 0,1 1 0 0 0,-2-2 0 0 0,-25 0 0 0 0,-60-11-4007 0 0,50 3-1676 0 0,37 6 3215 0 0</inkml:trace>
</inkml:ink>
</file>

<file path=ppt/ink/ink1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3.3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6 235 720 0 0,'-2'-2'294'0'0,"1"1"-1"0"0,-1 0 1 0 0,0 0 0 0 0,0 0-1 0 0,0 0 1 0 0,-1 0 0 0 0,1 0-1 0 0,0 0 1 0 0,0 1 0 0 0,0-1-1 0 0,0 1 1 0 0,-1 0 0 0 0,1 0-1 0 0,0-1 1 0 0,-1 1 0 0 0,1 1-1 0 0,0-1 1 0 0,0 0 0 0 0,-1 1-1 0 0,-1 0 1 0 0,0 0-127 0 0,1 0-1 0 0,0 1 1 0 0,0 0-1 0 0,0 0 1 0 0,0 0 0 0 0,0 0-1 0 0,1 0 1 0 0,-1 0-1 0 0,1 1 1 0 0,-1-1 0 0 0,1 1-1 0 0,0-1 1 0 0,-2 4 0 0 0,1-3-73 0 0,1 1 0 0 0,0-1 0 0 0,0 0 0 0 0,1 0 0 0 0,-1 1 1 0 0,1-1-1 0 0,-1 1 0 0 0,1-1 0 0 0,0 1 0 0 0,1 0 1 0 0,-1-1-1 0 0,1 1 0 0 0,-1 0 0 0 0,1 0 0 0 0,0 0 1 0 0,0-1-1 0 0,1 1 0 0 0,-1 0 0 0 0,1-1 0 0 0,2 8 1 0 0,-1-6-20 0 0,0-1 1 0 0,1 1-1 0 0,0-1 1 0 0,0 0-1 0 0,0 0 0 0 0,0 0 1 0 0,1 0-1 0 0,-1 0 1 0 0,1-1-1 0 0,0 0 1 0 0,0 0-1 0 0,0 0 1 0 0,1 0-1 0 0,-1 0 1 0 0,5 1-1 0 0,10 5 47 0 0,-1-1 0 0 0,1-1 0 0 0,1-1 0 0 0,26 6 0 0 0,-39-11-98 0 0,1 1 0 0 0,-1-1 0 0 0,0-1 0 0 0,1 1 0 0 0,-1-1 0 0 0,1-1 0 0 0,-1 1 0 0 0,0-1 0 0 0,1-1 0 0 0,-1 1 0 0 0,0-1 1 0 0,0-1-1 0 0,0 1 0 0 0,0-1 0 0 0,7-4 0 0 0,-10 4-26 0 0,0 0-1 0 0,0 0 1 0 0,-1-1-1 0 0,1 0 1 0 0,-1 1 0 0 0,0-1-1 0 0,0 0 1 0 0,0 0-1 0 0,-1-1 1 0 0,1 1 0 0 0,-1-1-1 0 0,0 1 1 0 0,2-8 0 0 0,-4 10-51 0 0,0 2-33 0 0,-1 0 83 0 0,1 0 1 0 0,-1 0-1 0 0,1 0 0 0 0,-1 0 0 0 0,1 0 0 0 0,-1 0 0 0 0,1 0 0 0 0,-1 0 1 0 0,1 1-1 0 0,-1-1 0 0 0,1 0 0 0 0,-1 0 0 0 0,1 1 0 0 0,-1-1 0 0 0,1 0 0 0 0,-1 0 1 0 0,1 1-1 0 0,-1-1 0 0 0,1 0 0 0 0,0 1 0 0 0,-1-1 0 0 0,1 1 0 0 0,0-1 0 0 0,-1 1 1 0 0,1-1-1 0 0,0 1 0 0 0,0-1 0 0 0,-1 1 0 0 0,1 0 1 0 0,0 1 0 0 0,-1-1 0 0 0,1 1-1 0 0,0-1 1 0 0,0 0 0 0 0,0 1 0 0 0,0-1 0 0 0,1 1 0 0 0,-1-1 0 0 0,0 0-1 0 0,1 3 1 0 0,0-2 3 0 0,0 1 1 0 0,0 0-1 0 0,0 0 0 0 0,1-1 1 0 0,-1 1-1 0 0,1-1 0 0 0,-1 1 0 0 0,1-1 1 0 0,0 0-1 0 0,0 0 0 0 0,4 4 1 0 0,0-3 55 0 0,1 1 1 0 0,-1-1 0 0 0,1-1 0 0 0,0 1 0 0 0,0-1 0 0 0,0-1 0 0 0,0 1 0 0 0,0-1 0 0 0,0 0-1 0 0,0-1 1 0 0,0 1 0 0 0,1-2 0 0 0,-1 1 0 0 0,0-1 0 0 0,0 0 0 0 0,0 0 0 0 0,0-1 0 0 0,0 0-1 0 0,0 0 1 0 0,0 0 0 0 0,-1-1 0 0 0,1 0 0 0 0,-1-1 0 0 0,0 0 0 0 0,0 1 0 0 0,0-2 0 0 0,0 1 0 0 0,-1-1-1 0 0,0 0 1 0 0,0 0 0 0 0,0 0 0 0 0,0-1 0 0 0,-1 0 0 0 0,0 0 0 0 0,0 0 0 0 0,-1 0 0 0 0,1 0-1 0 0,-2-1 1 0 0,1 0 0 0 0,3-11 0 0 0,-4 5 9 0 0,0 0 1 0 0,-1 0-1 0 0,0 0 0 0 0,-1 0 1 0 0,-1 1-1 0 0,0-1 0 0 0,0 0 1 0 0,-2 0-1 0 0,-4-16 0 0 0,3 14-171 0 0,-1 1-1 0 0,0 0 0 0 0,-1 0 0 0 0,-1 0 0 0 0,0 1 0 0 0,-1 0 0 0 0,-16-20 0 0 0,22 29-192 0 0,-1 1 0 0 0,0 0 0 0 0,0 0 0 0 0,0 0 0 0 0,0 0 0 0 0,-1 0 0 0 0,1 0 0 0 0,-1 1 0 0 0,0 0 0 0 0,0 0 0 0 0,0 0 0 0 0,0 0 0 0 0,0 0 0 0 0,0 1 0 0 0,0 0 0 0 0,0 0 0 0 0,0 0 0 0 0,-1 0 0 0 0,1 1 0 0 0,-1-1 0 0 0,1 1-1 0 0,0 0 1 0 0,-5 1 0 0 0,8-1 231 0 0,1 0 0 0 0,-1 0-1 0 0,1 0 1 0 0,-1 0 0 0 0,1 1-1 0 0,0-1 1 0 0,-1 0 0 0 0,1 0-1 0 0,-1 0 1 0 0,1 0-1 0 0,0 1 1 0 0,-1-1 0 0 0,1 0-1 0 0,-1 1 1 0 0,1-1 0 0 0,0 0-1 0 0,-1 0 1 0 0,1 1 0 0 0,0-1-1 0 0,0 0 1 0 0,-1 1 0 0 0,1-1-1 0 0,0 1 1 0 0,0-1-1 0 0,-1 1 1 0 0</inkml:trace>
</inkml:ink>
</file>

<file path=ppt/ink/ink1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5.2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020 0 0,'6'1'414'0'0,"0"0"-1"0"0,-1 0 0 0 0,1 1 1 0 0,0-1-1 0 0,-1 1 1 0 0,1 1-1 0 0,-1-1 0 0 0,0 1 1 0 0,0 0-1 0 0,0 0 1 0 0,0 0-1 0 0,5 6 1 0 0,-3-3-7 0 0,-1 1 0 0 0,1 0 1 0 0,-1 1-1 0 0,-1-1 0 0 0,1 1 0 0 0,7 16 1 0 0,-2 2 273 0 0,-2 0 0 0 0,0 0 0 0 0,-2 1 1 0 0,5 31-1 0 0,-4-1 719 0 0,-1-1 0 0 0,-3 64 0 0 0,-10-97 102 0 0,1-18-1188 0 0,0-15-546 0 0,5 3 93 0 0,-1 0-1 0 0,1-1 0 0 0,0 1 0 0 0,1-1 1 0 0,0 1-1 0 0,0 0 0 0 0,1 0 0 0 0,0 0 1 0 0,0-1-1 0 0,6-11 0 0 0,-5 12-3 0 0,0-1-1 0 0,1 0 1 0 0,0 1-1 0 0,0 0 1 0 0,1 0 0 0 0,0 1-1 0 0,0-1 1 0 0,1 1-1 0 0,9-9 1 0 0,-12 14 112 0 0,-1-1 0 0 0,0 1 0 0 0,1 0 0 0 0,-1 0 0 0 0,0 0 0 0 0,1 1 0 0 0,-1-1 0 0 0,1 1 0 0 0,0-1 0 0 0,-1 1 0 0 0,1 0 0 0 0,-1 0 0 0 0,1 0 0 0 0,0 0 0 0 0,-1 0 0 0 0,1 1 0 0 0,-1-1 0 0 0,1 1 0 0 0,-1-1 0 0 0,1 1 0 0 0,-1 0 0 0 0,5 2 0 0 0,5 4-7 0 0,-1-1-1 0 0,0 1 0 0 0,14 12 1 0 0,-6-5-20 0 0,-1-2 52 0 0,1 2 40 0 0,43 21 0 0 0,-56-33-23 0 0,0-1 1 0 0,0 0-1 0 0,-1 0 0 0 0,1-1 1 0 0,0 0-1 0 0,0 0 0 0 0,0 0 1 0 0,0-1-1 0 0,-1 1 0 0 0,1-1 1 0 0,0-1-1 0 0,-1 1 0 0 0,1-1 1 0 0,9-4-1 0 0,-4 0 1 0 0,-1-1 0 0 0,1 1 1 0 0,-1-2-1 0 0,-1 1 0 0 0,1-1 0 0 0,-1-1 0 0 0,-1 0 1 0 0,0 0-1 0 0,0-1 0 0 0,7-10 0 0 0,-10 11 34 0 0,1 1 0 0 0,-2-1 0 0 0,1 0 0 0 0,-1 0 0 0 0,-1 0 0 0 0,1-1 0 0 0,-2 1 0 0 0,1-1 1 0 0,-1 0-1 0 0,-1 1 0 0 0,0-1 0 0 0,0 0 0 0 0,-1-11 0 0 0,0 20-30 0 0,0 0-13 0 0,1 1-1 0 0,-1-1 1 0 0,0 0-1 0 0,0 1 1 0 0,0-1-1 0 0,0 1 1 0 0,0-1 0 0 0,0 0-1 0 0,0 1 1 0 0,0-1-1 0 0,0 0 1 0 0,-1 1 0 0 0,1-1-1 0 0,0 0 1 0 0,0 1-1 0 0,-1-1 1 0 0,1 1-1 0 0,0-1 1 0 0,-1 1 0 0 0,1-1-1 0 0,0 0 1 0 0,-1 1-1 0 0,1-1 1 0 0,-1 1 0 0 0,1 0-1 0 0,-1-1 1 0 0,1 1-1 0 0,-1-1 1 0 0,1 1-1 0 0,-1 0 1 0 0,1-1 0 0 0,-1 1-1 0 0,-1-1 1 0 0,1 1-2 0 0,0-1 1 0 0,0 0 0 0 0,0 1-1 0 0,-1-1 1 0 0,1 1-1 0 0,0-1 1 0 0,0 1-1 0 0,-1 0 1 0 0,1-1 0 0 0,0 1-1 0 0,0 0 1 0 0,-1 0-1 0 0,1 0 1 0 0,0 0-1 0 0,-1 0 1 0 0,1 0 0 0 0,0 0-1 0 0,-1 1 1 0 0,1-1-1 0 0,0 0 1 0 0,-2 1 0 0 0,-1 1-2 0 0,0 0 1 0 0,1 0 0 0 0,-1 0 0 0 0,1 0 0 0 0,0 0 0 0 0,0 1-1 0 0,-4 3 1 0 0,-2 3-2 0 0,0 1 1 0 0,1 1-1 0 0,-12 17 0 0 0,16-21 11 0 0,1 1 0 0 0,0-1-1 0 0,0 1 1 0 0,0 0 0 0 0,1 0 0 0 0,0 0 0 0 0,1 0 0 0 0,0 0 0 0 0,0 0 0 0 0,0 0-1 0 0,1 1 1 0 0,0-1 0 0 0,1 0 0 0 0,0 0 0 0 0,0 0 0 0 0,1 0 0 0 0,0 0 0 0 0,1 0-1 0 0,-1 0 1 0 0,1-1 0 0 0,1 1 0 0 0,0-1 0 0 0,0 0 0 0 0,0 0 0 0 0,1 0 0 0 0,7 8-1 0 0,-10-13 2 0 0,0 1 0 0 0,1-1-1 0 0,-1 0 1 0 0,1 0 0 0 0,-1 0-1 0 0,1 0 1 0 0,0-1 0 0 0,0 1-1 0 0,0-1 1 0 0,0 0 0 0 0,0 0-1 0 0,0 0 1 0 0,0 0 0 0 0,0 0-1 0 0,7 0 1 0 0,-5-1-26 0 0,0 0-1 0 0,0-1 1 0 0,0 1 0 0 0,0-1 0 0 0,0 0 0 0 0,0 0 0 0 0,0-1-1 0 0,0 1 1 0 0,8-5 0 0 0,8-6-220 0 0,35-24 1 0 0,-44 27 170 0 0,0 0 0 0 0,1 1-1 0 0,0 0 1 0 0,1 1 0 0 0,-1 1 0 0 0,1 0 0 0 0,18-5 0 0 0,-27 11 53 0 0,0-1-1 0 0,0 1 1 0 0,0 0-1 0 0,0 0 1 0 0,0 0-1 0 0,0 1 1 0 0,0 0 0 0 0,0 0-1 0 0,0 0 1 0 0,-1 0-1 0 0,1 1 1 0 0,0 0-1 0 0,-1 0 1 0 0,1 0 0 0 0,-1 1-1 0 0,0-1 1 0 0,1 1-1 0 0,-1 0 1 0 0,6 7-1 0 0,-1-1 3 0 0,0 0-1 0 0,0 1 0 0 0,-1 0 0 0 0,-1 1 0 0 0,0-1 0 0 0,7 14 0 0 0,-5-2 151 0 0,12 41 1 0 0,-15-45 415 0 0,-5-16-298 0 0,1 2 30 0 0,-2-4-283 0 0,0 0 0 0 0,0 1 0 0 0,0-1 0 0 0,1 0 0 0 0,-1 0 1 0 0,0 0-1 0 0,0 1 0 0 0,0-1 0 0 0,0 0 0 0 0,0 0 0 0 0,0 0 0 0 0,0 1 0 0 0,0-1 0 0 0,0 0 0 0 0,1 0 0 0 0,-1 0 0 0 0,0 1 0 0 0,0-1 0 0 0,0 0 0 0 0,0 0 0 0 0,0 0 0 0 0,1 0 0 0 0,-1 0 0 0 0,0 0 0 0 0,0 1 1 0 0,0-1-1 0 0,1 0 0 0 0,-1 0 0 0 0,0 0 0 0 0,0 0 0 0 0,0 0 0 0 0,1 0 0 0 0,-1 0 0 0 0,0 0 0 0 0,0 0 0 0 0,1 0 0 0 0,-1 0 0 0 0,0 0 0 0 0,9-4-33 0 0,-1 0 1 0 0,0 0-1 0 0,-1-1 0 0 0,1 0 1 0 0,11-10-1 0 0,21-13-192 0 0,91-34-1069 0 0,-91 45 1122 0 0,-1-1 0 0 0,67-43 0 0 0,-101 57 213 0 0,1 1 1 0 0,-1-1 0 0 0,0-1 0 0 0,0 1 0 0 0,-1-1 0 0 0,1 1-1 0 0,-1-1 1 0 0,0 0 0 0 0,-1-1 0 0 0,1 1 0 0 0,-1-1-1 0 0,0 0 1 0 0,5-11 0 0 0,-8 15 23 0 0,2-16 140 0 0,-1-13 392 0 0,-2 29-556 0 0,-4-11 8 0 0,-5-16-54 0 0,-16-28 1 0 0,-9-22 143 0 0,35 79-148 0 0,0-1 1 0 0,0 1 0 0 0,0 0-1 0 0,0 0 1 0 0,0-1 0 0 0,0 1-1 0 0,0 0 1 0 0,0-1 0 0 0,0 1-1 0 0,0 0 1 0 0,0 0 0 0 0,0 0-1 0 0,-1-1 1 0 0,1 1 0 0 0,0 0-1 0 0,0 0 1 0 0,0-1-1 0 0,0 1 1 0 0,0 0 0 0 0,-1 0-1 0 0,1 0 1 0 0,0 0 0 0 0,0-1-1 0 0,0 1 1 0 0,-1 0 0 0 0,1 0-1 0 0,0 0 1 0 0,0 0 0 0 0,-1 0-1 0 0,1 0 1 0 0,0-1 0 0 0,0 1-1 0 0,-1 0 1 0 0,1 0-1 0 0,0 0 1 0 0,0 0 0 0 0,-1 0-1 0 0,1 0 1 0 0,0 0 0 0 0,0 0-1 0 0,-1 0 1 0 0,1 0 0 0 0,0 0-1 0 0,0 0 1 0 0,-1 1 0 0 0,1-1-1 0 0,0 0 1 0 0,-1 0 0 0 0,-8 15-18 0 0,-4 25 21 0 0,-5 66-1322 0 0,-4 142 0 0 0,14-131-3482 0 0,-2-88 3447 0 0,10-28 1308 0 0,0 0 0 0 0,-1 0-1 0 0,1 0 1 0 0,-1 0 0 0 0,1 0 0 0 0,-1 0 0 0 0,1-1 0 0 0,-1 1 0 0 0,0 0 0 0 0,1 0 0 0 0,-1-1 0 0 0,0 1 0 0 0,0 0-1 0 0,1-1 1 0 0,-1 1 0 0 0,0-1 0 0 0,0 1 0 0 0,0-1 0 0 0,0 1 0 0 0,0-1 0 0 0,0 1 0 0 0,0-1 0 0 0,0 0 0 0 0,0 0 0 0 0,0 1-1 0 0,0-1 1 0 0,0 0 0 0 0,-2 0 0 0 0,1-1 74 0 0,-1 0-1 0 0,0 0 1 0 0,1 0-1 0 0,-1-1 1 0 0,1 1-1 0 0,0 0 1 0 0,-1-1-1 0 0,1 0 1 0 0,0 0-1 0 0,0 1 1 0 0,0-1-1 0 0,0 0 1 0 0,0-1-1 0 0,1 1 0 0 0,-1 0 1 0 0,1 0-1 0 0,-1-1 1 0 0,1 1-1 0 0,0-1 1 0 0,0 1-1 0 0,-1-4 1 0 0,1 2 25 0 0,0 0 0 0 0,1 0 0 0 0,-1 0 0 0 0,1 0 1 0 0,0 1-1 0 0,0-1 0 0 0,0 0 0 0 0,1 0 0 0 0,-1 0 0 0 0,1 0 1 0 0,0 0-1 0 0,0 1 0 0 0,0-1 0 0 0,1 0 0 0 0,-1 1 0 0 0,1-1 0 0 0,0 1 1 0 0,0 0-1 0 0,0-1 0 0 0,5-4 0 0 0,5-5 140 0 0,0 0 1 0 0,1 0-1 0 0,20-13 1 0 0,-5 2 329 0 0,-26 23-503 0 0,33-32 1189 0 0,72-49 0 0 0,-104 80-1134 0 0,0 0 1 0 0,0 0-1 0 0,0 1 1 0 0,0-1-1 0 0,1 1 0 0 0,-1 0 1 0 0,0 0-1 0 0,0 0 1 0 0,1 1-1 0 0,-1-1 0 0 0,1 1 1 0 0,-1-1-1 0 0,1 1 1 0 0,-1 0-1 0 0,0 1 1 0 0,1-1-1 0 0,-1 1 0 0 0,5 0 1 0 0,-3 1 16 0 0,-1 0 1 0 0,0 0-1 0 0,1 0 1 0 0,-1 1 0 0 0,0 0-1 0 0,0-1 1 0 0,0 1-1 0 0,-1 1 1 0 0,1-1-1 0 0,-1 0 1 0 0,6 8-1 0 0,-2-2 19 0 0,-1 2 0 0 0,0-1-1 0 0,0 1 1 0 0,-1 0-1 0 0,0 0 1 0 0,-1 0-1 0 0,0 1 1 0 0,0 0-1 0 0,1 18 1 0 0,3 95 2181 0 0,-8-124-1876 0 0,3-2-444 0 0,0 0 7 0 0,0 0 0 0 0,0 0-1 0 0,-1 0 1 0 0,1-1 0 0 0,0 1 0 0 0,-1-1-1 0 0,1 0 1 0 0,3-3 0 0 0,12-7-173 0 0,1 5 31 0 0,2 0 1 0 0,-1 2-1 0 0,1 0 1 0 0,35-3 0 0 0,-14 2 75 0 0,-27 3 69 0 0,0 0 0 0 0,-1 0 0 0 0,1-2 0 0 0,-1 0-1 0 0,0-1 1 0 0,17-9 0 0 0,-24 11-21 0 0,0-1-1 0 0,0 0 1 0 0,-1 0-1 0 0,1 0 0 0 0,-1-1 1 0 0,0 0-1 0 0,-1 0 1 0 0,0-1-1 0 0,0 0 1 0 0,0 0-1 0 0,-1 0 1 0 0,6-12-1 0 0,-4 6-3 0 0,-1-1 0 0 0,0 0 0 0 0,-1 0 0 0 0,-1 0 0 0 0,0-1 0 0 0,-1 1 0 0 0,-1-1 0 0 0,0 0 0 0 0,0 1 0 0 0,-2-1 0 0 0,-2-16 0 0 0,3 30 42 0 0,0 0 1 0 0,0 1-1 0 0,-1-1 0 0 0,1 1 1 0 0,0-1-1 0 0,0 1 1 0 0,-1-1-1 0 0,1 1 1 0 0,0 0-1 0 0,-1-1 1 0 0,1 1-1 0 0,-1-1 1 0 0,1 1-1 0 0,0 0 0 0 0,-1-1 1 0 0,1 1-1 0 0,-1 0 1 0 0,1-1-1 0 0,-1 1 1 0 0,1 0-1 0 0,-1 0 1 0 0,1-1-1 0 0,-1 1 0 0 0,1 0 1 0 0,-1 0-1 0 0,1 0 1 0 0,-1 0-1 0 0,0 0 1 0 0,1 0-1 0 0,-1 0 1 0 0,1 0-1 0 0,-1 0 1 0 0,1 0-1 0 0,-1 0 0 0 0,0 0 1 0 0,1 0-1 0 0,-1 0 1 0 0,1 1-1 0 0,-1-1 1 0 0,1 0-1 0 0,-1 0 1 0 0,1 1-1 0 0,-1-1 0 0 0,1 0 1 0 0,0 1-1 0 0,-1-1 1 0 0,-21 17-36 0 0,16-10 33 0 0,1 1 0 0 0,1 0 1 0 0,-1-1-1 0 0,1 2 0 0 0,1-1 0 0 0,0 0 1 0 0,0 1-1 0 0,0 0 0 0 0,1-1 0 0 0,1 1 1 0 0,-1 0-1 0 0,1 10 0 0 0,1-8 17 0 0,0 0 0 0 0,0 0 0 0 0,1 0 0 0 0,0-1 0 0 0,1 1 0 0 0,1-1 0 0 0,0 1 0 0 0,0-1 0 0 0,8 18 0 0 0,-9-25 1 0 0,-1 0-1 0 0,0-1 0 0 0,1 1 0 0 0,0-1 0 0 0,0 1 1 0 0,0-1-1 0 0,0 1 0 0 0,0-1 0 0 0,0 0 0 0 0,1 0 0 0 0,-1 0 1 0 0,0 0-1 0 0,1 0 0 0 0,0-1 0 0 0,-1 1 0 0 0,1-1 1 0 0,0 0-1 0 0,0 0 0 0 0,0 0 0 0 0,0 0 0 0 0,0 0 1 0 0,0 0-1 0 0,0-1 0 0 0,0 0 0 0 0,5 0 0 0 0,1 0 0 0 0,0-2 0 0 0,1 1-1 0 0,-1-2 1 0 0,0 1 0 0 0,0-1-1 0 0,0 0 1 0 0,10-6-1 0 0,64-29-669 0 0,-81 37 627 0 0,0 1 1 0 0,1-1 0 0 0,-1 1-1 0 0,0 0 1 0 0,0-1 0 0 0,0 1-1 0 0,0 0 1 0 0,0 0 0 0 0,1 0-1 0 0,-1 0 1 0 0,0 1-1 0 0,0-1 1 0 0,0 1 0 0 0,0-1-1 0 0,0 1 1 0 0,0 0 0 0 0,0 0-1 0 0,0 0 1 0 0,0 0 0 0 0,0 0-1 0 0,0 0 1 0 0,-1 0 0 0 0,1 1-1 0 0,0-1 1 0 0,-1 1 0 0 0,1-1-1 0 0,-1 1 1 0 0,2 1 0 0 0,3 3-50 0 0,16 20-4 0 0,-21-23 90 0 0,1 0 1 0 0,0-1-1 0 0,0 1 0 0 0,0 0 1 0 0,0-1-1 0 0,1 1 1 0 0,-1-1-1 0 0,1 0 0 0 0,-1 0 1 0 0,1 0-1 0 0,0 0 1 0 0,0 0-1 0 0,0 0 0 0 0,0-1 1 0 0,0 0-1 0 0,0 1 0 0 0,0-1 1 0 0,1 0-1 0 0,4 0 1 0 0,3 0 4 0 0,-1-2 0 0 0,0 1 0 0 0,0-2 0 0 0,1 1 1 0 0,-1-1-1 0 0,0-1 0 0 0,-1 0 0 0 0,1 0 1 0 0,0-1-1 0 0,-1 0 0 0 0,0 0 0 0 0,0-1 1 0 0,16-12-1 0 0,-14 9-77 0 0,-1 0 0 0 0,0-1 0 0 0,0 0 0 0 0,-1-1-1 0 0,0 0 1 0 0,-1 0 0 0 0,0-1 0 0 0,-1 0 0 0 0,0-1 0 0 0,7-16 0 0 0,-13 25-18 0 0,-1 1-36 0 0,-3-9 70 0 0,2 9-58 0 0,0 2-52 0 0,1 0 149 0 0,-1 1 0 0 0,0-1 1 0 0,0 0-1 0 0,1 1 0 0 0,-1-1 0 0 0,0 1 0 0 0,1-1 1 0 0,-1 1-1 0 0,0-1 0 0 0,1 1 0 0 0,-1-1 0 0 0,1 1 1 0 0,-2 1-1 0 0,2 0-18 0 0,1-1-1 0 0,-1 1 1 0 0,0 0 0 0 0,1 0 0 0 0,-1 0-1 0 0,1 0 1 0 0,0 0 0 0 0,-1-1 0 0 0,1 1 0 0 0,0 0-1 0 0,0 0 1 0 0,0-1 0 0 0,0 1 0 0 0,1-1-1 0 0,-1 1 1 0 0,0-1 0 0 0,1 0 0 0 0,-1 1 0 0 0,3 1-1 0 0,35 18-3496 0 0,-25-15 724 0 0</inkml:trace>
</inkml:ink>
</file>

<file path=ppt/ink/ink1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5.9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5 696 0 0,'2'-5'908'0'0,"1"1"0"0"0,0-1-1 0 0,0 1 1 0 0,6-8 0 0 0,-8 12-802 0 0,-1-1 1 0 0,0 1-1 0 0,1 0 1 0 0,-1-1-1 0 0,1 1 1 0 0,-1-1-1 0 0,1 1 1 0 0,-1 0 0 0 0,1 0-1 0 0,-1-1 1 0 0,1 1-1 0 0,-1 0 1 0 0,1 0-1 0 0,-1 0 1 0 0,1-1-1 0 0,-1 1 1 0 0,1 0-1 0 0,-1 0 1 0 0,1 0-1 0 0,-1 0 1 0 0,1 0-1 0 0,0 0 1 0 0,0 1-61 0 0,0-1 0 0 0,-1 1 0 0 0,1 0 0 0 0,-1-1 0 0 0,1 1 1 0 0,0-1-1 0 0,-1 1 0 0 0,0 0 0 0 0,1 0 0 0 0,-1-1 0 0 0,1 1 0 0 0,-1 0 0 0 0,0 0 1 0 0,1-1-1 0 0,-1 1 0 0 0,0 0 0 0 0,0 0 0 0 0,0 0 0 0 0,0 0 0 0 0,0 1 0 0 0,2 16 494 0 0,-1 1 0 0 0,-1 0 0 0 0,-3 22 0 0 0,0 15 64 0 0,4-22-409 0 0,1 0-1 0 0,2 0 1 0 0,10 38 0 0 0,33 96-3438 0 0,-38-139 1857 0 0,-8-27 1219 0 0,0 0 0 0 0,0 1 0 0 0,-1-1-1 0 0,1 0 1 0 0,-1 1 0 0 0,0-1 0 0 0,1 1 0 0 0,-1-1 0 0 0,0 0 0 0 0,0 1 0 0 0,-1-1 0 0 0,1 1 0 0 0,0-1 0 0 0,-1 0 0 0 0,0 1 0 0 0,1-1 0 0 0,-1 0 0 0 0,0 0 0 0 0,0 1-1 0 0,0-1 1 0 0,0 0 0 0 0,-1 0 0 0 0,1 0 0 0 0,-1 0 0 0 0,1-1 0 0 0,-1 1 0 0 0,-2 2 0 0 0,-6 2-318 0 0</inkml:trace>
</inkml:ink>
</file>

<file path=ppt/ink/ink1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6.7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8 304 360 0 0,'-61'-38'2679'0'0,"37"23"-625"0"0,-33-17 1 0 0,56 32-2026 0 0,0 0-1 0 0,1-1 1 0 0,-1 1-1 0 0,0 0 1 0 0,0-1-1 0 0,0 1 1 0 0,1-1-1 0 0,-1 1 1 0 0,0-1 0 0 0,0 1-1 0 0,1-1 1 0 0,-1 0-1 0 0,0 1 1 0 0,1-1-1 0 0,-1 0 1 0 0,1 1-1 0 0,-1-1 1 0 0,1 0-1 0 0,-1 0 1 0 0,1 0 0 0 0,0 1-1 0 0,-1-1 1 0 0,1 0-1 0 0,0 0 1 0 0,0 0-1 0 0,-1 0 1 0 0,1 0-1 0 0,0 0 1 0 0,0 1 0 0 0,0-1-1 0 0,0 0 1 0 0,0 0-1 0 0,0 0 1 0 0,1 0-1 0 0,-1 0 1 0 0,0 0-1 0 0,0 0 1 0 0,1 1 0 0 0,-1-1-1 0 0,0 0 1 0 0,1 0-1 0 0,-1 0 1 0 0,1 1-1 0 0,-1-1 1 0 0,1 0-1 0 0,-1 0 1 0 0,1 1-1 0 0,-1-1 1 0 0,1 0 0 0 0,0 1-1 0 0,0-1 1 0 0,0 0-1 0 0,4-4 37 0 0,0 1 0 0 0,0 0-1 0 0,1-1 1 0 0,0 2 0 0 0,7-5 0 0 0,32-13 221 0 0,1 2 0 0 0,0 2 0 0 0,2 2 0 0 0,-1 3 1 0 0,71-11-1 0 0,-102 22-211 0 0,0 0 0 0 0,0 0 0 0 0,0 2 0 0 0,-1 0 0 0 0,1 0 0 0 0,0 2 0 0 0,17 4 0 0 0,-24-5-9 0 0,-1 1-1 0 0,0 0 1 0 0,0 0 0 0 0,-1 1 0 0 0,1-1 0 0 0,-1 2-1 0 0,0-1 1 0 0,0 1 0 0 0,0 0 0 0 0,0 1 0 0 0,-1-1 0 0 0,0 1-1 0 0,0 1 1 0 0,-1-1 0 0 0,6 9 0 0 0,9 11 183 0 0,-14-19 276 0 0,-1-1 0 0 0,0 1 1 0 0,7 13 1143 0 0,-13-22-1670 0 0,1 1 0 0 0,0 0-1 0 0,0 0 1 0 0,0 0 0 0 0,0 0-1 0 0,0-1 1 0 0,0 1 0 0 0,0 0 0 0 0,0 0-1 0 0,0 0 1 0 0,1 0 0 0 0,-1-1 0 0 0,0 1-1 0 0,1 0 1 0 0,0-2 0 0 0,0 1-10 0 0,0-1 2 0 0,1 0 0 0 0,0 0 0 0 0,-1 1 0 0 0,1-1 0 0 0,1 1 0 0 0,-1 0 0 0 0,0 0 0 0 0,0-1 0 0 0,1 1 0 0 0,-1 1 0 0 0,1-1 0 0 0,0 0 0 0 0,-1 1 0 0 0,4-2 0 0 0,1 0-46 0 0,1 0 1 0 0,-1 1-1 0 0,14-3 0 0 0,-12 5 14 0 0,0-1-1 0 0,0 2 0 0 0,0-1 1 0 0,0 1-1 0 0,0 0 0 0 0,15 5 0 0 0,-9-3 16 0 0,15 4 26 0 0,0-2-1 0 0,1 0 0 0 0,-1-3 0 0 0,1 0 0 0 0,40-4 1 0 0,-62 1-12 0 0,1 0 0 0 0,-1-1 0 0 0,0 0 1 0 0,0 0-1 0 0,0-1 0 0 0,0 0 1 0 0,0 0-1 0 0,0-1 0 0 0,-1-1 0 0 0,0 1 1 0 0,0-1-1 0 0,0-1 0 0 0,0 1 1 0 0,-1-1-1 0 0,0-1 0 0 0,0 1 0 0 0,-1-1 1 0 0,0 0-1 0 0,0-1 0 0 0,-1 0 0 0 0,8-12 1 0 0,-12 17-9 0 0,0 1 1 0 0,0-1-1 0 0,0 1 1 0 0,-1-1-1 0 0,1 0 1 0 0,-1 1 0 0 0,1-1-1 0 0,-1 0 1 0 0,0 1-1 0 0,0-1 1 0 0,-1-3-1 0 0,1 3-53 0 0,-7 1 14 0 0,7 1 56 0 0,0 1 1 0 0,0 0 0 0 0,-1 0-1 0 0,1-1 1 0 0,0 1 0 0 0,0 0 0 0 0,-1 0-1 0 0,1 0 1 0 0,0-1 0 0 0,-1 1 0 0 0,1 0-1 0 0,0 0 1 0 0,-1 0 0 0 0,1 0-1 0 0,0 0 1 0 0,-1-1 0 0 0,1 1 0 0 0,0 0-1 0 0,-1 0 1 0 0,1 0 0 0 0,-1 0 0 0 0,1 0-1 0 0,0 0 1 0 0,-1 0 0 0 0,1 0 0 0 0,0 1-1 0 0,-1-1 1 0 0,1 0 0 0 0,0 0-1 0 0,-1 0 1 0 0,1 0 0 0 0,0 0 0 0 0,-1 1-1 0 0,-2 0-9 0 0,0 1 0 0 0,0-1 0 0 0,1 1 0 0 0,-1 0 0 0 0,1 0 0 0 0,0 0 0 0 0,-1 0 0 0 0,1 0 0 0 0,0 0 0 0 0,0 1 0 0 0,0-1 0 0 0,0 1 0 0 0,1-1 0 0 0,-1 1 0 0 0,1 0 0 0 0,0 0 0 0 0,-1 0 0 0 0,1 3 0 0 0,0-4 14 0 0,0 0 0 0 0,1 0 0 0 0,0 0 0 0 0,0 1 0 0 0,-1-1 1 0 0,1 0-1 0 0,0 0 0 0 0,1 1 0 0 0,-1-1 0 0 0,0 0 1 0 0,1 0-1 0 0,-1 1 0 0 0,1-1 0 0 0,0 0 0 0 0,0 0 1 0 0,0 0-1 0 0,0 0 0 0 0,0 0 0 0 0,0 0 0 0 0,0 0 0 0 0,1-1 1 0 0,-1 1-1 0 0,1 0 0 0 0,-1-1 0 0 0,1 1 0 0 0,-1-1 1 0 0,1 1-1 0 0,4 1 0 0 0,1 1 9 0 0,0 0 0 0 0,1-1-1 0 0,0 0 1 0 0,0 0 0 0 0,0-1 0 0 0,0 0-1 0 0,0 0 1 0 0,0-1 0 0 0,1 0 0 0 0,-1 0 0 0 0,0-1-1 0 0,1 0 1 0 0,-1-1 0 0 0,0 0 0 0 0,15-3-1 0 0,-10 1-7 0 0,0-1 0 0 0,0 0-1 0 0,0-1 1 0 0,0 0-1 0 0,-1-1 1 0 0,1 0-1 0 0,-1-1 1 0 0,19-15-1 0 0,43-41 235 0 0,-74 63-241 0 0,1-1 1 0 0,-1 1-1 0 0,1-1 0 0 0,-1 1 0 0 0,1 0 1 0 0,0-1-1 0 0,-1 1 0 0 0,1 0 0 0 0,0-1 1 0 0,-1 1-1 0 0,1 0 0 0 0,0 0 1 0 0,-1-1-1 0 0,1 1 0 0 0,0 0 0 0 0,-1 0 1 0 0,1 0-1 0 0,0 0 0 0 0,0 0 0 0 0,-1 0 1 0 0,1 0-1 0 0,0 0 0 0 0,-1 0 1 0 0,1 0-1 0 0,0 1 0 0 0,0-1 0 0 0,-1 0 1 0 0,1 0-1 0 0,0 1 0 0 0,-1-1 0 0 0,1 0 1 0 0,-1 1-1 0 0,1-1 0 0 0,0 1 0 0 0,0 0 1 0 0,13 24-43 0 0,-8-14 16 0 0,-2-3 33 0 0,1 0-1 0 0,0 0 1 0 0,0 0 0 0 0,1 0-1 0 0,0-1 1 0 0,13 12 0 0 0,-15-16 12 0 0,0 0-1 0 0,1 0 1 0 0,-1-1 0 0 0,1 0 0 0 0,0 1-1 0 0,-1-2 1 0 0,1 1 0 0 0,0 0 0 0 0,0-1-1 0 0,1 0 1 0 0,-1 0 0 0 0,0-1-1 0 0,0 1 1 0 0,0-1 0 0 0,8-1 0 0 0,-2 0 2 0 0,1 0 0 0 0,-1-1 1 0 0,0-1-1 0 0,0 0 0 0 0,0-1 1 0 0,15-7-1 0 0,64-37-95 0 0,-45 21-137 0 0,-42 26 202 0 0,-1 0-1 0 0,0-1 1 0 0,0 1-1 0 0,0 0 1 0 0,0 0-1 0 0,1 1 0 0 0,-1-1 1 0 0,0 0-1 0 0,1 1 1 0 0,-1-1-1 0 0,1 1 1 0 0,-1 0-1 0 0,1 0 1 0 0,-1 0-1 0 0,0 0 0 0 0,1 0 1 0 0,-1 0-1 0 0,1 1 1 0 0,-1-1-1 0 0,1 1 1 0 0,-1 0-1 0 0,0 0 1 0 0,0 0-1 0 0,1 0 1 0 0,-1 0-1 0 0,4 3 0 0 0,-3-1 14 0 0,0 0 0 0 0,0 1 0 0 0,0-1 0 0 0,0 1-1 0 0,0 0 1 0 0,-1 0 0 0 0,0 0 0 0 0,0 0 0 0 0,0 1-1 0 0,0-1 1 0 0,-1 1 0 0 0,1-1 0 0 0,0 6 0 0 0,1 7 49 0 0,-1-1 1 0 0,-1 1-1 0 0,0-1 1 0 0,-1 1-1 0 0,0-1 1 0 0,-2 1-1 0 0,0 0 1 0 0,-1-1-1 0 0,0 0 1 0 0,-11 29-1 0 0,10-32 66 0 0,-1-1 0 0 0,-1-1 1 0 0,0 1-1 0 0,0-1 0 0 0,-1 0 0 0 0,0 0 0 0 0,-1-1 1 0 0,-1 0-1 0 0,1-1 0 0 0,-2 1 0 0 0,1-2 0 0 0,-1 1 0 0 0,0-1 1 0 0,-17 9-1 0 0,21-14-63 0 0,0 0 0 0 0,0-1 0 0 0,0 0 0 0 0,-1 0 0 0 0,1 0 0 0 0,-1-1 0 0 0,0 0 0 0 0,1 0 0 0 0,-1-1 0 0 0,0 0 0 0 0,1 0 0 0 0,-1 0 0 0 0,0-1 0 0 0,1 0 0 0 0,-1 0-1 0 0,1-1 1 0 0,-1 0 0 0 0,1 0 0 0 0,0 0 0 0 0,-8-5 0 0 0,9 5-124 0 0,1-1 0 0 0,0 1 0 0 0,0-1 0 0 0,0 0 0 0 0,1 0 0 0 0,-1-1 0 0 0,1 1 0 0 0,-1-1 0 0 0,1 0 0 0 0,0 0 0 0 0,1 0 0 0 0,-1 0 0 0 0,1 0 0 0 0,-1 0 0 0 0,1-1 0 0 0,1 1 0 0 0,-1-1 0 0 0,0 0 0 0 0,1 1 0 0 0,0-1 0 0 0,0 0 0 0 0,1 0 0 0 0,0 0 0 0 0,-1 0 0 0 0,1 0 0 0 0,1 1-1 0 0,-1-1 1 0 0,2-7 0 0 0,0 3-284 0 0,1 0 0 0 0,-1 0 0 0 0,2 1 0 0 0,-1-1 0 0 0,1 1 0 0 0,0-1 0 0 0,1 1 0 0 0,0 1 0 0 0,0-1 0 0 0,1 1 0 0 0,13-14 0 0 0,-7 10-695 0 0,1 1 0 0 0,0-1 1 0 0,1 2-1 0 0,0 0 0 0 0,28-13 0 0 0,-10 8-1519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0.3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16 932 0 0,'8'-31'612'0'0,"1"0"1"0"0,2 1-1 0 0,1 0 0 0 0,1 0 0 0 0,21-33 0 0 0,-29 54-440 0 0,1 1-1 0 0,1-1 0 0 0,0 2 0 0 0,0-1 0 0 0,0 1 0 0 0,1 0 0 0 0,0 0 1 0 0,16-9-1 0 0,-17 13-60 0 0,0-1 0 0 0,0 1 0 0 0,1 0 0 0 0,-1 1 1 0 0,1 0-1 0 0,-1 0 0 0 0,1 1 0 0 0,0 0 0 0 0,0 0 0 0 0,0 1 1 0 0,-1 0-1 0 0,1 0 0 0 0,8 2 0 0 0,-10-2-54 0 0,0 1 0 0 0,-1 0-1 0 0,1 1 1 0 0,-1-1 0 0 0,1 1 0 0 0,-1 0-1 0 0,0 1 1 0 0,0-1 0 0 0,0 1 0 0 0,0 0-1 0 0,0 0 1 0 0,0 1 0 0 0,-1-1 0 0 0,0 1-1 0 0,0 0 1 0 0,0 0 0 0 0,0 1 0 0 0,0-1 0 0 0,-1 1-1 0 0,0 0 1 0 0,0-1 0 0 0,0 1 0 0 0,-1 1-1 0 0,1-1 1 0 0,-1 0 0 0 0,2 9 0 0 0,-2-5 7 0 0,0 1 0 0 0,-1 0 1 0 0,0 0-1 0 0,-1 0 0 0 0,0 0 1 0 0,0 0-1 0 0,-1 0 0 0 0,0 0 1 0 0,-1-1-1 0 0,0 1 0 0 0,-1 0 1 0 0,1-1-1 0 0,-2 1 0 0 0,-6 13 1 0 0,-1-5-28 0 0,0 0 1 0 0,-1 0 0 0 0,-1-1 0 0 0,-1-1-1 0 0,0 0 1 0 0,-1-1 0 0 0,-1-1 0 0 0,-18 14-1 0 0,18-16-521 0 0,-1-1 0 0 0,0-1 0 0 0,0-1 0 0 0,-1 0 0 0 0,-22 7 0 0 0,35-14-134 0 0,0-1 0 0 0,0 1-1 0 0,0-1 1 0 0,0-1-1 0 0,-6 1 1 0 0,-9 1-903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9.0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532 496 0 0,'4'-6'502'0'0,"1"0"0"0"0,0 1 0 0 0,0 0 1 0 0,0 0-1 0 0,1 1 0 0 0,0-1 0 0 0,0 1 0 0 0,8-5 0 0 0,58-25 1803 0 0,-47 24-1496 0 0,93-38 1973 0 0,-102 42-2276 0 0,1 1-1 0 0,-1 1 1 0 0,1 1-1 0 0,0 0 0 0 0,20 0 1 0 0,-31 3-371 0 0,0 0 0 0 0,0 0 0 0 0,0 1 0 0 0,0 0 0 0 0,0 0 0 0 0,-1 0 0 0 0,1 1 0 0 0,0 0-1 0 0,-1 0 1 0 0,0 0 0 0 0,1 1 0 0 0,-1 0 0 0 0,0 0 0 0 0,0 0 0 0 0,0 0 0 0 0,-1 1 0 0 0,1 0 0 0 0,-1 0 0 0 0,0 0 0 0 0,0 1 0 0 0,0-1 0 0 0,3 7 0 0 0,-2-2-296 0 0,-1-1 0 0 0,0 1 1 0 0,-1 0-1 0 0,0 0 0 0 0,0 0 1 0 0,-1 0-1 0 0,0 0 0 0 0,-1 1 0 0 0,0-1 1 0 0,0 1-1 0 0,-1-1 0 0 0,-2 19 1 0 0,0-10-2447 0 0,0 1 1 0 0,-7 21-1 0 0,3-24-2128 0 0</inkml:trace>
  <inkml:trace contextRef="#ctx0" brushRef="#br0" timeOffset="1">592 260 744 0 0,'0'-28'2833'0'0,"-2"-1"-1"0"0,-7-43 1 0 0,6 61-2593 0 0,1 0 1 0 0,-1 0-1 0 0,-1 0 0 0 0,0 1 1 0 0,0 0-1 0 0,-1 0 0 0 0,0 0 0 0 0,-1 0 1 0 0,-10-13-1 0 0,6 15-712 0 0,1 2-1278 0 0</inkml:trace>
</inkml:ink>
</file>

<file path=ppt/ink/ink2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8.1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1 190 656 0 0,'-17'6'1019'0'0,"0"1"0"0"0,1 1 0 0 0,0 0 0 0 0,-29 21 0 0 0,32-19-700 0 0,1 0 0 0 0,-1 1 0 0 0,2 0 0 0 0,-1 1 0 0 0,2 0 0 0 0,0 1 0 0 0,0 1 0 0 0,1-1 0 0 0,-11 23 0 0 0,19-33-262 0 0,-1 0 0 0 0,1 0 0 0 0,0 0 0 0 0,0 0 0 0 0,0 0 0 0 0,0 1 0 0 0,1-1 0 0 0,-1 0 0 0 0,1 0 0 0 0,0 1 0 0 0,0-1 0 0 0,0 1 0 0 0,0-1 0 0 0,1 0 0 0 0,-1 0 0 0 0,1 1 0 0 0,0-1 0 0 0,0 0 0 0 0,0 0 0 0 0,0 0 0 0 0,1 0 0 0 0,1 4 0 0 0,-2-6-50 0 0,0-1 0 0 0,-1 1 0 0 0,1-1 1 0 0,0 1-1 0 0,-1-1 0 0 0,1 1 0 0 0,0-1 0 0 0,-1 0 0 0 0,1 1 0 0 0,0-1 0 0 0,0 0 0 0 0,0 1 0 0 0,-1-1 0 0 0,1 0 0 0 0,0 0 0 0 0,0 0 0 0 0,0 0 0 0 0,0 0 1 0 0,-1 0-1 0 0,1 0 0 0 0,1 0 0 0 0,-2 0 3 0 0,4 0 6 0 0,-1 0 1 0 0,0 0 0 0 0,0 0 0 0 0,0 0 0 0 0,0-1 0 0 0,1 1 0 0 0,-1-1-1 0 0,0 0 1 0 0,0 0 0 0 0,0 0 0 0 0,0 0 0 0 0,5-3 0 0 0,31-21 71 0 0,-34 21-65 0 0,26-20 9 0 0,50-50 0 0 0,-23 18-80 0 0,-57 54 40 0 0,17-12-98 0 0,-18 14 103 0 0,0-1 0 0 0,1 1 0 0 0,-1 0 0 0 0,1-1 0 0 0,-1 1 0 0 0,1 0 0 0 0,-1-1 0 0 0,1 1 0 0 0,-1 0 1 0 0,1-1-1 0 0,-1 1 0 0 0,1 0 0 0 0,-1 0 0 0 0,1 0 0 0 0,0 0 0 0 0,-1 0 0 0 0,1 0 0 0 0,-1-1 0 0 0,1 1 0 0 0,-1 1 0 0 0,1-1 0 0 0,0 0 1 0 0,-1 0-1 0 0,1 0 0 0 0,-1 0 0 0 0,1 0 0 0 0,-1 0 0 0 0,1 1 0 0 0,0-1 0 0 0,-1 0 0 0 0,1 1 0 0 0,3 6 43 0 0,0 1 1 0 0,-1 0-1 0 0,0 0 0 0 0,-1 0 0 0 0,0 0 0 0 0,0 0 0 0 0,-1 1 0 0 0,1 10 0 0 0,9 37 330 0 0,-3-30-103 0 0,2 0-1 0 0,16 30 1 0 0,-23-49-137 0 0,1 0 0 0 0,0-1 0 0 0,0 1 0 0 0,1-1 0 0 0,0 0 0 0 0,0 0 0 0 0,0-1 0 0 0,1 0 0 0 0,0 0 0 0 0,0 0 0 0 0,0 0 0 0 0,11 5 0 0 0,-14-9-90 0 0,1 0-1 0 0,-1 0 1 0 0,0-1 0 0 0,0 1 0 0 0,1-1 0 0 0,-1 0 0 0 0,1 0 0 0 0,-1 0 0 0 0,0 0 0 0 0,1-1 0 0 0,5-1 0 0 0,-3 1 0 0 0,1-1 1 0 0,0-1 0 0 0,-1 1 0 0 0,11-6 0 0 0,-6 2 29 0 0,1-1 0 0 0,-1 0 0 0 0,0-1 0 0 0,-1 0 0 0 0,0 0 0 0 0,0-1 0 0 0,-1-1 0 0 0,0 1 1 0 0,-1-1-1 0 0,0-1 0 0 0,0 0 0 0 0,7-14 0 0 0,7-24-15 0 0,-19 39-79 0 0,1 1 0 0 0,0-1 0 0 0,8-12-1 0 0,-5 12-8 0 0,-7 9 26 0 0,1-1 0 0 0,-1 1 1 0 0,1 0-1 0 0,0 0 0 0 0,0-1 0 0 0,-1 1 0 0 0,1 0 0 0 0,0 0 0 0 0,0 0 0 0 0,0 0 0 0 0,1 0 0 0 0,-1 0 1 0 0,0 0-1 0 0,0 0 0 0 0,0 0 0 0 0,1 1 0 0 0,-1-1 0 0 0,0 0 0 0 0,1 1 0 0 0,1-1 0 0 0,0 1-3 0 0,1-1 0 0 0,-1 1-1 0 0,0 0 1 0 0,1 1-1 0 0,-1-1 1 0 0,1 0 0 0 0,-1 1-1 0 0,0 0 1 0 0,0 0 0 0 0,0 0-1 0 0,1 0 1 0 0,-1 0-1 0 0,3 3 1 0 0,2 1-6 0 0,-1 0 1 0 0,0 0-1 0 0,0 1 1 0 0,7 8-1 0 0,-1 0 33 0 0,1 0 1 0 0,1-1-1 0 0,0 0 1 0 0,0-1-1 0 0,1-1 1 0 0,1-1-1 0 0,32 16 0 0 0,-45-25-5 0 0,0 1-1 0 0,-1-1 1 0 0,1-1 0 0 0,0 1-1 0 0,-1 0 1 0 0,1-1-1 0 0,0 0 1 0 0,0 0-1 0 0,-1 0 1 0 0,1 0-1 0 0,0-1 1 0 0,0 1-1 0 0,-1-1 1 0 0,1 0-1 0 0,0 0 1 0 0,6-3-1 0 0,1-4-58 0 0,0-1-1 0 0,-1 1 0 0 0,1-2 1 0 0,-2 1-1 0 0,1-1 1 0 0,-2-1-1 0 0,1 0 0 0 0,-1 0 1 0 0,-1 0-1 0 0,11-23 0 0 0,-6 7-178 0 0,0-1 1 0 0,-2 0-1 0 0,-2 0 0 0 0,7-33 0 0 0,-14 50 170 0 0,0-1 0 0 0,-1 1 0 0 0,0-1 0 0 0,-1 1 0 0 0,0 0 0 0 0,-1-1 0 0 0,-4-15 1 0 0,5 23 44 0 0,-1 0 0 0 0,0 0 0 0 0,0 1 0 0 0,0-1 0 0 0,-1 1 0 0 0,1 0 0 0 0,-1-1 0 0 0,0 1 0 0 0,0 0 0 0 0,-3-3 0 0 0,4 5-4 0 0,-3-5 43 0 0,-4-4-147 0 0,9 10 116 0 0,0 0 1 0 0,-1 0-1 0 0,1 0 1 0 0,-1 0-1 0 0,1 0 1 0 0,0 0-1 0 0,-1 0 1 0 0,1 0-1 0 0,0 0 1 0 0,-1 0-1 0 0,1 0 1 0 0,0 0-1 0 0,-1 0 0 0 0,1 0 1 0 0,0 0-1 0 0,-1 0 1 0 0,1 0-1 0 0,0 1 1 0 0,-1-1-1 0 0,1 0 1 0 0,0 0-1 0 0,-1 0 1 0 0,1 1-1 0 0,0-1 1 0 0,0 0-1 0 0,-1 0 1 0 0,1 1-1 0 0,0-1 1 0 0,0 0-1 0 0,0 1 1 0 0,-1-1-1 0 0,1 0 0 0 0,0 1 1 0 0,0-1-1 0 0,0 0 1 0 0,0 1-1 0 0,-1-1 1 0 0,-4 11 10 0 0,1 1 0 0 0,-1-1-1 0 0,2 0 1 0 0,0 1 0 0 0,0 0 0 0 0,1 0 0 0 0,0 0-1 0 0,0 22 1 0 0,3-7 185 0 0,0 0 0 0 0,2 0 0 0 0,5 26-1 0 0,-5-41-126 0 0,-1-1 0 0 0,2 1-1 0 0,0 0 1 0 0,0-1 0 0 0,1 0 0 0 0,12 20-1 0 0,-13-25-40 0 0,1 0 0 0 0,-1 0 0 0 0,1 0 1 0 0,1-1-1 0 0,-1 0 0 0 0,1 0 0 0 0,0 0 0 0 0,0-1 0 0 0,0 0 0 0 0,1 0 0 0 0,-1-1 0 0 0,10 4 0 0 0,-1-1-11 0 0,1-1 0 0 0,-1-1 0 0 0,1-1 0 0 0,0 0 0 0 0,0-1 0 0 0,19 0 1 0 0,-6-2-3439 0 0,32-5 0 0 0,-43 1-1890 0 0</inkml:trace>
</inkml:ink>
</file>

<file path=ppt/ink/ink2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8.9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4 686 1480 0 0,'-3'1'2120'0'0,"-27"22"3522"0"0,28-22-5097 0 0,-4 3 30 0 0,3-2-459 0 0,5-1 488 0 0,30-12-360 0 0,0 0 0 0 0,-1-2-1 0 0,-1-2 1 0 0,0-1 0 0 0,-1-1-1 0 0,0-1 1 0 0,-2-2 0 0 0,50-45-1 0 0,-61 48-180 0 0,-1 0 0 0 0,-1-1 1 0 0,0-1-1 0 0,-2 0 0 0 0,0 0 0 0 0,-1-2 0 0 0,-1 1 0 0 0,11-32 0 0 0,-16 35-11 0 0,0 0 0 0 0,-1 0 0 0 0,0 0 0 0 0,-2-1 0 0 0,0 0 0 0 0,-1 0 0 0 0,0 1 0 0 0,-2-1 0 0 0,0 0 0 0 0,-1 0 0 0 0,-6-23 0 0 0,7 36-49 0 0,-1 0 0 0 0,1 0 0 0 0,-1 0 1 0 0,0 0-1 0 0,0 0 0 0 0,-1 1 0 0 0,0-1 1 0 0,1 1-1 0 0,-2-1 0 0 0,1 1 0 0 0,0 0 1 0 0,-1 1-1 0 0,0-1 0 0 0,1 0 0 0 0,-2 1 1 0 0,1 0-1 0 0,0 0 0 0 0,-1 0 0 0 0,1 1 0 0 0,-1-1 1 0 0,0 1-1 0 0,1 0 0 0 0,-1 1 0 0 0,0-1 1 0 0,-1 1-1 0 0,1 0 0 0 0,0 0 0 0 0,0 0 1 0 0,0 1-1 0 0,-1 0 0 0 0,1 0 0 0 0,0 0 1 0 0,0 1-1 0 0,0-1 0 0 0,-1 1 0 0 0,1 1 1 0 0,0-1-1 0 0,0 1 0 0 0,0-1 0 0 0,1 2 1 0 0,-1-1-1 0 0,-4 3 0 0 0,0 1 1 0 0,0 0 0 0 0,0 0-1 0 0,1 1 1 0 0,0 0 0 0 0,1 1 0 0 0,0-1 0 0 0,0 2 0 0 0,0-1-1 0 0,1 1 1 0 0,1 0 0 0 0,-7 13 0 0 0,6-9 57 0 0,0 1 1 0 0,2-1 0 0 0,0 1-1 0 0,0 0 1 0 0,1 1-1 0 0,1-1 1 0 0,-1 27-1 0 0,3-23 5 0 0,1 0-1 0 0,0-1 1 0 0,1 1-1 0 0,1 0 0 0 0,1-1 1 0 0,0 0-1 0 0,2 0 0 0 0,0 0 1 0 0,0 0-1 0 0,2-1 0 0 0,0 0 1 0 0,1-1-1 0 0,0 0 0 0 0,13 15 1 0 0,-9-15-29 0 0,0-2 0 0 0,1 0 1 0 0,0-1-1 0 0,0 0 0 0 0,2-1 0 0 0,-1-1 1 0 0,2 0-1 0 0,-1-1 0 0 0,1-1 0 0 0,0-1 1 0 0,1 0-1 0 0,29 7 0 0 0,-35-12-22 0 0,0 1-1 0 0,0-2 0 0 0,0 0 0 0 0,0 0 1 0 0,1-1-1 0 0,-1-1 0 0 0,0 0 1 0 0,0-1-1 0 0,0 0 0 0 0,0 0 1 0 0,0-1-1 0 0,0-1 0 0 0,-1 0 0 0 0,0-1 1 0 0,1 0-1 0 0,-2-1 0 0 0,1 0 1 0 0,-1-1-1 0 0,0 0 0 0 0,12-10 1 0 0,-12 7-35 0 0,1 0 1 0 0,-2 0-1 0 0,1-1 1 0 0,-1 0-1 0 0,8-14 1 0 0,-16 23-10 0 0,-4 3-28 0 0,-1 0 50 0 0,1 1 0 0 0,0 0 1 0 0,-1 0-1 0 0,1 0 0 0 0,0 0 0 0 0,0 0 1 0 0,0 1-1 0 0,1-1 0 0 0,-1 1 0 0 0,1 0 1 0 0,-1-1-1 0 0,1 1 0 0 0,0 0 0 0 0,0 1 1 0 0,0-1-1 0 0,1 0 0 0 0,-1 1 0 0 0,1-1 1 0 0,0 1-1 0 0,0-1 0 0 0,0 1 0 0 0,-1 4 1 0 0,1-3 7 0 0,1-1 1 0 0,0 0-1 0 0,-1 1 1 0 0,2-1 0 0 0,-1 0-1 0 0,0 0 1 0 0,1 1-1 0 0,0-1 1 0 0,0 0 0 0 0,0 0-1 0 0,0 0 1 0 0,1 0-1 0 0,-1 0 1 0 0,1 0 0 0 0,0 0-1 0 0,1 0 1 0 0,-1 0-1 0 0,0-1 1 0 0,6 6 0 0 0,-2-4 14 0 0,0-1 1 0 0,0 1 0 0 0,1-1 0 0 0,0-1-1 0 0,-1 1 1 0 0,1-1 0 0 0,0 0 0 0 0,0-1 0 0 0,1 0-1 0 0,-1 0 1 0 0,0 0 0 0 0,1-1 0 0 0,-1 0-1 0 0,1-1 1 0 0,-1 0 0 0 0,1 0 0 0 0,13-2 0 0 0,-16 1-4 0 0,-1 1 0 0 0,0-1 1 0 0,1-1-1 0 0,-1 1 0 0 0,0-1 0 0 0,0 1 1 0 0,0-1-1 0 0,0 0 0 0 0,0-1 1 0 0,0 1-1 0 0,-1-1 0 0 0,1 1 1 0 0,4-6-1 0 0,-5 5-9 0 0,-1 0 0 0 0,0 0 0 0 0,0 0-1 0 0,-1 0 1 0 0,1 0 0 0 0,-1-1 0 0 0,1 1 0 0 0,-1-1 0 0 0,0 1 0 0 0,0-1 0 0 0,0 1-1 0 0,-1-1 1 0 0,1 1 0 0 0,-1-1 0 0 0,0 0 0 0 0,0 1 0 0 0,0-1 0 0 0,-2-5 0 0 0,1 4-124 0 0,0 1 0 0 0,0 0 1 0 0,0 0-1 0 0,-1 0 0 0 0,1 0 1 0 0,-1 0-1 0 0,0 0 0 0 0,0 1 1 0 0,-1-1-1 0 0,1 1 0 0 0,-1-1 1 0 0,0 1-1 0 0,0 0 1 0 0,0 0-1 0 0,0 0 0 0 0,0 0 1 0 0,-1 1-1 0 0,1-1 0 0 0,-1 1 1 0 0,0 0-1 0 0,0 0 0 0 0,0 0 1 0 0,0 0-1 0 0,-7-1 0 0 0,0 0-735 0 0,0 0 0 0 0,0 1 0 0 0,0 1 0 0 0,0 0 0 0 0,0 0 0 0 0,-1 1 0 0 0,1 0 0 0 0,-13 3 0 0 0,5 5-2336 0 0</inkml:trace>
</inkml:ink>
</file>

<file path=ppt/ink/ink2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9.2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45 4 0 0,'137'-42'8712'0'0,"-136"42"-8647"0"0,0-1-1 0 0,0 1 1 0 0,1-1 0 0 0,-1 1 0 0 0,1 0-1 0 0,-1 0 1 0 0,0 0 0 0 0,1 0-1 0 0,-1 0 1 0 0,0 0 0 0 0,1 0-1 0 0,-1 0 1 0 0,1 0 0 0 0,-1 0-1 0 0,0 1 1 0 0,1-1 0 0 0,-1 1-1 0 0,0-1 1 0 0,0 1 0 0 0,1-1-1 0 0,-1 1 1 0 0,0 0 0 0 0,0 0-1 0 0,0-1 1 0 0,0 1 0 0 0,0 0-1 0 0,0 0 1 0 0,0 0 0 0 0,0 0 0 0 0,0 0-1 0 0,0 1 1 0 0,0-1 0 0 0,-1 0-1 0 0,2 2 1 0 0,1 5 112 0 0,-1-1-1 0 0,0 1 1 0 0,0 0 0 0 0,0-1-1 0 0,0 11 1 0 0,4 16 267 0 0,-3-26-344 0 0,0 0 1 0 0,1 0 0 0 0,0 0-1 0 0,0 0 1 0 0,1-1 0 0 0,0 1-1 0 0,1-1 1 0 0,0 0 0 0 0,0-1-1 0 0,0 0 1 0 0,0 0 0 0 0,1 0-1 0 0,0 0 1 0 0,1-1 0 0 0,-1-1-1 0 0,1 1 1 0 0,0-1 0 0 0,0 0-1 0 0,0-1 1 0 0,0 0 0 0 0,1 0-1 0 0,-1-1 1 0 0,1 0 0 0 0,0 0-1 0 0,0-1 1 0 0,0 0-1 0 0,-1-1 1 0 0,1 0 0 0 0,13-2-1 0 0,-19 2-75 0 0,1-1 0 0 0,-1 1-1 0 0,0-1 1 0 0,0 0 0 0 0,0 0-1 0 0,0-1 1 0 0,0 1 0 0 0,0-1 0 0 0,0 1-1 0 0,0-1 1 0 0,0 0 0 0 0,-1 0-1 0 0,1 0 1 0 0,-1-1 0 0 0,1 1-1 0 0,-1 0 1 0 0,0-1 0 0 0,0 0-1 0 0,0 1 1 0 0,0-1 0 0 0,-1 0-1 0 0,1 0 1 0 0,-1 0 0 0 0,1 0-1 0 0,-1 0 1 0 0,0 0 0 0 0,0-1-1 0 0,-1 1 1 0 0,1 0 0 0 0,0-7-1 0 0,-1 5-51 0 0,0-1-1 0 0,0 1 1 0 0,-1-1-1 0 0,1 1 0 0 0,-1-1 1 0 0,0 1-1 0 0,-1-1 1 0 0,1 1-1 0 0,-1 0 0 0 0,0-1 1 0 0,-1 1-1 0 0,1 0 0 0 0,-1 0 1 0 0,0 1-1 0 0,0-1 1 0 0,0 1-1 0 0,-5-6 0 0 0,1 5-246 0 0,1-1-1 0 0,-1 1 0 0 0,-1 0 1 0 0,1 1-1 0 0,-1 0 0 0 0,1 0 1 0 0,-1 0-1 0 0,0 1 0 0 0,0 1 1 0 0,-1-1-1 0 0,1 1 0 0 0,-1 0 1 0 0,-14 0-1 0 0,12 1-686 0 0,0 1 0 0 0,-1 0 0 0 0,1 1-1 0 0,0 0 1 0 0,-20 5 0 0 0,31-5 878 0 0,0-1 0 0 0,-1 0 0 0 0,1 0 0 0 0,-1 0 0 0 0,1 0 0 0 0,0 0 0 0 0,-1 0 0 0 0,1 0 0 0 0,0 1 0 0 0,-1-1 0 0 0,1 0 0 0 0,-1 0 0 0 0,1 0 0 0 0,0 1 0 0 0,-1-1 0 0 0,1 0-1 0 0,0 0 1 0 0,0 1 0 0 0,-1-1 0 0 0,1 0 0 0 0,0 1 0 0 0,0-1 0 0 0,-1 0 0 0 0,1 1 0 0 0,0-1 0 0 0,0 1 0 0 0,-1 0-285 0 0</inkml:trace>
</inkml:ink>
</file>

<file path=ppt/ink/ink2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09.6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4 1276 0 0,'19'-13'3021'0'0,"-14"10"-2127"0"0,0-1 0 0 0,0 1-1 0 0,0 0 1 0 0,12-4 0 0 0,-17 7-839 0 0,1 0 0 0 0,0 0 0 0 0,-1 0 0 0 0,1 0 0 0 0,0 0 0 0 0,-1 0 0 0 0,1 0 0 0 0,0 0 0 0 0,0 0 0 0 0,-1 0 0 0 0,1 1 0 0 0,0-1-1 0 0,-1 0 1 0 0,1 0 0 0 0,-1 1 0 0 0,1-1 0 0 0,0 0 0 0 0,-1 1 0 0 0,1-1 0 0 0,-1 0 0 0 0,1 1 0 0 0,-1-1 0 0 0,1 1 0 0 0,-1-1 0 0 0,1 1 0 0 0,-1-1 0 0 0,1 1 0 0 0,-1 0 0 0 0,0-1 0 0 0,1 1 0 0 0,-1-1 0 0 0,0 1 0 0 0,1 1-1 0 0,5 21 591 0 0,17 235 596 0 0,-17-155-5023 0 0,-6-98 2946 0 0,1 0 0 0 0,0 0 0 0 0,0 0 0 0 0,3 10 0 0 0</inkml:trace>
  <inkml:trace contextRef="#ctx0" brushRef="#br0" timeOffset="1">419 127 1860 0 0,'10'-26'4349'0'0,"-10"26"-4259"0"0,0-1-1 0 0,0 1 1 0 0,0 0-1 0 0,0-1 1 0 0,0 1 0 0 0,0 0-1 0 0,0 0 1 0 0,0-1 0 0 0,0 1-1 0 0,0 0 1 0 0,0-1 0 0 0,0 1-1 0 0,0 0 1 0 0,0-1 0 0 0,0 1-1 0 0,0 0 1 0 0,0-1 0 0 0,0 1-1 0 0,-1 0 1 0 0,1 0 0 0 0,0-1-1 0 0,0 1 1 0 0,0 0 0 0 0,0-1-1 0 0,-1 1 1 0 0,1 0 0 0 0,0 0-1 0 0,-1-1 1 0 0,0 1-18 0 0,1 0 0 0 0,-1 0 1 0 0,0 0-1 0 0,0 1 0 0 0,0-1 0 0 0,0 0 0 0 0,0 0 0 0 0,1 1 1 0 0,-1-1-1 0 0,0 0 0 0 0,0 1 0 0 0,1-1 0 0 0,-1 0 1 0 0,0 1-1 0 0,0-1 0 0 0,-1 2 0 0 0,-5 3 150 0 0,0 1 1 0 0,0-1-1 0 0,1 1 0 0 0,-1 1 0 0 0,1-1 0 0 0,0 1 0 0 0,-7 10 0 0 0,12-13-181 0 0,-1-1-1 0 0,0 0 1 0 0,1 0-1 0 0,-1 1 1 0 0,1-1-1 0 0,0 1 1 0 0,0-1-1 0 0,0 1 1 0 0,1 0-1 0 0,-1-1 1 0 0,1 1-1 0 0,0 0 1 0 0,0-1-1 0 0,0 1 0 0 0,1 0 1 0 0,-1-1-1 0 0,1 1 1 0 0,0 0-1 0 0,0-1 1 0 0,0 1-1 0 0,3 6 1 0 0,0-3-26 0 0,1 0 1 0 0,0-1-1 0 0,0 1 0 0 0,1-1 1 0 0,-1 0-1 0 0,1 0 0 0 0,1 0 1 0 0,-1-1-1 0 0,1 0 1 0 0,0 0-1 0 0,0-1 0 0 0,13 6 1 0 0,10 4-936 0 0,57 17-1 0 0,-79-29 652 0 0,85 23-4880 0 0,-65-20 1908 0 0</inkml:trace>
</inkml:ink>
</file>

<file path=ppt/ink/ink2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10.3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483 4 0 0,'2'-8'2500'0'0,"4"-7"3643"0"0,4 8-5947 0 0,31-3-898 0 0,77-9 0 0 0,17-2-721 0 0,-118 16 1527 0 0,0 0 1 0 0,-1 0-1 0 0,0-2 1 0 0,0 0-1 0 0,30-18 1 0 0,-29 12 777 0 0,32-29 0 0 0,-28 22-46 0 0,-20 20-821 0 0,-1 0 1 0 0,0 0-1 0 0,1 0 0 0 0,-1-1 1 0 0,0 1-1 0 0,1 0 1 0 0,-1 0-1 0 0,0-1 0 0 0,1 1 1 0 0,-1 0-1 0 0,0-1 0 0 0,0 1 1 0 0,0 0-1 0 0,1-1 1 0 0,-1 1-1 0 0,0 0 0 0 0,0-1 1 0 0,0 1-1 0 0,0 0 1 0 0,1-1-1 0 0,-1 1 0 0 0,0-1 1 0 0,0 1-1 0 0,0 0 0 0 0,0-1 1 0 0,0 1-1 0 0,0-1 1 0 0,0 1-1 0 0,0 0 0 0 0,0-1 1 0 0,0 1-1 0 0,0 0 1 0 0,-1-1-1 0 0,1 1 0 0 0,0-1 1 0 0,0 1-1 0 0,-1-1-7 0 0,0 1-1 0 0,1 0 1 0 0,-1 0 0 0 0,0 0-1 0 0,1 0 1 0 0,-1 0 0 0 0,0 0-1 0 0,0 0 1 0 0,1 0 0 0 0,-1 0-1 0 0,0 0 1 0 0,1 0 0 0 0,-1 0-1 0 0,0 0 1 0 0,1 1 0 0 0,-1-1-1 0 0,0 0 1 0 0,1 1 0 0 0,-1-1-1 0 0,0 0 1 0 0,1 1 0 0 0,-1-1-1 0 0,1 1 1 0 0,-2 0 0 0 0,-4 4 36 0 0,0 1-1 0 0,0 0 1 0 0,1 0 0 0 0,0 1 0 0 0,0 0 0 0 0,0 0 0 0 0,1 0 0 0 0,0 0 0 0 0,0 0 0 0 0,1 1 0 0 0,0 0 0 0 0,0 0 0 0 0,1 0 0 0 0,0 0-1 0 0,0 0 1 0 0,-1 16 0 0 0,4-20-19 0 0,-1-1 0 0 0,0 1-1 0 0,1-1 1 0 0,0 1 0 0 0,-1-1 0 0 0,1 1-1 0 0,3 5 1 0 0,-3-8-16 0 0,-1 1 0 0 0,1-1 0 0 0,-1 0 0 0 0,1 0 0 0 0,0 0 0 0 0,-1 0 0 0 0,1 0 0 0 0,0 0 0 0 0,0-1 0 0 0,0 1 1 0 0,0 0-1 0 0,0 0 0 0 0,0 0 0 0 0,0-1 0 0 0,0 1 0 0 0,0-1 0 0 0,0 1 0 0 0,0-1 0 0 0,0 1 0 0 0,0-1 0 0 0,0 1 0 0 0,1-1 0 0 0,-1 0 0 0 0,0 0 0 0 0,0 0 0 0 0,2 0 0 0 0,0 0-9 0 0,0 0-1 0 0,0-1 1 0 0,0 0-1 0 0,0 1 1 0 0,0-1-1 0 0,0-1 1 0 0,0 1-1 0 0,-1 0 1 0 0,1-1-1 0 0,0 1 1 0 0,-1-1-1 0 0,1 0 1 0 0,-1 0-1 0 0,1 0 1 0 0,-1 0-1 0 0,0 0 1 0 0,0 0-1 0 0,0-1 1 0 0,0 1-1 0 0,3-6 1 0 0,1-4-54 0 0,-1 0 0 0 0,0 0-1 0 0,6-23 1 0 0,-8 28 47 0 0,0-2 14 0 0,0-3-181 0 0,-4 11 96 0 0,-5 5 65 0 0,5-2 20 0 0,0-1 0 0 0,1 1 0 0 0,-1 0 0 0 0,0-1 0 0 0,1 1 0 0 0,0 0 0 0 0,-1 0 0 0 0,1-1 0 0 0,0 1 0 0 0,0 0 0 0 0,0 0 0 0 0,0-1 0 0 0,0 1 0 0 0,0 0 0 0 0,1 2 0 0 0,-1-1 27 0 0,1 3-14 0 0,0 0 0 0 0,0-1-1 0 0,0 1 1 0 0,0 0 0 0 0,1-1 0 0 0,0 1-1 0 0,0-1 1 0 0,1 1 0 0 0,0-1-1 0 0,-1 0 1 0 0,2 0 0 0 0,-1-1-1 0 0,7 8 1 0 0,-4-5 8 0 0,1-1 0 0 0,0 0 0 0 0,0-1 0 0 0,1 0 0 0 0,-1 0 0 0 0,1 0 0 0 0,0-1 0 0 0,10 4 0 0 0,-1-2-2 0 0,0-1 0 0 0,0 0 0 0 0,1-2 0 0 0,-1 1 0 0 0,1-2 1 0 0,0-1-1 0 0,0 0 0 0 0,23-2 0 0 0,-26-1-17 0 0,0 0 0 0 0,0-1 0 0 0,0-1 0 0 0,0 0 0 0 0,-1-1 0 0 0,0 0 1 0 0,0-1-1 0 0,0-1 0 0 0,0 0 0 0 0,-1-1 0 0 0,16-12 0 0 0,-15 8 2 0 0,-1 0 0 0 0,0-1 0 0 0,-1-1 0 0 0,0 0 0 0 0,-1 0 0 0 0,0-1 0 0 0,-2 0 0 0 0,0-1 0 0 0,8-19 0 0 0,30-85 242 0 0,-42 105-117 0 0,-1-1-1 0 0,-1 0 0 0 0,0 0 0 0 0,-2 0 0 0 0,1-31 0 0 0,-2 46-131 0 0,0-1-1 0 0,0 1 1 0 0,0 0 0 0 0,0-1 0 0 0,0 1-1 0 0,0 0 1 0 0,0-1 0 0 0,-1 1 0 0 0,1 0-1 0 0,-1-1 1 0 0,1 1 0 0 0,-1 0 0 0 0,1 0-1 0 0,-1 0 1 0 0,0-1 0 0 0,0 1 0 0 0,1 0-1 0 0,-1 0 1 0 0,0 0 0 0 0,0 0 0 0 0,0 0-1 0 0,0 0 1 0 0,0 0 0 0 0,0 1 0 0 0,-1-1-1 0 0,1 0 1 0 0,0 1 0 0 0,0-1 0 0 0,0 1-1 0 0,-1-1 1 0 0,1 1 0 0 0,0-1 0 0 0,-1 1-1 0 0,1 0 1 0 0,0 0 0 0 0,-1-1 0 0 0,1 1-1 0 0,0 0 1 0 0,-1 0 0 0 0,1 0 0 0 0,0 1-1 0 0,-1-1 1 0 0,1 0 0 0 0,0 1 0 0 0,-1-1-1 0 0,-1 1 1 0 0,-5 2 25 0 0,0 0-1 0 0,0 0 0 0 0,0 1 1 0 0,0 0-1 0 0,0 0 0 0 0,-8 7 1 0 0,4-1 34 0 0,0 0 1 0 0,0 1 0 0 0,1 0 0 0 0,1 1-1 0 0,0 0 1 0 0,-12 20 0 0 0,16-23-28 0 0,1 0-1 0 0,0 0 1 0 0,0 1 0 0 0,1-1 0 0 0,1 1 0 0 0,-1 0-1 0 0,2 0 1 0 0,-1 1 0 0 0,2-1 0 0 0,-2 17 0 0 0,3-21-20 0 0,1 0 1 0 0,0 0-1 0 0,0 0 1 0 0,1 0-1 0 0,-1 0 1 0 0,1 0-1 0 0,1-1 1 0 0,-1 1-1 0 0,1-1 1 0 0,0 1-1 0 0,0-1 1 0 0,1 0-1 0 0,-1 0 1 0 0,1 0-1 0 0,0-1 1 0 0,0 1-1 0 0,1-1 1 0 0,0 0-1 0 0,-1-1 1 0 0,1 1-1 0 0,0-1 1 0 0,7 4-1 0 0,4 1 9 0 0,0 0 0 0 0,0-1 0 0 0,1 0 0 0 0,-1-1 0 0 0,2-1 0 0 0,23 3 0 0 0,-27-6-97 0 0,0-1 1 0 0,0 0 0 0 0,0-1 0 0 0,0-1-1 0 0,0 0 1 0 0,0-1 0 0 0,0-1-1 0 0,0 0 1 0 0,0-1 0 0 0,25-10 0 0 0,-3-3 1090 0 0,-1-1 0 0 0,52-38 0 0 0,-86 56-1000 0 0,-1-1 0 0 0,1 1 0 0 0,-1 0 0 0 0,1-1 0 0 0,-1 1 0 0 0,1 0 0 0 0,0-1 0 0 0,-1 1 0 0 0,1 0 0 0 0,-1 0 0 0 0,1-1 0 0 0,0 1 0 0 0,-1 0 1 0 0,1 0-1 0 0,0 0 0 0 0,-1 0 0 0 0,1 0 0 0 0,0 0 0 0 0,-1 0 0 0 0,1 0 0 0 0,0 0 0 0 0,-1 0 0 0 0,1 0 0 0 0,-1 1 0 0 0,1-1 0 0 0,0 0 0 0 0,-1 0 0 0 0,2 1 1 0 0,-1 0-6 0 0,0 0 0 0 0,0 1 1 0 0,0-1-1 0 0,0 0 0 0 0,-1 0 1 0 0,1 0-1 0 0,0 1 0 0 0,-1-1 0 0 0,1 0 1 0 0,-1 1-1 0 0,1-1 0 0 0,0 3 1 0 0,0 3 8 0 0,0 0 0 0 0,-1 0 0 0 0,1 1 0 0 0,-2 7 0 0 0,-1 24-135 0 0,1-13-2090 0 0,-2 0 0 0 0,-5 26 0 0 0,6-30-2797 0 0</inkml:trace>
</inkml:ink>
</file>

<file path=ppt/ink/ink2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10.7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 272 364 0 0,'-4'-27'1720'0'0,"2"5"-404"0"0,-2 3-356 0 0,2 0-136 0 0,-3 3-263 0 0,3-1-25 0 0,0 1-236 0 0,0 2-200 0 0,0 5-400 0 0,-1-1-452 0 0,1-2-1025 0 0</inkml:trace>
  <inkml:trace contextRef="#ctx0" brushRef="#br0" timeOffset="1">220 0 828 0 0,'4'0'1678'0'0,"-1"0"-1326"0"0,0 0-1 0 0,0 1 0 0 0,0-1 0 0 0,0 1 1 0 0,0-1-1 0 0,0 1 0 0 0,0 0 1 0 0,0 0-1 0 0,0 1 0 0 0,-1-1 1 0 0,1 0-1 0 0,0 1 0 0 0,-1 0 1 0 0,1 0-1 0 0,-1 0 0 0 0,4 3 1 0 0,-2-1 106 0 0,0 2 1 0 0,0-1-1 0 0,0 0 1 0 0,0 1-1 0 0,-1 0 1 0 0,0 0-1 0 0,3 8 1 0 0,2 10 330 0 0,-1 1 1 0 0,-1 1-1 0 0,3 25 1 0 0,-8-43-659 0 0,3 31 124 0 0,-2 0 0 0 0,-5 74 0 0 0,1 36-6478 0 0,2-147 5912 0 0,1 0 0 0 0,-1 0-1 0 0,1 0 1 0 0,-1 0-1 0 0,1 0 1 0 0,-1 0 0 0 0,1 0-1 0 0,0 0 1 0 0,0-1 0 0 0,0 1-1 0 0,0 0 1 0 0,0 0 0 0 0,0-1-1 0 0,1 1 1 0 0,-1-1-1 0 0,1 1 1 0 0,2 2 0 0 0</inkml:trace>
</inkml:ink>
</file>

<file path=ppt/ink/ink2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3:11.0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0 96 1148 0 0,'31'-80'5905'0'0,"-30"80"-5858"0"0,-1 0-1 0 0,0-1 1 0 0,0 1-1 0 0,0-1 1 0 0,0 1-1 0 0,0-1 1 0 0,0 1-1 0 0,0-1 1 0 0,0 1-1 0 0,0-1 1 0 0,0 1-1 0 0,0-1 1 0 0,0 1-1 0 0,0-1 1 0 0,0 1 0 0 0,0-1-1 0 0,0 1 1 0 0,-1-1-1 0 0,1 1 1 0 0,0 0-1 0 0,0-1 1 0 0,-1 1-1 0 0,1-1 1 0 0,0 1-1 0 0,-1 0 1 0 0,1-1-1 0 0,0 1 1 0 0,-1 0-1 0 0,1-1 1 0 0,0 1-1 0 0,-1 0 1 0 0,1-1-1 0 0,-1 1 1 0 0,1 0-1 0 0,0 0 1 0 0,-1 0-1 0 0,1-1 1 0 0,-1 1-1 0 0,1 0 1 0 0,-1 0-1 0 0,1 0 1 0 0,-1 0-1 0 0,1 0 1 0 0,-1 0-1 0 0,1 0 1 0 0,-1 0-1 0 0,1 0 1 0 0,-1 0-1 0 0,1 0 1 0 0,-1 0-1 0 0,-2 0 59 0 0,0 0 0 0 0,1 0 0 0 0,-1 0-1 0 0,0 1 1 0 0,1-1 0 0 0,-1 1 0 0 0,0-1 0 0 0,-2 2-1 0 0,0 1 28 0 0,-1 1-1 0 0,1 0 0 0 0,0-1 0 0 0,0 2 1 0 0,0-1-1 0 0,0 1 0 0 0,1-1 0 0 0,0 1 1 0 0,0 0-1 0 0,0 1 0 0 0,1-1 1 0 0,-4 8-1 0 0,5-10-94 0 0,1 0 0 0 0,0-1 1 0 0,0 1-1 0 0,0 0 0 0 0,0 0 1 0 0,1 0-1 0 0,-1 0 0 0 0,1 0 1 0 0,0 0-1 0 0,0-1 0 0 0,0 1 1 0 0,0 0-1 0 0,0 0 0 0 0,1 0 1 0 0,-1 0-1 0 0,1 0 0 0 0,0 0 1 0 0,0 0-1 0 0,0-1 0 0 0,0 1 1 0 0,0 0-1 0 0,1-1 0 0 0,-1 1 1 0 0,1-1-1 0 0,0 1 0 0 0,0-1 1 0 0,-1 0-1 0 0,6 4 0 0 0,0 0 15 0 0,1-1-1 0 0,1 0 0 0 0,-1 0 1 0 0,1 0-1 0 0,-1-2 0 0 0,1 1 1 0 0,0-1-1 0 0,1 0 0 0 0,-1-1 1 0 0,0 0-1 0 0,17 1 0 0 0,-6-1 10 0 0,1-1-1 0 0,0-1 1 0 0,0-1-1 0 0,29-4 1 0 0,-33 1-77 0 0,0 0 0 0 0,1-2-1 0 0,-2 0 1 0 0,1 0 0 0 0,-1-2 0 0 0,18-10 0 0 0,-25 14 0 0 0,-1-1 0 0 0,0-1 0 0 0,-1 0 0 0 0,1 0 0 0 0,-1 0-1 0 0,-1-1 1 0 0,1 0 0 0 0,-1 0 0 0 0,0 0 0 0 0,0-1 0 0 0,-1 0 0 0 0,0 0 0 0 0,3-10 0 0 0,-7 17 13 0 0,-1 1 1 0 0,0-1-1 0 0,1 1 0 0 0,-1-1 1 0 0,0 1-1 0 0,0-1 1 0 0,1 1-1 0 0,-1-1 0 0 0,0 0 1 0 0,0 1-1 0 0,0-1 0 0 0,0 0 1 0 0,0 1-1 0 0,0-1 1 0 0,0 1-1 0 0,0-1 0 0 0,0 0 1 0 0,0 1-1 0 0,0-1 1 0 0,0 1-1 0 0,-1-1 0 0 0,1 0 1 0 0,0 1-1 0 0,0-1 0 0 0,-1 1 1 0 0,1-1-1 0 0,0 1 1 0 0,-1-1-1 0 0,1 1 0 0 0,0-1 1 0 0,-1 1-1 0 0,1-1 0 0 0,-1 1 1 0 0,1-1-1 0 0,-1 1 1 0 0,1 0-1 0 0,-1-1 0 0 0,1 1 1 0 0,-1 0-1 0 0,0 0 0 0 0,1-1 1 0 0,-1 1-1 0 0,1 0 1 0 0,-1 0-1 0 0,0-1 0 0 0,-1 1-3 0 0,0 0 0 0 0,0 0-1 0 0,0 0 1 0 0,0 0 0 0 0,0 1-1 0 0,0-1 1 0 0,0 0-1 0 0,0 1 1 0 0,1-1 0 0 0,-1 1-1 0 0,0 0 1 0 0,0 0 0 0 0,1-1-1 0 0,-3 3 1 0 0,0-1 9 0 0,1 0 0 0 0,0 1 0 0 0,0 0 0 0 0,1-1 0 0 0,-1 1 0 0 0,1 0 0 0 0,-1 1 0 0 0,1-1 0 0 0,0 0 0 0 0,0 1-1 0 0,0-1 1 0 0,1 1 0 0 0,-1-1 0 0 0,1 1 0 0 0,0 0 0 0 0,0-1 0 0 0,0 1 0 0 0,0 0 0 0 0,1 0 0 0 0,-1 0 0 0 0,1 0 0 0 0,0 0 0 0 0,0 0 0 0 0,1 0 0 0 0,-1 0 0 0 0,1-1 0 0 0,0 1 0 0 0,0 0 0 0 0,2 4 0 0 0,1 3-186 0 0,0 0 0 0 0,1-1 1 0 0,1 0-1 0 0,-1 0 0 0 0,2 0 1 0 0,-1-1-1 0 0,1 0 0 0 0,14 14 0 0 0,28 21-4734 0 0,-23-24 272 0 0</inkml:trace>
</inkml:ink>
</file>

<file path=ppt/ink/ink2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1:44.0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4 1576 0 0,'0'0'2156'0'0,"8"-9"573"0"0,0 2-1653 0 0,0-1-1640 0 0</inkml:trace>
</inkml:ink>
</file>

<file path=ppt/ink/ink2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1:51.4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8 0 268 0 0,'-34'4'7243'0'0,"30"-4"-6877"0"0,-10 0-92 0 0,10 0 124 0 0,3 0-382 0 0,1 0 0 0 0,-1 1 1 0 0,0-1-1 0 0,0 0 1 0 0,1 0-1 0 0,-1 1 0 0 0,1-1 1 0 0,-1 0-1 0 0,0 1 0 0 0,1-1 1 0 0,-1 0-1 0 0,1 1 0 0 0,-1-1 1 0 0,1 1-1 0 0,-1-1 0 0 0,0 2 1 0 0,5 2-366 0 0,0-1 1 0 0,0 0 0 0 0,0 1-1 0 0,0-1 1 0 0,1-1 0 0 0,-1 1-1 0 0,1-1 1 0 0,0 0 0 0 0,-1 0-1 0 0,1 0 1 0 0,8 1 0 0 0,-10-2 68 0 0,26 8-1683 0 0</inkml:trace>
</inkml:ink>
</file>

<file path=ppt/ink/ink2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2.0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25 104 212 0 0,'-3'-1'1321'0'0,"-5"-2"-542"0"0,-1 0 1 0 0,2 0-1 0 0,-1-1 1 0 0,0 0 0 0 0,1 0-1 0 0,-1-1 1 0 0,-6-5-1 0 0,-3-4 2106 0 0,-26-27-1 0 0,42 40-2835 0 0,0 0 1 0 0,0 0-1 0 0,-1 0 1 0 0,1 0 0 0 0,0 0-1 0 0,-1 0 1 0 0,1 0-1 0 0,-1 1 1 0 0,0-1-1 0 0,1 0 1 0 0,-1 1-1 0 0,1-1 1 0 0,-1 1-1 0 0,0 0 1 0 0,1-1-1 0 0,-1 1 1 0 0,0 0-1 0 0,1 0 1 0 0,-1 0-1 0 0,0 0 1 0 0,1 1 0 0 0,-1-1-1 0 0,0 0 1 0 0,1 1-1 0 0,-3 0 1 0 0,-3 2-29 0 0,1 0-1 0 0,0 0 1 0 0,-1 0 0 0 0,-8 7 0 0 0,-4 4 44 0 0,0 1 0 0 0,1 1-1 0 0,0 1 1 0 0,1 0 0 0 0,1 2-1 0 0,1-1 1 0 0,1 2 0 0 0,-21 35 0 0 0,29-43-18 0 0,0 1 0 0 0,1 0 1 0 0,0 1-1 0 0,1-1 1 0 0,0 1-1 0 0,1 0 0 0 0,-1 15 1 0 0,3-19 1 0 0,1-1 1 0 0,0 1 0 0 0,0-1 0 0 0,1 1 0 0 0,1-1 0 0 0,0 1-1 0 0,0-1 1 0 0,1 0 0 0 0,0 1 0 0 0,0-1 0 0 0,6 11 0 0 0,-5-14-2 0 0,0 1 1 0 0,0-1-1 0 0,0 0 1 0 0,1 0-1 0 0,0-1 0 0 0,0 1 1 0 0,0-1-1 0 0,1 0 1 0 0,0-1-1 0 0,0 1 1 0 0,0-1-1 0 0,0 0 1 0 0,1-1-1 0 0,-1 1 1 0 0,1-1-1 0 0,12 3 1 0 0,-14-5-36 0 0,0 0 0 0 0,0 0 0 0 0,0 0 1 0 0,1-1-1 0 0,-1 0 0 0 0,0 0 0 0 0,1 0 0 0 0,-1-1 0 0 0,0 1 0 0 0,0-1 0 0 0,1-1 1 0 0,-1 1-1 0 0,0-1 0 0 0,0 0 0 0 0,-1 0 0 0 0,1 0 0 0 0,0-1 0 0 0,-1 1 0 0 0,1-1 1 0 0,-1 0-1 0 0,0-1 0 0 0,0 1 0 0 0,0-1 0 0 0,4-4 0 0 0,2-5-53 0 0,-1-1 0 0 0,0 1-1 0 0,-1-2 1 0 0,0 1-1 0 0,-1-1 1 0 0,-1 0 0 0 0,0-1-1 0 0,-1 1 1 0 0,-1-1 0 0 0,0 0-1 0 0,-2 0 1 0 0,1-1-1 0 0,-2 1 1 0 0,0 0 0 0 0,-1-1-1 0 0,-1 1 1 0 0,0-1 0 0 0,-1 1-1 0 0,-8-28 1 0 0,7 35 0 0 0,0 1 0 0 0,0 0-1 0 0,-8-13 1 0 0,10 19 27 0 0,-1 0-1 0 0,1-1 1 0 0,-1 1 0 0 0,0 0-1 0 0,0 0 1 0 0,0 0 0 0 0,0 0-1 0 0,0 0 1 0 0,0 0 0 0 0,0 0-1 0 0,-1 1 1 0 0,1-1 0 0 0,-1 1 0 0 0,-3-2-1 0 0,5 3 13 0 0,-1-1 0 0 0,0 1-1 0 0,0-1 1 0 0,1 1 0 0 0,-1 0 0 0 0,0 0-1 0 0,0 0 1 0 0,1 0 0 0 0,-1 0 0 0 0,0 0-1 0 0,0 0 1 0 0,0 1 0 0 0,1-1 0 0 0,-1 1-1 0 0,0-1 1 0 0,1 1 0 0 0,-1 0 0 0 0,0-1-1 0 0,1 1 1 0 0,-1 0 0 0 0,1 0 0 0 0,-1 0-1 0 0,1 0 1 0 0,0 1 0 0 0,-1-1-1 0 0,1 0 1 0 0,0 0 0 0 0,0 1 0 0 0,0-1-1 0 0,0 1 1 0 0,0-1 0 0 0,0 1 0 0 0,0-1-1 0 0,0 1 1 0 0,1 0 0 0 0,-1 1 0 0 0,-1 3 30 0 0,0 0 1 0 0,0 0 0 0 0,1 0-1 0 0,0 0 1 0 0,0 0 0 0 0,1 0-1 0 0,0 0 1 0 0,1 12 0 0 0,2 3 77 0 0,2 0-1 0 0,1-1 1 0 0,0 0 0 0 0,1 0 0 0 0,13 25-1 0 0,59 93 628 0 0,-51-92-571 0 0,-11-17-155 0 0,-6-8-649 0 0,2 0-1 0 0,0-1 0 0 0,1 0 1 0 0,26 28-1 0 0,-38-47 83 0 0,-1 0-1 0 0,1 1 1 0 0,-1-1 0 0 0,1 0-1 0 0,0 0 1 0 0,0 0-1 0 0,0 0 1 0 0,-1 0 0 0 0,1-1-1 0 0,0 1 1 0 0,0 0-1 0 0,0-1 1 0 0,4 1 0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9.3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 1 1696 0 0,'-1'13'1143'0'0,"-1"0"-1"0"0,0 0 0 0 0,-1 0 1 0 0,0 0-1 0 0,-9 22 1 0 0,7-24-850 0 0,1-1 1 0 0,1 1 0 0 0,0 0-1 0 0,0 0 1 0 0,1 1 0 0 0,1-1-1 0 0,0 0 1 0 0,1 19 0 0 0,1-20-134 0 0,1-1 0 0 0,0 1 0 0 0,0 0 0 0 0,1 0 0 0 0,1-1 0 0 0,5 13 0 0 0,-6-18-75 0 0,-1 1 0 0 0,1-1-1 0 0,0 0 1 0 0,0 0 0 0 0,0 0 0 0 0,1 0 0 0 0,0 0-1 0 0,-1 0 1 0 0,1-1 0 0 0,0 0 0 0 0,1 0-1 0 0,-1 0 1 0 0,1 0 0 0 0,-1-1 0 0 0,6 2 0 0 0,18 3 327 0 0,-26-7-394 0 0,-1 0 0 0 0,1 0 0 0 0,-1 0 0 0 0,1 0 0 0 0,-1 0 0 0 0,1 0 0 0 0,-1 0 0 0 0,1-1 0 0 0,-1 1 0 0 0,1-1 0 0 0,-1 1 0 0 0,1-1 0 0 0,-1 1 0 0 0,0-1 1 0 0,1 0-1 0 0,-1 1 0 0 0,0-1 0 0 0,0 0 0 0 0,1 0 0 0 0,-1 0 0 0 0,0 0 0 0 0,1-2 0 0 0,1-2-57 0 0,0 1-1 0 0,0-1 1 0 0,-1 0 0 0 0,0 0-1 0 0,0 0 1 0 0,0-1 0 0 0,0 1-1 0 0,-1 0 1 0 0,0-1 0 0 0,0 1-1 0 0,-1-1 1 0 0,0 1 0 0 0,1 0-1 0 0,-2-1 1 0 0,1 1 0 0 0,-1-1-1 0 0,0 1 1 0 0,0-1 0 0 0,0 1-1 0 0,-1 0 1 0 0,1-1 0 0 0,-1 1-1 0 0,-1 0 1 0 0,1 0 0 0 0,-4-4-1 0 0,-19-22-1952 0 0,21 27 1245 0 0,0 0 0 0 0,1 0 0 0 0,-1 0 0 0 0,1 0 0 0 0,0-1 0 0 0,0 1 0 0 0,1-1 0 0 0,-4-8 0 0 0</inkml:trace>
</inkml:ink>
</file>

<file path=ppt/ink/ink2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2.4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1 1596 0 0,'0'0'1936'0'0,"-14"1"1541"0"0,-4 3-953 0 0,38 0-2400 0 0,12-1-536 0 0,-12-1-152 0 0,4 0-416 0 0,-2-2-280 0 0,6 2-757 0 0,0-1-3 0 0</inkml:trace>
</inkml:ink>
</file>

<file path=ppt/ink/ink2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2.8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8 309 1636 0 0,'11'-14'7216'0'0,"-7"12"-6560"0"0,-2 16-193 0 0,-1-1-1 0 0,0 0 1 0 0,-1 1-1 0 0,-1-1 1 0 0,0 1-1 0 0,0-1 1 0 0,-5 15-1 0 0,-2 33 167 0 0,-30 288-1660 0 0,37-340 287 0 0,-3 12-564 0 0,-2-7-3706 0 0,1-5 1678 0 0</inkml:trace>
  <inkml:trace contextRef="#ctx0" brushRef="#br0" timeOffset="1">46 109 1112 0 0,'-20'-55'7549'0'0,"-5"4"-5522"0"0,24 49-2334 0 0</inkml:trace>
</inkml:ink>
</file>

<file path=ppt/ink/ink2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3.2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334 1488 0 0,'12'92'5962'0'0,"0"145"1"0"0,-12-237-5922 0 0,1 0 0 0 0,-1 1 1 0 0,0-1-1 0 0,0 0 0 0 0,0 1 1 0 0,0-1-1 0 0,0 0 1 0 0,0 1-1 0 0,0-1 0 0 0,0 0 1 0 0,0 0-1 0 0,0 1 1 0 0,0-1-1 0 0,0 0 0 0 0,0 1 1 0 0,0-1-1 0 0,0 0 1 0 0,0 1-1 0 0,0-1 0 0 0,-1 0 1 0 0,1 0-1 0 0,0 1 0 0 0,0-1 1 0 0,0 0-1 0 0,0 1 1 0 0,-1-1-1 0 0,1 0 0 0 0,0 0 1 0 0,0 0-1 0 0,-1 1 1 0 0,1-1-1 0 0,0 0 0 0 0,0 0 1 0 0,-1 0-1 0 0,1 1 1 0 0,0-1-1 0 0,0 0 0 0 0,-1 0 1 0 0,-10-9 443 0 0,-6-21-315 0 0,11 9-64 0 0,1-1 1 0 0,0 0-1 0 0,2-1 0 0 0,0 1 0 0 0,2-1 0 0 0,1-32 1 0 0,4 12 78 0 0,1 0 0 0 0,16-60 0 0 0,-16 85-170 0 0,1 1 1 0 0,0-1 0 0 0,1 1-1 0 0,1 1 1 0 0,1-1-1 0 0,0 1 1 0 0,1 1 0 0 0,21-26-1 0 0,-25 34-230 0 0,1 0-1 0 0,-1 0 1 0 0,1 1-1 0 0,1 0 1 0 0,-1 0 0 0 0,1 1-1 0 0,0-1 1 0 0,0 2-1 0 0,0-1 1 0 0,1 1-1 0 0,0 1 1 0 0,0-1-1 0 0,0 1 1 0 0,0 1 0 0 0,0 0-1 0 0,0 0 1 0 0,1 1-1 0 0,16-1 1 0 0,-22 3-211 0 0,0-1 1 0 0,0 0-1 0 0,-1 1 1 0 0,1 0 0 0 0,0-1-1 0 0,-1 1 1 0 0,1 1-1 0 0,-1-1 1 0 0,1 1-1 0 0,-1-1 1 0 0,1 1-1 0 0,-1 0 1 0 0,0 0-1 0 0,0 0 1 0 0,3 4 0 0 0,1 6-3392 0 0</inkml:trace>
</inkml:ink>
</file>

<file path=ppt/ink/ink2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3.6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8 1 2068 0 0,'-36'37'10122'0'0,"36"-37"-10095"0"0,0 0 0 0 0,0 0 1 0 0,-1 0-1 0 0,1 1 0 0 0,0-1 0 0 0,0 0 0 0 0,0 0 0 0 0,0 0 0 0 0,0 1 1 0 0,0-1-1 0 0,0 0 0 0 0,0 0 0 0 0,0 0 0 0 0,0 1 0 0 0,0-1 0 0 0,0 0 0 0 0,0 0 1 0 0,0 0-1 0 0,0 1 0 0 0,0-1 0 0 0,0 0 0 0 0,0 0 0 0 0,0 0 0 0 0,0 1 1 0 0,0-1-1 0 0,0 0 0 0 0,0 0 0 0 0,0 0 0 0 0,0 1 0 0 0,0-1 0 0 0,0 0 0 0 0,0 0 1 0 0,1 0-1 0 0,-1 0 0 0 0,0 1 0 0 0,0-1 0 0 0,0 0 0 0 0,0 0 0 0 0,1 0 1 0 0,-1 0-1 0 0,0 0 0 0 0,0 0 0 0 0,0 0 0 0 0,0 1 0 0 0,1-1 0 0 0,-1 0 0 0 0,0 0 1 0 0,99 6 534 0 0,-20-1-2627 0 0,-1 2-4096 0 0,-58-6 2736 0 0</inkml:trace>
</inkml:ink>
</file>

<file path=ppt/ink/ink2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3.9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4 9 1920 0 0,'-12'-8'4964'0'0,"11"8"-4856"0"0,0 0 0 0 0,0-1 0 0 0,-1 1 0 0 0,1 0 0 0 0,0 0-1 0 0,0 0 1 0 0,0 0 0 0 0,0 0 0 0 0,-1 1 0 0 0,1-1 0 0 0,0 0 0 0 0,0 1 0 0 0,0-1 0 0 0,0 0 0 0 0,0 1 0 0 0,0-1-1 0 0,0 1 1 0 0,0-1 0 0 0,0 1 0 0 0,0 0 0 0 0,0 0 0 0 0,0-1 0 0 0,0 1 0 0 0,-1 1 0 0 0,0 1 99 0 0,0 0 0 0 0,-1 1 0 0 0,1-1 1 0 0,0 1-1 0 0,1-1 0 0 0,-1 1 0 0 0,-1 5 0 0 0,-2 7 490 0 0,2 0-1 0 0,-4 28 0 0 0,6-24-453 0 0,1-1 1 0 0,1 0-1 0 0,0 0 1 0 0,1 0-1 0 0,1 0 0 0 0,1 0 1 0 0,1 0-1 0 0,1-1 1 0 0,8 19-1 0 0,-12-31-184 0 0,2 1 0 0 0,-1-1 0 0 0,1 0 0 0 0,0 0 1 0 0,0-1-1 0 0,0 1 0 0 0,1-1 0 0 0,0 0 0 0 0,0 0 0 0 0,0 0 0 0 0,0-1 0 0 0,9 5 0 0 0,-11-8-82 0 0,0 0-1 0 0,0-1 0 0 0,0 1 1 0 0,0-1-1 0 0,0 0 0 0 0,0 0 0 0 0,0 0 1 0 0,0 0-1 0 0,0-1 0 0 0,0 1 1 0 0,0-1-1 0 0,0 0 0 0 0,0 0 1 0 0,0 0-1 0 0,-1 0 0 0 0,1 0 1 0 0,0-1-1 0 0,-1 1 0 0 0,1-1 1 0 0,0 1-1 0 0,3-5 0 0 0,4-3-200 0 0,-1-1-1 0 0,13-16 1 0 0,-2 4-199 0 0,-19 20 318 0 0,2 2-73 0 0,10 6 94 0 0,-11-1 70 0 0,0 2 109 0 0,6 4 307 0 0,2-1-1 0 0,-1 0 1 0 0,1 0 0 0 0,15 11 0 0 0,-20-18-106 0 0,0 1-1 0 0,0-1 0 0 0,0 0 1 0 0,0-1-1 0 0,1 1 1 0 0,0-1-1 0 0,-1 0 0 0 0,1-1 1 0 0,0 1-1 0 0,0-1 1 0 0,0 0-1 0 0,9 0 1 0 0,-12-1-232 0 0,0-1 1 0 0,0 1-1 0 0,0-1 1 0 0,0 1 0 0 0,0-1-1 0 0,0 0 1 0 0,0 0 0 0 0,-1 0-1 0 0,1 0 1 0 0,0-1-1 0 0,-1 1 1 0 0,1-1 0 0 0,-1 0-1 0 0,1 1 1 0 0,-1-1 0 0 0,0 0-1 0 0,1 0 1 0 0,-1-1-1 0 0,0 1 1 0 0,-1 0 0 0 0,1-1-1 0 0,0 1 1 0 0,-1-1-1 0 0,1 0 1 0 0,-1 1 0 0 0,0-1-1 0 0,0 0 1 0 0,0 0 0 0 0,1-5-1 0 0,1-4-97 0 0,-1 1 0 0 0,-1 0 0 0 0,0 0 0 0 0,0 0 1 0 0,-1-1-1 0 0,-2-16 0 0 0,1 16-523 0 0,-1 0 0 0 0,-1 0 0 0 0,0 1 0 0 0,-1-1 0 0 0,-6-13 0 0 0,6 16-1190 0 0,-1 0 0 0 0,0 0-1 0 0,-10-12 1 0 0,15 21 1626 0 0,-1-1-1 0 0,1 1 1 0 0,-1-1-601 0 0,0 0 600 0 0,1 1 1 0 0,0 0 0 0 0,0-1 0 0 0,0 1-1 0 0,0 0 1 0 0,0-1 0 0 0,-1 1 0 0 0,1-1-1 0 0,0 1 1 0 0,0 0 0 0 0,0-1 0 0 0,0 1-1 0 0,0 0 1 0 0,0-1 0 0 0,0 1 0 0 0,0 0-1 0 0,0-1 1 0 0,0 1 0 0 0,1-1 0 0 0,-1 1-1 0 0,0 0 1 0 0,0-1 0 0 0,0 1 0 0 0,0 0-1 0 0,0-1 1 0 0,1 1 0 0 0,-1 0 0 0 0,0 0-1 0 0,0-1 1 0 0,2 0-601 0 0,-2 1 600 0 0,1-1 1 0 0,-1 1 0 0 0,0 0 0 0 0,1 0-1 0 0,-1 0 1 0 0,0 0 0 0 0,1 0 0 0 0,-1 0-1 0 0,0 0 1 0 0,1-1 0 0 0,-1 1 0 0 0,0 0-1 0 0,1 0 1 0 0,-1 0 0 0 0,1 0 0 0 0,-1 1-1 0 0,0-1 1 0 0,1 0 0 0 0,-1 0 0 0 0,0 0-1 0 0,1 0 1 0 0,0 0 0 0 0,10 2-1163 0 0</inkml:trace>
</inkml:ink>
</file>

<file path=ppt/ink/ink2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4.34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70 1548 0 0,'24'7'597'0'0,"0"-2"0"0"0,0 0 1 0 0,0-2-1 0 0,0-1 0 0 0,0 0 0 0 0,1-2 0 0 0,-1-1 0 0 0,1-1 0 0 0,-1-1 1 0 0,0-1-1 0 0,0-1 0 0 0,-1-1 0 0 0,34-13 0 0 0,-55 18-498 0 0,1 0-1 0 0,-1 1 0 0 0,0-1 0 0 0,0 0 1 0 0,0 0-1 0 0,0 0 0 0 0,-1-1 0 0 0,1 1 1 0 0,0 0-1 0 0,0-1 0 0 0,-1 1 1 0 0,1-1-1 0 0,0 1 0 0 0,-1-1 0 0 0,0 0 1 0 0,1 0-1 0 0,-1 0 0 0 0,0 0 0 0 0,0 0 1 0 0,0 0-1 0 0,0 0 0 0 0,-1 0 1 0 0,1 0-1 0 0,0-3 0 0 0,-1 4-66 0 0,-1 0 0 0 0,1 1 0 0 0,-1-1 0 0 0,1 0-1 0 0,-1 0 1 0 0,0 0 0 0 0,1 1 0 0 0,-1-1 0 0 0,0 0 0 0 0,0 1 0 0 0,0-1-1 0 0,1 1 1 0 0,-1-1 0 0 0,0 1 0 0 0,0-1 0 0 0,0 1 0 0 0,0-1 0 0 0,0 1-1 0 0,0 0 1 0 0,0 0 0 0 0,0-1 0 0 0,0 1 0 0 0,0 0 0 0 0,0 0 0 0 0,0 0-1 0 0,0 0 1 0 0,-2 0 0 0 0,-28 1 475 0 0,23 0-378 0 0,0 1 1 0 0,0 0-1 0 0,0 0 1 0 0,0 1-1 0 0,0 0 0 0 0,0 1 1 0 0,1 0-1 0 0,0 0 1 0 0,-1 0-1 0 0,2 1 0 0 0,-1 0 1 0 0,-11 11-1 0 0,14-12-31 0 0,0 0 0 0 0,0 1 0 0 0,0-1 0 0 0,0 1 0 0 0,1 0 0 0 0,0 0 0 0 0,0 0-1 0 0,0 0 1 0 0,0 0 0 0 0,1 1 0 0 0,0-1 0 0 0,0 1 0 0 0,1 0 0 0 0,-1-1 0 0 0,1 1 0 0 0,1 0-1 0 0,-1 0 1 0 0,1 11 0 0 0,1-12-56 0 0,0 1 0 0 0,1-1 1 0 0,0 0-1 0 0,0 1 0 0 0,1-1 0 0 0,-1 0 0 0 0,1 0 0 0 0,0 0 0 0 0,0-1 0 0 0,0 1 1 0 0,1-1-1 0 0,0 1 0 0 0,0-1 0 0 0,0 0 0 0 0,0-1 0 0 0,1 1 0 0 0,-1-1 0 0 0,7 4 1 0 0,7 3-369 0 0,0 0 0 0 0,1-2 0 0 0,33 12 0 0 0,-39-16-318 0 0,1 0-1 0 0,-1-1 1 0 0,1-1 0 0 0,0 0-1 0 0,15 0 1 0 0,-18-3-647 0 0,0 1 0 0 0,0-1 0 0 0,0-1-1 0 0,11-2 1 0 0,2-3-2786 0 0</inkml:trace>
</inkml:ink>
</file>

<file path=ppt/ink/ink2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5.0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65 7 1292 0 0,'-11'-2'655'0'0,"0"0"1"0"0,-1 1-1 0 0,1 0 0 0 0,-1 0 1 0 0,1 1-1 0 0,-1 1 0 0 0,1 0 1 0 0,0 1-1 0 0,-1 0 0 0 0,1 1 1 0 0,-14 5-1 0 0,7-2-317 0 0,1 1 0 0 0,0 2 0 0 0,1-1-1 0 0,0 2 1 0 0,0 0 0 0 0,-17 15 0 0 0,26-19-192 0 0,-1 1 1 0 0,1 0-1 0 0,1 0 0 0 0,-1 0 1 0 0,1 1-1 0 0,0 0 0 0 0,1 0 1 0 0,0 1-1 0 0,1-1 0 0 0,-1 1 1 0 0,1 0-1 0 0,-4 16 0 0 0,7-19-79 0 0,0 0 0 0 0,0 0 0 0 0,0 1 0 0 0,1-1 0 0 0,0 0 0 0 0,0 1 0 0 0,1-1-1 0 0,0 0 1 0 0,0 1 0 0 0,0-1 0 0 0,1 0 0 0 0,0 0 0 0 0,0 0 0 0 0,0 0 0 0 0,1 0 0 0 0,0-1-1 0 0,0 1 1 0 0,1-1 0 0 0,-1 0 0 0 0,7 7 0 0 0,-7-8-53 0 0,1 0-1 0 0,0 0 1 0 0,1 0-1 0 0,-1 0 1 0 0,1-1-1 0 0,0 1 1 0 0,-1-1 0 0 0,1 0-1 0 0,1-1 1 0 0,-1 1-1 0 0,0-1 1 0 0,1 0 0 0 0,-1-1-1 0 0,1 1 1 0 0,-1-1-1 0 0,1 0 1 0 0,0 0-1 0 0,0-1 1 0 0,-1 0 0 0 0,1 0-1 0 0,0 0 1 0 0,7-1-1 0 0,-5-1-84 0 0,0 0 0 0 0,0 0 0 0 0,0-1 0 0 0,-1 0 0 0 0,1 0 0 0 0,-1-1 0 0 0,0 0-1 0 0,0 0 1 0 0,0-1 0 0 0,-1 1 0 0 0,0-2 0 0 0,0 1 0 0 0,0-1 0 0 0,0 1 0 0 0,7-11 0 0 0,-2 1 32 0 0,-1 0 1 0 0,0 0-1 0 0,-1-1 1 0 0,0 0-1 0 0,-1-1 1 0 0,-1 1-1 0 0,5-20 1 0 0,-13 25 18 0 0,-5 11 62 0 0,5 1-30 0 0,0 0-1 0 0,0 0 1 0 0,0 0-1 0 0,0 0 1 0 0,0 0 0 0 0,0 0-1 0 0,0 1 1 0 0,0-1-1 0 0,0 0 1 0 0,1 0 0 0 0,-1 1-1 0 0,0-1 1 0 0,0 3-1 0 0,0 5 92 0 0,0-1 0 0 0,1 1 0 0 0,0 0 0 0 0,0 0 0 0 0,1 0-1 0 0,0 0 1 0 0,1 0 0 0 0,0 0 0 0 0,0 0 0 0 0,1-1 0 0 0,0 1-1 0 0,5 8 1 0 0,-6-11-16 0 0,1 0 0 0 0,1 0 0 0 0,-1 0 0 0 0,1-1 0 0 0,0 1 0 0 0,0-1 0 0 0,0 0 0 0 0,1 0 0 0 0,0-1 0 0 0,0 1 0 0 0,0-1 0 0 0,0 0 0 0 0,1 0 0 0 0,0-1 0 0 0,-1 0 0 0 0,11 5 0 0 0,-13-8-78 0 0,0 1 1 0 0,0 0-1 0 0,0-1 1 0 0,-1 0-1 0 0,1 0 1 0 0,0 0-1 0 0,0 0 1 0 0,0 0-1 0 0,0 0 1 0 0,0-1-1 0 0,0 1 1 0 0,0-1-1 0 0,-1 0 1 0 0,1 0-1 0 0,0 0 1 0 0,-1 0-1 0 0,1 0 1 0 0,0-1-1 0 0,-1 1 1 0 0,0-1-1 0 0,1 0 1 0 0,-1 1-1 0 0,0-1 1 0 0,0 0-1 0 0,0-1 1 0 0,0 1-1 0 0,0 0 1 0 0,2-4-1 0 0,4-6-139 0 0,-2 0-1 0 0,1 0 0 0 0,-2-1 0 0 0,7-19 0 0 0,-9 24 54 0 0,41-161-649 0 0,-36 133 532 0 0,-8 35 190 0 0,0 1 0 0 0,0-1-1 0 0,0 1 1 0 0,1-1 0 0 0,-1 1-1 0 0,0-1 1 0 0,0 1 0 0 0,1-1-1 0 0,-1 1 1 0 0,0-1 0 0 0,1 1 0 0 0,-1-1-1 0 0,0 1 1 0 0,1 0 0 0 0,-1-1-1 0 0,1 1 1 0 0,-1 0 0 0 0,0-1-1 0 0,1 1 1 0 0,-1 0 0 0 0,1 0-1 0 0,-1-1 1 0 0,1 1 0 0 0,-1 0-1 0 0,1 0 1 0 0,-1 0 0 0 0,1 0-1 0 0,0-1 1 0 0,-1 1 0 0 0,1 0-1 0 0,-1 0 1 0 0,1 0 0 0 0,-1 0-1 0 0,1 0 1 0 0,-1 0 0 0 0,1 1-1 0 0,-1-1 1 0 0,1 0 0 0 0,-1 0-1 0 0,1 0 1 0 0,-1 0 0 0 0,1 1 0 0 0,-1-1-1 0 0,1 1 1 0 0,22 13-35 0 0,-16-6 72 0 0,0 0 0 0 0,-1 1-1 0 0,0 0 1 0 0,0 0 0 0 0,6 15 0 0 0,20 52 472 0 0,-30-70-452 0 0,5 10 169 0 0,-1 1 0 0 0,-1 0 1 0 0,0 0-1 0 0,-2 0 0 0 0,4 31 0 0 0,-7-42-179 0 0,0-1 1 0 0,0 0 0 0 0,-1 0 0 0 0,1 0 0 0 0,-1 1 0 0 0,0-1-1 0 0,-1 0 1 0 0,1 0 0 0 0,-1 0 0 0 0,0-1 0 0 0,0 1 0 0 0,-1 0-1 0 0,1-1 1 0 0,-1 1 0 0 0,0-1 0 0 0,0 0 0 0 0,-1 0 0 0 0,1 0-1 0 0,-1-1 1 0 0,0 1 0 0 0,0-1 0 0 0,0 1 0 0 0,-7 3 0 0 0,1-2-330 0 0,1 0 0 0 0,0-1 0 0 0,-1 0 0 0 0,0 0 0 0 0,0-1 1 0 0,0 0-1 0 0,-18 2 0 0 0,26-5 88 0 0,0 0 1 0 0,1 0-1 0 0,-1 0 0 0 0,1 0 1 0 0,-1 0-1 0 0,1 0 1 0 0,-1 0-1 0 0,1 0 0 0 0,-1 0 1 0 0,1-1-1 0 0,-1 1 1 0 0,1-1-1 0 0,-1 1 0 0 0,1-1 1 0 0,-1 0-1 0 0,1 1 1 0 0,0-1-1 0 0,-2-1 0 0 0,2 2 1 0 0,1-1 0 0 0,-1 0 0 0 0,1 1 0 0 0,0-1 0 0 0,-1 0 0 0 0,1 1 0 0 0,0-1 0 0 0,-1 0 0 0 0,1 0 0 0 0,0 1 0 0 0,0-1 0 0 0,-1 0 0 0 0,1 0 0 0 0,0 1 0 0 0,0-1 0 0 0,0 0 0 0 0,0 0 0 0 0,0 0 0 0 0,0 1 0 0 0,0-1 0 0 0,0 0 0 0 0,1 0 0 0 0,-1 1 0 0 0,0-1 0 0 0,0 0 0 0 0,1 0 0 0 0,-1 1 0 0 0,0-1 0 0 0,1 0 0 0 0,-1 1 0 0 0,1-2 0 0 0,5-8-3279 0 0</inkml:trace>
</inkml:ink>
</file>

<file path=ppt/ink/ink2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5.43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3 1408 0 0,'3'-2'498'0'0,"29"-15"3430"0"0,-31 16-3722 0 0,1 1 0 0 0,-1-1 0 0 0,1 1-1 0 0,-1-1 1 0 0,1 1 0 0 0,-1 0 0 0 0,1 0 0 0 0,-1-1 0 0 0,1 1-1 0 0,-1 0 1 0 0,1 0 0 0 0,-1 1 0 0 0,1-1 0 0 0,-1 0 0 0 0,1 0 0 0 0,-1 1-1 0 0,1-1 1 0 0,-1 1 0 0 0,2 0 0 0 0,-2 0-76 0 0,1 0-1 0 0,-1 1 1 0 0,0-1-1 0 0,0 0 1 0 0,0 1 0 0 0,0-1-1 0 0,0 0 1 0 0,0 1-1 0 0,0-1 1 0 0,-1 1 0 0 0,1 0-1 0 0,-1-1 1 0 0,1 1-1 0 0,-1-1 1 0 0,1 1 0 0 0,-1 3-1 0 0,2 26 860 0 0,-2-29-901 0 0,-3 152 1749 0 0,0-2-6649 0 0,5-140-304 0 0</inkml:trace>
</inkml:ink>
</file>

<file path=ppt/ink/ink2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5.7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7 233 476 0 0,'0'0'2511'0'0,"-4"13"488"0"0,-26 12-280 0 0,14-12-1318 0 0,1 0 0 0 0,-17 19 0 0 0,31-31-1325 0 0,0 1 0 0 0,0-1 0 0 0,0 1 0 0 0,0-1 0 0 0,1 1 0 0 0,-1-1 0 0 0,0 1 0 0 0,1-1 0 0 0,-1 1 0 0 0,1 0-1 0 0,0-1 1 0 0,-1 1 0 0 0,1 0 0 0 0,0-1 0 0 0,0 1 0 0 0,0 0 0 0 0,0-1 0 0 0,0 1 0 0 0,0 0 0 0 0,1 0 0 0 0,-1-1 0 0 0,1 1 0 0 0,-1-1 0 0 0,1 1 0 0 0,-1 0 0 0 0,1-1 0 0 0,0 1 0 0 0,0-1 0 0 0,0 1 0 0 0,0-1 0 0 0,0 0 0 0 0,0 1 0 0 0,0-1 0 0 0,0 0 0 0 0,3 2 0 0 0,3 3 46 0 0,-1-1 1 0 0,1 1-1 0 0,0-2 1 0 0,1 1 0 0 0,11 5-1 0 0,14 4-1011 0 0,54 16 0 0 0,-7-9-4909 0 0,-70-18 4578 0 0,-4-2-1155 0 0,14 0-428 0 0</inkml:trace>
  <inkml:trace contextRef="#ctx0" brushRef="#br0" timeOffset="1">801 49 1632 0 0,'5'-35'9631'0'0,"-4"22"-6416"0"0,0 15-2532 0 0,6 14 192 0 0,-2 1 0 0 0,7 31 0 0 0,-3-10-408 0 0,3 4-287 0 0,27 117-159 0 0,-24-52-5596 0 0,-15-83-93 0 0</inkml:trace>
</inkml:ink>
</file>

<file path=ppt/ink/ink2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6.3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 138 948 0 0,'-1'-1'308'0'0,"0"1"0"0"0,-1-1 0 0 0,1 0 0 0 0,0 0-1 0 0,0 1 1 0 0,0-1 0 0 0,-1 0 0 0 0,1 0 0 0 0,0 0 0 0 0,0 0 0 0 0,1 0 0 0 0,-1 0-1 0 0,0-1 1 0 0,0 1 0 0 0,0 0 0 0 0,1 0 0 0 0,-1-1 0 0 0,1 1 0 0 0,-1 0 0 0 0,1-1-1 0 0,-1 1 1 0 0,1 0 0 0 0,0-1 0 0 0,0 1 0 0 0,-1-1 0 0 0,1 1 0 0 0,0 0 0 0 0,0-1-1 0 0,1-1 1 0 0,-1 2-249 0 0,1 0-1 0 0,-1 0 1 0 0,1 1-1 0 0,-1-1 1 0 0,1 0-1 0 0,0 0 1 0 0,-1 1-1 0 0,1-1 1 0 0,0 1-1 0 0,0-1 1 0 0,-1 0 0 0 0,1 1-1 0 0,0-1 1 0 0,0 1-1 0 0,0 0 1 0 0,0-1-1 0 0,1 1 1 0 0,0-1 90 0 0,15-7 120 0 0,0 1 0 0 0,0 0-1 0 0,1 2 1 0 0,0 0 0 0 0,0 1 0 0 0,36-4 0 0 0,-3 0 5 0 0,7-3-12 0 0,-11 1 51 0 0,74-6 0 0 0,-116 16-239 0 0,-1 0-1 0 0,0 0 1 0 0,1 0 0 0 0,-1 0-1 0 0,0 1 1 0 0,1 0-1 0 0,-1 0 1 0 0,0 0-1 0 0,0 0 1 0 0,1 1-1 0 0,-1-1 1 0 0,0 1-1 0 0,0 0 1 0 0,-1 0 0 0 0,1 1-1 0 0,0-1 1 0 0,-1 1-1 0 0,5 4 1 0 0,-4-2 35 0 0,0 0 0 0 0,-1 0 1 0 0,1 1-1 0 0,-1-1 0 0 0,0 1 1 0 0,-1 0-1 0 0,0 0 0 0 0,0 0 0 0 0,0 0 1 0 0,0 0-1 0 0,-1 0 0 0 0,1 9 1 0 0,1 15 240 0 0,0 0-1 0 0,-2 0 1 0 0,-1 1 0 0 0,-2-1 0 0 0,-1 0 0 0 0,-13 56 0 0 0,11-64 28 0 0,5-17-106 0 0,-1-1 0 0 0,0 1 0 0 0,-1 0 0 0 0,1-1 0 0 0,-4 8 0 0 0,4-11 115 0 0,-2-5-199 0 0,3 3-187 0 0,-1 1 1 0 0,1 0 0 0 0,0 0 0 0 0,-1 0 0 0 0,1 0 0 0 0,0-1 0 0 0,0 1 0 0 0,-1 0 0 0 0,1 0 0 0 0,0-1 0 0 0,0 1 0 0 0,-1 0 0 0 0,1 0 0 0 0,0-1 0 0 0,0 1 0 0 0,0 0 0 0 0,0-1 0 0 0,-1 1 0 0 0,1 0 0 0 0,0-1 0 0 0,0 1-1 0 0,0 0 1 0 0,0-1 0 0 0,0 1 0 0 0,0 0 0 0 0,0-1 0 0 0,0 1 0 0 0,0 0 0 0 0,0-1 0 0 0,0 1 0 0 0,0-1 0 0 0,1-13-57 0 0,1 1 1 0 0,0-1-1 0 0,1 0 0 0 0,1 1 1 0 0,0 0-1 0 0,1 0 0 0 0,0 0 1 0 0,1 0-1 0 0,0 1 0 0 0,1 0 1 0 0,12-16-1 0 0,-16 25 39 0 0,-1-1-1 0 0,1 2 1 0 0,0-1 0 0 0,0 0 0 0 0,0 0 0 0 0,0 1-1 0 0,0 0 1 0 0,0-1 0 0 0,1 1 0 0 0,-1 1-1 0 0,1-1 1 0 0,0 0 0 0 0,-1 1 0 0 0,1 0-1 0 0,0 0 1 0 0,0 0 0 0 0,0 0 0 0 0,7 0-1 0 0,4 5-10 0 0,1 0 0 0 0,-1 1 0 0 0,-1 0-1 0 0,1 1 1 0 0,-1 1 0 0 0,27 17 0 0 0,-27-15 6 0 0,1 0-1 0 0,0-1 1 0 0,0-1 0 0 0,1 0 0 0 0,0-2 0 0 0,0 1-1 0 0,18 2 1 0 0,-19-6-172 0 0,0-1 0 0 0,0-1 1 0 0,0-1-1 0 0,0 0 0 0 0,0-1 0 0 0,0 0 0 0 0,-1-1 0 0 0,1-1 0 0 0,-1 0 0 0 0,23-10 0 0 0,-26 8 61 0 0,-1 1 0 0 0,1-1-1 0 0,-1-1 1 0 0,0 1 0 0 0,-1-2-1 0 0,1 1 1 0 0,-2-2-1 0 0,1 1 1 0 0,-1-1 0 0 0,0 0-1 0 0,-1-1 1 0 0,0 1 0 0 0,10-20-1 0 0,-16 26 115 0 0,0 0 0 0 0,1 0 1 0 0,-1 0-1 0 0,-1 0 0 0 0,1 0 0 0 0,0-6 0 0 0,0 8 14 0 0,-1 0 0 0 0,0 0 0 0 0,0 1 0 0 0,0-1 0 0 0,0 0 0 0 0,0 0 0 0 0,-1 1 0 0 0,1-1 0 0 0,0 0 0 0 0,0 1 0 0 0,0-1 0 0 0,-1 0 1 0 0,1 0-1 0 0,0 1 0 0 0,-1-1 0 0 0,1 1 0 0 0,0-1 0 0 0,-1 0 0 0 0,1 1 0 0 0,-1-1 0 0 0,1 1 0 0 0,-1-1 0 0 0,0 1 0 0 0,1-1 0 0 0,-1 1 0 0 0,1-1 0 0 0,-1 1 0 0 0,0 0 0 0 0,1-1 0 0 0,-1 1 0 0 0,0 0 1 0 0,1 0-1 0 0,-1-1 0 0 0,0 1 0 0 0,0 0 0 0 0,1 0 0 0 0,-1 0 0 0 0,-1 0 0 0 0,-2 0 14 0 0,-1-1 0 0 0,0 2 0 0 0,1-1 0 0 0,-1 0 1 0 0,1 1-1 0 0,-1 0 0 0 0,1 0 0 0 0,-1 0 0 0 0,1 1 0 0 0,-1 0 0 0 0,1 0 1 0 0,0 0-1 0 0,0 0 0 0 0,-6 5 0 0 0,4-3 23 0 0,1 0 0 0 0,0 1-1 0 0,0 0 1 0 0,0 1 0 0 0,1-1 0 0 0,0 1 0 0 0,0-1-1 0 0,0 1 1 0 0,-3 9 0 0 0,3-7-1 0 0,1 0 1 0 0,0 0-1 0 0,0 0 1 0 0,1 1-1 0 0,0-1 1 0 0,1 1-1 0 0,-1-1 0 0 0,2 1 1 0 0,-1 0-1 0 0,1-1 1 0 0,1 1-1 0 0,-1 0 1 0 0,1-1-1 0 0,1 1 0 0 0,0 0 1 0 0,4 12-1 0 0,2-5-459 0 0,-1 0-1 0 0,18 25 0 0 0,-20-35-306 0 0,-1 0 0 0 0,1 0 0 0 0,1 0 0 0 0,-1-1 0 0 0,1 1 0 0 0,0-1 0 0 0,0-1 1 0 0,9 6-1 0 0,9-5-6772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9.6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1336 0 0,'11'1'537'0'0,"0"1"0"0"0,0 0 0 0 0,0 1 0 0 0,-1 0 0 0 0,1 1 0 0 0,-1 0 0 0 0,0 0 0 0 0,0 1 0 0 0,0 1 0 0 0,0 0 0 0 0,-1 0 0 0 0,0 1 0 0 0,-1 0 0 0 0,1 0 0 0 0,-1 1 0 0 0,-1 0-1 0 0,8 10 1 0 0,-3-3-32 0 0,-2 1-1 0 0,0 1 0 0 0,-1 0 1 0 0,0 0-1 0 0,-1 1 0 0 0,-1-1 1 0 0,-1 2-1 0 0,-1-1 0 0 0,4 20 1 0 0,-9-37-448 0 0,0 0 0 0 0,0 1 0 0 0,0-1 0 0 0,0 0 0 0 0,0 1 0 0 0,0-1 0 0 0,-1 0 0 0 0,1 1 0 0 0,0-1 0 0 0,-1 0-1 0 0,1 0 1 0 0,-1 0 0 0 0,1 1 0 0 0,-1-1 0 0 0,0 0 0 0 0,1 0 0 0 0,-1 0 0 0 0,0 0 0 0 0,-1 1 0 0 0,0 0 268 0 0,-9-9-139 0 0,10 7-179 0 0,0-1 1 0 0,0 1 0 0 0,1 0-1 0 0,-1-1 1 0 0,0 1-1 0 0,0-1 1 0 0,1 1-1 0 0,-1-1 1 0 0,0 1-1 0 0,1-1 1 0 0,-1 0 0 0 0,0 1-1 0 0,1-1 1 0 0,-1 0-1 0 0,1 1 1 0 0,-1-1-1 0 0,1 0 1 0 0,-1 0-1 0 0,1 0 1 0 0,0 1 0 0 0,-1-1-1 0 0,1 0 1 0 0,0 0-1 0 0,0 0 1 0 0,0 0-1 0 0,-1-1 1 0 0,1-6 19 0 0,-1 0 0 0 0,1 0 0 0 0,0 0 0 0 0,1 0 0 0 0,-1 0 0 0 0,2 0 0 0 0,-1 0 0 0 0,1 1 0 0 0,4-11 0 0 0,-2 7-20 0 0,1 0 0 0 0,-1 0-1 0 0,2 1 1 0 0,0-1-1 0 0,12-15 1 0 0,-16 23-12 0 0,1 0-1 0 0,-1 0 1 0 0,1 1 0 0 0,-1-1 0 0 0,1 1-1 0 0,0 0 1 0 0,0 0 0 0 0,0 0-1 0 0,0 0 1 0 0,0 0 0 0 0,1 1-1 0 0,-1-1 1 0 0,0 1 0 0 0,1 0 0 0 0,-1 0-1 0 0,1 0 1 0 0,-1 0 0 0 0,1 1-1 0 0,6-1 1 0 0,-6 2 2 0 0,-1-1 1 0 0,0 1-1 0 0,1 0 0 0 0,-1 0 0 0 0,0 0 1 0 0,1 0-1 0 0,-1 1 0 0 0,0-1 1 0 0,0 1-1 0 0,0 0 0 0 0,0 0 0 0 0,-1 0 1 0 0,1 0-1 0 0,0 0 0 0 0,-1 1 0 0 0,1-1 1 0 0,-1 1-1 0 0,0 0 0 0 0,0-1 0 0 0,0 1 1 0 0,1 3-1 0 0,7 12-172 0 0,-1 0 0 0 0,-1 0 0 0 0,-1 1 0 0 0,7 26-1 0 0,3 38-3794 0 0,-8-14-3343 0 0,-9-57 3833 0 0</inkml:trace>
</inkml:ink>
</file>

<file path=ppt/ink/ink2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7.4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 2216 0 0,'0'-3'1912'0'0,"1"25"5068"0"0,-2 16-3966 0 0,3 92-931 0 0,26 148 1095 0 0,-26-254-2155 0 0,-2-22-551 0 0,0-5-474 0 0,9-69-650 0 0,2 1-1 0 0,4-1 1 0 0,40-118-1 0 0,-54 186 630 0 0,1 1 1 0 0,-1-1-1 0 0,1 0 0 0 0,0 1 0 0 0,0-1 0 0 0,0 1 0 0 0,1 0 1 0 0,-1 0-1 0 0,1 0 0 0 0,6-6 0 0 0,-8 8-16 0 0,4 3 52 0 0,0 0-1 0 0,0 0 1 0 0,0 0-1 0 0,0 0 1 0 0,0 1-1 0 0,0 0 1 0 0,-1 0-1 0 0,1 0 1 0 0,-1 0-1 0 0,0 1 1 0 0,0 0-1 0 0,0 0 1 0 0,-1 0-1 0 0,1 0 1 0 0,3 8-1 0 0,50 70 473 0 0,24 33 564 0 0,-80-113-1008 0 0,0-1 1 0 0,0 0 0 0 0,0 1-1 0 0,0-1 1 0 0,0 0 0 0 0,0 0-1 0 0,1 0 1 0 0,-1 0 0 0 0,1 0-1 0 0,-1 0 1 0 0,0 0 0 0 0,1 0-1 0 0,0 0 1 0 0,-1-1 0 0 0,1 1-1 0 0,-1-1 1 0 0,1 1 0 0 0,0-1-1 0 0,-1 1 1 0 0,1-1 0 0 0,0 0-1 0 0,0 0 1 0 0,-1 0 0 0 0,1 0-1 0 0,0 0 1 0 0,-1 0 0 0 0,1-1-1 0 0,0 1 1 0 0,-1-1 0 0 0,1 1-1 0 0,0-1 1 0 0,-1 1 0 0 0,3-2-1 0 0,2-2-97 0 0,0 0 0 0 0,0 0-1 0 0,0-1 1 0 0,-1 0-1 0 0,0 0 1 0 0,8-9-1 0 0,122-154-1026 0 0,-135 168 1078 0 0,1-1 1 0 0,-1 1-1 0 0,0-1 0 0 0,0 1 1 0 0,1 0-1 0 0,-1-1 0 0 0,1 1 1 0 0,-1-1-1 0 0,0 1 1 0 0,1 0-1 0 0,-1-1 0 0 0,1 1 1 0 0,-1 0-1 0 0,1 0 1 0 0,-1-1-1 0 0,0 1 0 0 0,1 0 1 0 0,-1 0-1 0 0,1 0 0 0 0,0 0 1 0 0,-1-1-1 0 0,1 1 1 0 0,-1 0-1 0 0,1 0 0 0 0,-1 0 1 0 0,1 0-1 0 0,-1 0 1 0 0,1 0-1 0 0,-1 1 0 0 0,1-1 1 0 0,-1 0-1 0 0,1 0 0 0 0,-1 0 1 0 0,1 0-1 0 0,-1 1 1 0 0,1-1-1 0 0,-1 0 0 0 0,1 0 1 0 0,-1 1-1 0 0,0-1 1 0 0,1 0-1 0 0,-1 1 0 0 0,1-1 1 0 0,-1 0-1 0 0,0 1 1 0 0,1-1-1 0 0,-1 1 0 0 0,0-1 1 0 0,1 1-1 0 0,-1-1 0 0 0,0 1 1 0 0,0-1-1 0 0,0 0 1 0 0,1 1-1 0 0,-1 0 0 0 0,0-1 1 0 0,0 1-1 0 0,0-1 1 0 0,0 2-1 0 0,9 36 189 0 0,-8-32-157 0 0,2 8 70 0 0,1 1-1 0 0,0-1 1 0 0,0 0-1 0 0,2 0 0 0 0,-1 0 1 0 0,2-1-1 0 0,9 16 1 0 0,-12-23-67 0 0,0-1 1 0 0,1 1-1 0 0,-1-1 1 0 0,1 0-1 0 0,0-1 1 0 0,1 1 0 0 0,-1-1-1 0 0,1 0 1 0 0,-1 0-1 0 0,1 0 1 0 0,0-1-1 0 0,1 0 1 0 0,-1 0 0 0 0,0-1-1 0 0,1 0 1 0 0,0 0-1 0 0,10 2 1 0 0,-4-3-68 0 0,0 1 0 0 0,0-2 1 0 0,0 1-1 0 0,0-2 0 0 0,0 0 1 0 0,0 0-1 0 0,0-2 0 0 0,0 1 0 0 0,-1-1 1 0 0,1-1-1 0 0,-1-1 0 0 0,0 1 1 0 0,18-11-1 0 0,-11 3-54 0 0,0-1 0 0 0,-1-1 0 0 0,0 0 0 0 0,-1-1 0 0 0,-1-1 0 0 0,23-29 0 0 0,-37 43 78 0 0,-3 2-140 0 0,1 0 151 0 0,-1 0 0 0 0,0 0 1 0 0,1 0-1 0 0,-1 0 0 0 0,0 0 0 0 0,1 0 1 0 0,-1 0-1 0 0,0 0 0 0 0,1 1 1 0 0,-1-1-1 0 0,0 0 0 0 0,1 1 0 0 0,-1-1 1 0 0,1 0-1 0 0,-1 1 0 0 0,1-1 1 0 0,-1 1-1 0 0,1-1 0 0 0,-1 0 0 0 0,1 1 1 0 0,-1 0-1 0 0,1-1 0 0 0,-1 1 1 0 0,1-1-1 0 0,0 1 0 0 0,-1 0 0 0 0,0 1 2 0 0,1 0-1 0 0,0-1 0 0 0,-1 1 1 0 0,1 0-1 0 0,0 0 0 0 0,0-1 0 0 0,0 1 1 0 0,0 0-1 0 0,1-1 0 0 0,-1 1 0 0 0,1 2 1 0 0,0-1 5 0 0,0 1 1 0 0,0 0 0 0 0,0 0 0 0 0,1 0-1 0 0,0-1 1 0 0,-1 1 0 0 0,1-1 0 0 0,1 1-1 0 0,3 4 1 0 0,1-2 9 0 0,1-1 0 0 0,0 0 0 0 0,0 0 0 0 0,0-1 0 0 0,0 0 0 0 0,1 0 0 0 0,-1-1 0 0 0,1 0 0 0 0,0-1 0 0 0,14 3 0 0 0,-6-3-20 0 0,1 0 0 0 0,0-1-1 0 0,0-1 1 0 0,26-2 0 0 0,-35 1-19 0 0,0-1 1 0 0,0 0-1 0 0,0-1 1 0 0,0 0 0 0 0,0 0-1 0 0,-1-1 1 0 0,0 0-1 0 0,0 0 1 0 0,9-6-1 0 0,-12 7 10 0 0,-1-1-1 0 0,1 0 1 0 0,0 0-1 0 0,-1 0 0 0 0,0 0 1 0 0,0-1-1 0 0,0 1 1 0 0,-1-1-1 0 0,0 0 1 0 0,0 0-1 0 0,0 0 1 0 0,0-1-1 0 0,-1 1 1 0 0,0-1-1 0 0,2-6 0 0 0,-4 10-8 0 0,1-1 0 0 0,-1 0 0 0 0,0 0 0 0 0,0 0 0 0 0,0 1 0 0 0,0-1 0 0 0,-1 0 1 0 0,1 0-1 0 0,-1 1 0 0 0,0-1 0 0 0,0 0 0 0 0,0 1 0 0 0,0-1 0 0 0,0 0 0 0 0,0 1 0 0 0,-1 0 0 0 0,1-1 0 0 0,-1 1 0 0 0,0 0 0 0 0,1 0 0 0 0,-1 0 0 0 0,0 0 0 0 0,0 0 0 0 0,-1 0 0 0 0,1 0 0 0 0,0 1 0 0 0,-1-1 0 0 0,1 1 0 0 0,-1 0 0 0 0,1-1 0 0 0,-4 0 0 0 0,-2-1-376 0 0,0 0 0 0 0,-1 0 0 0 0,0 0 0 0 0,1 1 1 0 0,-1 0-1 0 0,0 1 0 0 0,0 0 0 0 0,-13 1 0 0 0,13 0-230 0 0,0 1-1 0 0,1 1 0 0 0,-1-1 0 0 0,1 2 0 0 0,-14 4 1 0 0,-17 12-5215 0 0</inkml:trace>
</inkml:ink>
</file>

<file path=ppt/ink/ink2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8.18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6 118 2080 0 0,'3'-3'627'0'0,"-1"0"0"0"0,1 0 0 0 0,0 0 0 0 0,0 1 0 0 0,1-1 0 0 0,-1 1 0 0 0,0 0 0 0 0,5-2 0 0 0,-7 4-546 0 0,0-1 1 0 0,0 1 0 0 0,0 0 0 0 0,0 0-1 0 0,0 0 1 0 0,0 0 0 0 0,0 0 0 0 0,0 0-1 0 0,0 0 1 0 0,0 0 0 0 0,0 0-1 0 0,0 0 1 0 0,0 0 0 0 0,0 1 0 0 0,-1-1-1 0 0,1 0 1 0 0,0 1 0 0 0,0-1 0 0 0,0 1-1 0 0,0-1 1 0 0,0 1 0 0 0,0-1 0 0 0,-1 1-1 0 0,1 0 1 0 0,0-1 0 0 0,0 1 0 0 0,-1 0-1 0 0,1 0 1 0 0,-1 0 0 0 0,1-1 0 0 0,0 1-1 0 0,-1 0 1 0 0,0 0 0 0 0,1 0 0 0 0,-1 0-1 0 0,1 2 1 0 0,4 8 309 0 0,-1 2-1 0 0,-1-1 1 0 0,0 0 0 0 0,0 1 0 0 0,-1-1-1 0 0,-1 1 1 0 0,0 0 0 0 0,-1 0-1 0 0,0-1 1 0 0,-2 16 0 0 0,-2-2-27 0 0,0-1 1 0 0,-2 1-1 0 0,-1-1 1 0 0,-10 26 0 0 0,11-35-237 0 0,-1 0 0 0 0,0-1 0 0 0,-2 0 0 0 0,1-1 1 0 0,-2 1-1 0 0,0-1 0 0 0,-1-1 0 0 0,0 0 0 0 0,-1-1 1 0 0,0 0-1 0 0,-1-1 0 0 0,-17 12 0 0 0,29-22-139 0 0,0 0 0 0 0,-1-1-1 0 0,1 1 1 0 0,-1-1 0 0 0,1 1-1 0 0,-1-1 1 0 0,1 1 0 0 0,-1-1-1 0 0,1 0 1 0 0,-1 0 0 0 0,1 0-1 0 0,-1 0 1 0 0,0 0 0 0 0,1 0-1 0 0,-1 0 1 0 0,1 0 0 0 0,-1-1-1 0 0,1 1 1 0 0,-1-1 0 0 0,1 1-1 0 0,-1-1 1 0 0,1 1 0 0 0,0-1-1 0 0,-1 0 1 0 0,1 0 0 0 0,0 0-1 0 0,-1 0 1 0 0,1 0 0 0 0,0 0-1 0 0,0 0 1 0 0,0 0 0 0 0,0 0-1 0 0,0-1 1 0 0,0 1 0 0 0,0 0-1 0 0,1 0 1 0 0,-1-1 0 0 0,0 1-1 0 0,1-1 1 0 0,-1 1 0 0 0,1-1-1 0 0,-1 1 1 0 0,1-1 0 0 0,-1-1-1 0 0,2-3-48 0 0,-1 1-1 0 0,1 0 1 0 0,0 0-1 0 0,1 0 1 0 0,-1-1-1 0 0,1 1 1 0 0,0 0-1 0 0,0 1 1 0 0,0-1-1 0 0,1 0 1 0 0,0 1-1 0 0,0-1 1 0 0,0 1-1 0 0,0 0 0 0 0,1 0 1 0 0,-1 0-1 0 0,1 1 1 0 0,0-1-1 0 0,0 1 1 0 0,1 0-1 0 0,4-3 1 0 0,-3 5 36 0 0,1 0 1 0 0,-1 0-1 0 0,1 0 0 0 0,-1 1 1 0 0,1 0-1 0 0,0 0 1 0 0,-1 1-1 0 0,1 0 1 0 0,-1 0-1 0 0,0 1 0 0 0,1-1 1 0 0,5 4-1 0 0,58 21-21 0 0,-50-17 72 0 0,1-1-1 0 0,0 0 1 0 0,0-2-1 0 0,0 0 1 0 0,1-2-1 0 0,34 3 1 0 0,-50-7-99 0 0,1 0 0 0 0,-1-1 0 0 0,1 0 1 0 0,-1 0-1 0 0,1 0 0 0 0,-1-1 0 0 0,0 0 0 0 0,0 0 0 0 0,1-1 1 0 0,-2 0-1 0 0,1 0 0 0 0,0 0 0 0 0,8-7 0 0 0,-6 3-51 0 0,0-1 0 0 0,0 1-1 0 0,-1-2 1 0 0,0 1 0 0 0,-1-1-1 0 0,0 0 1 0 0,6-11 0 0 0,-12 19 118 0 0,1 0 0 0 0,-1 1 0 0 0,0-1 0 0 0,1 0 0 0 0,-1 0 1 0 0,0 0-1 0 0,0 0 0 0 0,1 0 0 0 0,-1 0 0 0 0,0 0 0 0 0,0 1 1 0 0,0-1-1 0 0,0 0 0 0 0,-1 0 0 0 0,1 0 0 0 0,0 0 0 0 0,0 0 0 0 0,0 0 1 0 0,-1 0-1 0 0,1 1 0 0 0,0-1 0 0 0,-1 0 0 0 0,1 0 0 0 0,-1 0 1 0 0,1 1-1 0 0,-1-1 0 0 0,1 0 0 0 0,-1 0 0 0 0,0 1 0 0 0,1-1 0 0 0,-1 1 1 0 0,0-1-1 0 0,0 0 0 0 0,1 1 0 0 0,-1 0 0 0 0,0-1 0 0 0,0 1 1 0 0,0-1-1 0 0,1 1 0 0 0,-1 0 0 0 0,0 0 0 0 0,0-1 0 0 0,0 1 0 0 0,0 0 1 0 0,0 0-1 0 0,0 0 0 0 0,0 0 0 0 0,0 0 0 0 0,0 0 0 0 0,1 0 1 0 0,-1 0-1 0 0,0 0 0 0 0,0 1 0 0 0,0-1 0 0 0,-1 1 0 0 0,-2 0 55 0 0,0 1 0 0 0,0-1 0 0 0,0 1 0 0 0,0 0 0 0 0,0 1 0 0 0,1-1 0 0 0,-1 1 0 0 0,1-1 0 0 0,0 1-1 0 0,-1 0 1 0 0,-2 5 0 0 0,4-6 12 0 0,0 0 0 0 0,1 0-1 0 0,-1 1 1 0 0,1-1 0 0 0,0 1-1 0 0,-1-1 1 0 0,1 1 0 0 0,1-1-1 0 0,-1 1 1 0 0,0 0 0 0 0,1-1-1 0 0,-1 1 1 0 0,1 0 0 0 0,0-1-1 0 0,-1 1 1 0 0,1 0 0 0 0,1 0-1 0 0,-1-1 1 0 0,0 1 0 0 0,2 5-1 0 0,0-3 33 0 0,0 0 0 0 0,0-1 0 0 0,0 1-1 0 0,0 0 1 0 0,1-1 0 0 0,0 1-1 0 0,0-1 1 0 0,0 0 0 0 0,1 0-1 0 0,-1 0 1 0 0,1 0 0 0 0,0-1-1 0 0,5 4 1 0 0,-2-2-8 0 0,1 0 0 0 0,0-1 0 0 0,0 0 0 0 0,0 0 0 0 0,1-1 0 0 0,-1 0 0 0 0,13 3 0 0 0,-8-4-82 0 0,0 0-1 0 0,0 0 1 0 0,-1-1 0 0 0,1-1 0 0 0,1 0-1 0 0,-2-1 1 0 0,1 0 0 0 0,0-1-1 0 0,0-1 1 0 0,23-7 0 0 0,-24 4-142 0 0,0-1 1 0 0,0 0 0 0 0,-1 0 0 0 0,0-1-1 0 0,-1 0 1 0 0,0-1 0 0 0,0-1 0 0 0,-1 1 0 0 0,0-1-1 0 0,0-1 1 0 0,-1 0 0 0 0,-1 0 0 0 0,0-1-1 0 0,8-17 1 0 0,0-4-149 0 0,-1-1 0 0 0,-2 0-1 0 0,-1-1 1 0 0,6-42 0 0 0,-2-23 118 0 0,-14 89 177 0 0,-1-1 0 0 0,0 0 1 0 0,0 0-1 0 0,-2 0 0 0 0,1 1 0 0 0,-5-17 0 0 0,5 26-12 0 0,0-1-1 0 0,0 1 1 0 0,0-1-1 0 0,0 1 1 0 0,0 0 0 0 0,-1 0-1 0 0,1-1 1 0 0,-1 1-1 0 0,-1-2 1 0 0,-9-3 0 0 0,8 7 21 0 0,0 0 0 0 0,1 0 0 0 0,-1 0 0 0 0,1 1 0 0 0,-1-1 0 0 0,1 1 0 0 0,-1 0 0 0 0,1 0 0 0 0,-1 0 0 0 0,1 0 0 0 0,0 1 0 0 0,0-1 0 0 0,-1 1 0 0 0,1 0-1 0 0,0 0 1 0 0,1 0 0 0 0,-1 0 0 0 0,0 1 0 0 0,1-1 0 0 0,-1 1 0 0 0,1-1 0 0 0,-3 4 0 0 0,-4 5 38 0 0,1 1 1 0 0,-1 0-1 0 0,2 0 0 0 0,-8 17 0 0 0,5-7 18 0 0,2 1 0 0 0,1 0 0 0 0,0 1 0 0 0,2-1 0 0 0,1 1 0 0 0,1 0 0 0 0,1 0 0 0 0,1 32 0 0 0,3 0-499 0 0,3-1 0 0 0,18 82 1 0 0,-15-108-1741 0 0,-3-13-2862 0 0</inkml:trace>
</inkml:ink>
</file>

<file path=ppt/ink/ink2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9.4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9 0 1252 0 0,'0'0'3431'0'0,"-1"3"-2435"0"0,-12 44 763 0 0,2 1 0 0 0,2 0-1 0 0,-4 76 1 0 0,12-99-1443 0 0,1 0-1 0 0,1 0 1 0 0,1-1 0 0 0,1 1 0 0 0,8 29-1 0 0,-8-43-235 0 0,0 0-1 0 0,1 0 0 0 0,0 0 0 0 0,1-1 1 0 0,0 0-1 0 0,0 0 0 0 0,1 0 1 0 0,0 0-1 0 0,1-1 0 0 0,0 0 0 0 0,1 0 1 0 0,0-1-1 0 0,12 11 0 0 0,-16-17-141 0 0,0 1-1 0 0,-1-1 1 0 0,1 1-1 0 0,0-1 0 0 0,0 0 1 0 0,0-1-1 0 0,1 1 1 0 0,-1-1-1 0 0,0 1 1 0 0,1-1-1 0 0,-1-1 1 0 0,1 1-1 0 0,-1-1 1 0 0,1 1-1 0 0,-1-1 1 0 0,1 0-1 0 0,-1-1 1 0 0,1 1-1 0 0,-1-1 1 0 0,1 0-1 0 0,-1 0 0 0 0,0-1 1 0 0,0 1-1 0 0,1-1 1 0 0,-1 0-1 0 0,0 0 1 0 0,0 0-1 0 0,-1 0 1 0 0,1-1-1 0 0,0 0 1 0 0,-1 0-1 0 0,1 0 1 0 0,-1 0-1 0 0,0 0 1 0 0,0-1-1 0 0,0 1 1 0 0,-1-1-1 0 0,1 0 0 0 0,-1 1 1 0 0,0-1-1 0 0,2-5 1 0 0,10-21-275 0 0,-8 15 147 0 0,1 0-1 0 0,9-14 1 0 0,-15 28 160 0 0,14 5 133 0 0,11 10 577 0 0,-10-5-378 0 0,-8-6-14 0 0,0 0 1 0 0,1 0-1 0 0,0-1 0 0 0,0 0 0 0 0,-1 0 0 0 0,1-1 1 0 0,0 0-1 0 0,0-1 0 0 0,0 0 0 0 0,10-1 1 0 0,-16 1-175 0 0,0 0 1 0 0,0-1 0 0 0,0 1 0 0 0,0-1 0 0 0,0 0 0 0 0,0 0-1 0 0,0 0 1 0 0,0 0 0 0 0,0 0 0 0 0,-1-1 0 0 0,1 1 0 0 0,0-1-1 0 0,-1 0 1 0 0,1 0 0 0 0,-1 0 0 0 0,1 0 0 0 0,-1 0 0 0 0,2-3 0 0 0,-1 1-33 0 0,-1 0 0 0 0,0 0 0 0 0,0 1 0 0 0,-1-1 0 0 0,1-1 1 0 0,-1 1-1 0 0,0 0 0 0 0,0 0 0 0 0,0 0 0 0 0,0-1 0 0 0,-1-6 1 0 0,0-1-36 0 0,-1 0 1 0 0,0 0 0 0 0,-1 0 0 0 0,0 1 0 0 0,-1-1-1 0 0,0 0 1 0 0,-1 1 0 0 0,-6-13 0 0 0,-2 3-527 0 0,0 1 1 0 0,-2 1-1 0 0,0 0 1 0 0,-1 1-1 0 0,-1 1 1 0 0,-22-19-1 0 0,22 20-634 0 0,8 8 598 0 0,-15-18-3146 0 0,22 25 3348 0 0,0 0-1 0 0,1-1 1 0 0,-1 1 0 0 0,1 0 0 0 0,-1-1 0 0 0,1 1 0 0 0,0 0 0 0 0,-1-1 0 0 0,1 1-1 0 0,0-1 1 0 0,0 1 0 0 0,0-1 0 0 0,0 1 0 0 0,0-1 0 0 0,0 1 0 0 0,0 0 0 0 0,1-1-1 0 0,-1 1 1 0 0,1-1 0 0 0,0-1 0 0 0,3-6-2076 0 0</inkml:trace>
</inkml:ink>
</file>

<file path=ppt/ink/ink2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09.8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 1244 0 0,'3'-1'257'0'0,"0"1"0"0"0,0-1 1 0 0,0 1-1 0 0,0 0 0 0 0,0 0 0 0 0,-1 0 0 0 0,1 0 0 0 0,0 1 1 0 0,0-1-1 0 0,0 1 0 0 0,0-1 0 0 0,-1 1 0 0 0,1 0 0 0 0,0 0 1 0 0,-1 0-1 0 0,1 1 0 0 0,0-1 0 0 0,-1 1 0 0 0,0-1 0 0 0,1 1 0 0 0,-1 0 1 0 0,0 0-1 0 0,0 0 0 0 0,0 0 0 0 0,0 0 0 0 0,0 0 0 0 0,0 1 1 0 0,-1-1-1 0 0,1 1 0 0 0,-1-1 0 0 0,0 1 0 0 0,0 0 0 0 0,1 2 1 0 0,4 10 301 0 0,-1 1 0 0 0,-1 0 0 0 0,0 0 0 0 0,-1 0 0 0 0,1 19 0 0 0,-1 84 1432 0 0,-4-84-1399 0 0,1 43 785 0 0,-11 80 1 0 0,10-149-856 0 0,-2 12 670 0 0,1-17-654 0 0,-2-11-115 0 0,4 3-437 0 0,-1 0 0 0 0,1 0 0 0 0,0 0 0 0 0,-1 0 0 0 0,2 0 0 0 0,-1 0 0 0 0,0 0-1 0 0,1 0 1 0 0,0 0 0 0 0,0 0 0 0 0,0 0 0 0 0,1 1 0 0 0,1-5 0 0 0,26-45-153 0 0,-25 46 138 0 0,0 0-1 0 0,1 1 1 0 0,0 0-1 0 0,1-1 1 0 0,-1 2-1 0 0,1-1 1 0 0,1 1 0 0 0,-1 0-1 0 0,13-8 1 0 0,-16 11 19 0 0,1 1 1 0 0,0-1-1 0 0,0 1 1 0 0,0 0 0 0 0,0 0-1 0 0,0 0 1 0 0,0 0 0 0 0,0 1-1 0 0,0-1 1 0 0,0 1 0 0 0,0 0-1 0 0,0 0 1 0 0,0 1-1 0 0,0-1 1 0 0,0 1 0 0 0,0 0-1 0 0,0 0 1 0 0,0 0 0 0 0,0 1-1 0 0,0-1 1 0 0,4 4 0 0 0,0 0-76 0 0,1 0 0 0 0,-1 1 0 0 0,-1 0 0 0 0,1 0 0 0 0,-1 1 0 0 0,0 0 1 0 0,-1 0-1 0 0,1 1 0 0 0,-1-1 0 0 0,-1 1 0 0 0,0 1 0 0 0,0-1 0 0 0,0 1 0 0 0,5 16 1 0 0,-2 0-1481 0 0,-1 1 1 0 0,0-1-1 0 0,-2 1 1 0 0,2 34 0 0 0,-4-41-568 0 0,-3-18 1856 0 0,0 0 1 0 0,1 0-1 0 0,-1-1 1 0 0,0 1-1 0 0,0 0 0 0 0,0 0 1 0 0,1 0-1 0 0,-1 0 1 0 0,0 0-1 0 0,1-1 1 0 0,-1 1-1 0 0,1 0 0 0 0,-1 0 1 0 0,1-1-1 0 0,-1 1 1 0 0,1 0-1 0 0,-1-1 0 0 0,1 1 1 0 0,1 0-1 0 0,9-4-1072 0 0</inkml:trace>
</inkml:ink>
</file>

<file path=ppt/ink/ink2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0.3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0 366 528 0 0,'17'-23'1605'0'0,"-6"9"-152"0"0,-1 0 0 0 0,-1-1 0 0 0,13-25 0 0 0,-22 39-1405 0 0,1 1 0 0 0,-1-1 0 0 0,0 1 0 0 0,1-1 1 0 0,-1 1-1 0 0,0-1 0 0 0,0 0 0 0 0,0 1 0 0 0,0-1 0 0 0,1 1 0 0 0,-1-1 0 0 0,0 0 0 0 0,0 1 0 0 0,0-1 0 0 0,0 0 0 0 0,0 1 0 0 0,0-1 0 0 0,0 1 0 0 0,-1-1 0 0 0,1 0 0 0 0,0 1 0 0 0,0-1 0 0 0,0 1 0 0 0,-1-1 0 0 0,1 1 0 0 0,0-1 0 0 0,-1 0 0 0 0,1 1 0 0 0,0-1 0 0 0,-1 1 0 0 0,1 0 0 0 0,0-1 0 0 0,-1 1 0 0 0,1-1 0 0 0,-1 1 0 0 0,1 0 0 0 0,-1-1 0 0 0,1 1 0 0 0,-1 0 0 0 0,0-1 0 0 0,1 1 0 0 0,-1 0 0 0 0,1 0 0 0 0,-1-1 0 0 0,1 1 0 0 0,-1 0 1 0 0,0 0-1 0 0,1 0 0 0 0,-1 0 0 0 0,0 0 0 0 0,1 0 0 0 0,-1 0 0 0 0,1 0 0 0 0,-1 0 0 0 0,0 0 0 0 0,1 1 0 0 0,-2-1 0 0 0,-3 1 132 0 0,0-1 0 0 0,0 1 0 0 0,0 1 0 0 0,0-1 1 0 0,-8 4-1 0 0,-9 6 268 0 0,0 1 0 0 0,1 1 1 0 0,-39 30-1 0 0,51-36-338 0 0,1 1 0 0 0,-1 0 0 0 0,1 1 0 0 0,1 0 0 0 0,0 0 0 0 0,0 1 0 0 0,1-1 0 0 0,0 1 0 0 0,1 1 0 0 0,-8 17 0 0 0,13-26-95 0 0,-1-1 0 0 0,1 0 0 0 0,-1 0 0 0 0,1 1 0 0 0,0-1 1 0 0,-1 0-1 0 0,1 1 0 0 0,0-1 0 0 0,0 0 0 0 0,0 1 0 0 0,0-1 1 0 0,0 1-1 0 0,0-1 0 0 0,1 0 0 0 0,-1 1 0 0 0,0-1 0 0 0,1 0 1 0 0,-1 0-1 0 0,0 1 0 0 0,1-1 0 0 0,0 0 0 0 0,-1 0 0 0 0,1 1 0 0 0,0-1 1 0 0,0 0-1 0 0,0 0 0 0 0,-1 0 0 0 0,1 0 0 0 0,0 0 0 0 0,0 0 1 0 0,0-1-1 0 0,1 1 0 0 0,-1 0 0 0 0,0 0 0 0 0,0-1 0 0 0,0 1 0 0 0,1-1 1 0 0,-1 1-1 0 0,0-1 0 0 0,2 1 0 0 0,3 0-75 0 0,1 0 1 0 0,-1 0-1 0 0,1 0 0 0 0,-1-1 1 0 0,1 0-1 0 0,-1 0 0 0 0,10-2 1 0 0,3-2-315 0 0,0-1 0 0 0,0-1 1 0 0,0-1-1 0 0,20-10 0 0 0,32-11-574 0 0,-69 27 954 0 0,-1 1 0 0 0,1 0 0 0 0,-1 0-1 0 0,0 0 1 0 0,1 0 0 0 0,-1 0 0 0 0,1 0 0 0 0,-1 1 0 0 0,0-1 0 0 0,1 0 0 0 0,-1 1 0 0 0,0-1 0 0 0,1 1 0 0 0,-1-1 0 0 0,0 1-1 0 0,1 0 1 0 0,-1-1 0 0 0,0 1 0 0 0,0 0 0 0 0,0 0 0 0 0,0 0 0 0 0,1 1 0 0 0,1 1 42 0 0,0 0 1 0 0,-1 0-1 0 0,0-1 0 0 0,0 1 1 0 0,0 1-1 0 0,2 3 0 0 0,0 1 90 0 0,0-1 0 0 0,0 1 0 0 0,1-1 0 0 0,0 0 0 0 0,0 0 0 0 0,0-1 0 0 0,1 1 0 0 0,0-1 0 0 0,0 0 0 0 0,10 6 0 0 0,-13-9-84 0 0,1-1-1 0 0,1 1 1 0 0,-1-1 0 0 0,0 0 0 0 0,0 0-1 0 0,1-1 1 0 0,-1 1 0 0 0,1-1 0 0 0,-1 0-1 0 0,1 0 1 0 0,0 0 0 0 0,-1-1 0 0 0,1 0-1 0 0,0 0 1 0 0,0 0 0 0 0,-1 0 0 0 0,1-1-1 0 0,0 1 1 0 0,8-4 0 0 0,-4 1-55 0 0,-1-1 0 0 0,0 0 0 0 0,0 0 0 0 0,-1 0 1 0 0,1-1-1 0 0,-1-1 0 0 0,0 1 0 0 0,-1-1 0 0 0,1 0 0 0 0,-1-1 1 0 0,0 1-1 0 0,0-1 0 0 0,-1 0 0 0 0,0-1 0 0 0,0 1 1 0 0,6-17-1 0 0,2-6-150 0 0,-3-1 0 0 0,0-1 0 0 0,7-40 0 0 0,-10 38 249 0 0,35-195 3602 0 0,-39 213-3115 0 0,0 23-244 0 0,-1 35-92 0 0,-2-23-173 0 0,6 55 37 0 0,18 145-1820 0 0,-19-177-254 0 0,-2-2-1353 0 0,3-14-1888 0 0,-2-14 37 0 0</inkml:trace>
</inkml:ink>
</file>

<file path=ppt/ink/ink2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0.7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 88 2864 0 0,'0'0'199'0'0,"-1"-1"1"0"0,0 1-1 0 0,1-1 0 0 0,-1 1 0 0 0,0-1 0 0 0,1 1 1 0 0,-1-1-1 0 0,1 0 0 0 0,-1 1 0 0 0,1-1 0 0 0,-1 0 1 0 0,1 1-1 0 0,0-1 0 0 0,-1 0 0 0 0,1 0 0 0 0,0 1 1 0 0,-1-1-1 0 0,1 0 0 0 0,0 0 0 0 0,0 0 0 0 0,0 1 0 0 0,0-1 1 0 0,0 0-1 0 0,0 0 0 0 0,0 0 0 0 0,0 1 0 0 0,0-1 1 0 0,0 0-1 0 0,0 0 0 0 0,1 0 0 0 0,-1 1 0 0 0,0-1 1 0 0,1-1-1 0 0,1 1 16 0 0,0-1 0 0 0,0 1 1 0 0,0-1-1 0 0,0 1 0 0 0,0 0 1 0 0,1 0-1 0 0,-1 0 0 0 0,0 0 1 0 0,1 1-1 0 0,3-2 0 0 0,41-7 1142 0 0,-1 2 1 0 0,1 3-1 0 0,75 1 0 0 0,-57 2-769 0 0,197 2-922 0 0,-223-2-6055 0 0,-36 0 5690 0 0,0 0 511 0 0,0 0 1 0 0,0 0-1 0 0,0 0 1 0 0,0 0-1 0 0,0-1 1 0 0,0 0 0 0 0,4-2-1 0 0,13-8 2475 0 0,-16 12-1764 0 0,-2 1-384 0 0,1-1-1 0 0,-1 1 1 0 0,0-1 0 0 0,0 1 0 0 0,0 0 0 0 0,1 0-1 0 0,-1 0 1 0 0,0 0 0 0 0,0 0 0 0 0,0 1 0 0 0,0-1 0 0 0,0 0-1 0 0,-1 1 1 0 0,1 0 0 0 0,0-1 0 0 0,-1 1 0 0 0,1 0-1 0 0,-1 0 1 0 0,0 0 0 0 0,1 0 0 0 0,-1 0 0 0 0,0 0 0 0 0,1 4-1 0 0,8 17 397 0 0,-2 1 0 0 0,0 0 0 0 0,-2 0 0 0 0,6 48 0 0 0,-9-42-1702 0 0,-2 56 1 0 0,-8-45-2407 0 0,2-22-1156 0 0</inkml:trace>
</inkml:ink>
</file>

<file path=ppt/ink/ink2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1.1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 130 744 0 0,'-4'-18'2140'0'0,"2"2"-316"0"0,-2 3-379 0 0,0 0-301 0 0,0 1-196 0 0,0 1-224 0 0,0 0-200 0 0,2 2-208 0 0,-2 0-304 0 0,-2-3-668 0 0,-2 6-2292 0 0</inkml:trace>
</inkml:ink>
</file>

<file path=ppt/ink/ink2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1.4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2 30 1444 0 0,'3'0'1370'0'0,"-3"0"-1395"0"0,1 0 253 0 0,0 0 1 0 0,0-1 0 0 0,0 1 0 0 0,0 0 0 0 0,0 0-1 0 0,0-1 1 0 0,0 1 0 0 0,0-1 0 0 0,0 1 0 0 0,0-1 0 0 0,0 1-1 0 0,0-1 1 0 0,0 1 0 0 0,-1-1 0 0 0,1 0 0 0 0,0 1-1 0 0,0-1 1 0 0,1-3 805 0 0,-5 0 40 0 0,3 4-1042 0 0,0-1 0 0 0,-1 1 1 0 0,1 0-1 0 0,0-1 0 0 0,0 1 0 0 0,0-1 0 0 0,0 1 1 0 0,-1 0-1 0 0,1-1 0 0 0,0 1 0 0 0,0 0 0 0 0,0-1 1 0 0,-1 1-1 0 0,1 0 0 0 0,0-1 0 0 0,-1 1 0 0 0,1 0 1 0 0,0 0-1 0 0,-1-1 0 0 0,1 1 0 0 0,0 0 0 0 0,-1 0 1 0 0,1 0-1 0 0,-1-1 0 0 0,0 1 0 0 0,-3-1 33 0 0,-1 0 0 0 0,1 0 1 0 0,0 0-1 0 0,-1 0 0 0 0,0 1 0 0 0,1-1 0 0 0,-1 1 0 0 0,1 0 0 0 0,-1 1 1 0 0,1-1-1 0 0,-1 1 0 0 0,1 0 0 0 0,-1 0 0 0 0,1 1 0 0 0,0-1 0 0 0,-1 1 0 0 0,1 0 1 0 0,0 0-1 0 0,0 0 0 0 0,0 0 0 0 0,1 1 0 0 0,-1 0 0 0 0,0 0 0 0 0,1 0 0 0 0,0 0 1 0 0,0 0-1 0 0,0 1 0 0 0,0-1 0 0 0,0 1 0 0 0,1 0 0 0 0,-1 0 0 0 0,1 0 0 0 0,0 0 1 0 0,1 0-1 0 0,-1 0 0 0 0,1 1 0 0 0,-1-1 0 0 0,1 1 0 0 0,0-1 0 0 0,1 1 0 0 0,-1-1 1 0 0,1 1-1 0 0,1 8 0 0 0,1 3 24 0 0,1 1 0 0 0,0-1 0 0 0,1 0 0 0 0,1-1 0 0 0,12 27-1 0 0,-8-22 113 0 0,-2 0-1 0 0,8 32 1 0 0,-15-50-166 0 0,1 1 1 0 0,-1 0 0 0 0,0-1-1 0 0,0 1 1 0 0,0-1 0 0 0,0 1-1 0 0,0 0 1 0 0,0-1-1 0 0,-1 1 1 0 0,1-1 0 0 0,-1 1-1 0 0,0-1 1 0 0,0 1 0 0 0,0-1-1 0 0,0 1 1 0 0,0-1 0 0 0,0 0-1 0 0,-1 0 1 0 0,1 0 0 0 0,-1 1-1 0 0,0-2 1 0 0,1 1 0 0 0,-1 0-1 0 0,0 0 1 0 0,-4 2 0 0 0,2-1-87 0 0,0-1 0 0 0,0 0 1 0 0,0 0-1 0 0,0-1 1 0 0,0 1-1 0 0,-1-1 1 0 0,1 0-1 0 0,0 0 1 0 0,-1-1-1 0 0,1 1 0 0 0,-1-1 1 0 0,1 0-1 0 0,-1 0 1 0 0,1 0-1 0 0,0-1 1 0 0,-5 0-1 0 0,-42-11-2143 0 0,14-1-3523 0 0,27 8 2112 0 0</inkml:trace>
</inkml:ink>
</file>

<file path=ppt/ink/ink2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2.04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8 0 1484 0 0,'0'0'5621'0'0,"1"0"-5468"0"0,0 1 0 0 0,-1-1 0 0 0,1 0-1 0 0,-1 0 1 0 0,1 1 0 0 0,0-1 0 0 0,-1 0 0 0 0,1 1-1 0 0,-1-1 1 0 0,1 1 0 0 0,-1-1 0 0 0,1 1-1 0 0,-1-1 1 0 0,1 1 0 0 0,-1-1 0 0 0,1 1 0 0 0,-1-1-1 0 0,1 1 1 0 0,-1 0 0 0 0,1 0 0 0 0,-19 64 2666 0 0,7-29-2622 0 0,2 1-1 0 0,-7 55 1 0 0,14-71-838 0 0,0-6-1148 0 0,1 0-1 0 0,1-1 1 0 0,1 19 0 0 0,1-18-1732 0 0</inkml:trace>
</inkml:ink>
</file>

<file path=ppt/ink/ink2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2.3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2 178 1068 0 0,'-11'-44'4657'0'0,"7"23"-2319"0"0,-2 1 0 0 0,-11-30 0 0 0,4 9-2300 0 0,12 39-639 0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0.2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5 58 1012 0 0,'-3'-2'1474'0'0,"-2"-4"-969"0"0,0 1 1 0 0,0 1-1 0 0,-1-1 0 0 0,0 1 1 0 0,0 0-1 0 0,0 0 1 0 0,-1 0-1 0 0,1 1 1 0 0,-1 0-1 0 0,-9-3 1 0 0,12 5-374 0 0,-1-1 1 0 0,0 1-1 0 0,0 0 1 0 0,0 0-1 0 0,0 0 1 0 0,0 1-1 0 0,0 0 0 0 0,0 0 1 0 0,-1 0-1 0 0,1 0 1 0 0,0 1-1 0 0,0 0 1 0 0,0 0-1 0 0,0 0 0 0 0,-6 4 1 0 0,9-4-112 0 0,1 0 0 0 0,-1 0 0 0 0,1 0 0 0 0,-1 0 0 0 0,1 0 0 0 0,0 0 0 0 0,0 1 0 0 0,0-1 0 0 0,0 0 0 0 0,0 1 0 0 0,0-1 0 0 0,0 1 0 0 0,0-1 0 0 0,0 1 0 0 0,1 0-1 0 0,-1-1 1 0 0,1 1 0 0 0,-1 0 0 0 0,1-1 0 0 0,-1 1 0 0 0,1 0 0 0 0,0 0 0 0 0,0-1 0 0 0,0 1 0 0 0,0 0 0 0 0,0 0 0 0 0,1-1 0 0 0,-1 1 0 0 0,0 0 0 0 0,1-1 0 0 0,0 3 0 0 0,2 6 30 0 0,1-1 0 0 0,-1 0 0 0 0,11 18-1 0 0,-12-24-43 0 0,29 46 96 0 0,2-2 0 0 0,53 59 0 0 0,-56-70-31 0 0,-19-22-13 0 0,-7-7-636 0 0,-8-17-10 0 0,0 0 467 0 0,1 0 0 0 0,-4-19 0 0 0,1 5 582 0 0,6 23-448 0 0,-1-1 0 0 0,1 1 0 0 0,-1 0-1 0 0,0 0 1 0 0,1 0 0 0 0,-1-1 0 0 0,0 1-1 0 0,0 0 1 0 0,0 0 0 0 0,0 0 0 0 0,0 0-1 0 0,0 1 1 0 0,0-1 0 0 0,0 0 0 0 0,-1 0-1 0 0,1 1 1 0 0,0-1 0 0 0,0 0 0 0 0,-1 1-1 0 0,1-1 1 0 0,0 1 0 0 0,0 0 0 0 0,-1-1-1 0 0,1 1 1 0 0,-1 0 0 0 0,1 0 0 0 0,0 0-1 0 0,-2 0 1 0 0,-35 4 55 0 0,36-3-57 0 0,-7 1-198 0 0,0 0 1 0 0,1 1 0 0 0,0 1 0 0 0,-1-1 0 0 0,1 1 0 0 0,1 1-1 0 0,-1-1 1 0 0,-10 9 0 0 0,-26 28-4577 0 0,34-29 2691 0 0</inkml:trace>
</inkml:ink>
</file>

<file path=ppt/ink/ink2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2.7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5 0 2640 0 0,'5'0'1926'0'0,"-2"0"-1571"0"0,1 1 0 0 0,-1-1 0 0 0,1 1 0 0 0,0-1 0 0 0,-1 1-1 0 0,1 0 1 0 0,-1 0 0 0 0,1 1 0 0 0,-1-1 0 0 0,0 1 0 0 0,0-1 0 0 0,0 1 0 0 0,0 0 0 0 0,0 0 0 0 0,0 1 0 0 0,0-1 0 0 0,0 1 0 0 0,-1-1 0 0 0,1 1 0 0 0,2 3 0 0 0,-1 3 106 0 0,0-1 1 0 0,-1 1 0 0 0,1 0-1 0 0,-2 0 1 0 0,1 0 0 0 0,-1 0-1 0 0,1 13 1 0 0,1 69 1212 0 0,-3-59-1249 0 0,-11 217 1098 0 0,-9-85-4868 0 0,17-157 2631 0 0,1 0 1 0 0,-1 0-1 0 0,0-1 0 0 0,-5 12 1 0 0,-8 7-5264 0 0</inkml:trace>
  <inkml:trace contextRef="#ctx0" brushRef="#br0" timeOffset="1">21 468 1036 0 0,'-2'-2'2170'0'0,"2"2"-2010"0"0,-13-15 3995 0 0,13 15-4057 0 0,-1 0 0 0 0,1 0 0 0 0,0 0 0 0 0,-1-1 0 0 0,1 1 0 0 0,0 0 0 0 0,-1 0 0 0 0,1-1 0 0 0,0 1 0 0 0,-1 0 0 0 0,1-1 0 0 0,0 1 0 0 0,0-1 0 0 0,0 1 0 0 0,-1 0 0 0 0,1-1 0 0 0,0 1 0 0 0,0 0 0 0 0,0-1 0 0 0,0 1 0 0 0,0-1 0 0 0,0 1 0 0 0,0-1 0 0 0,0 1 0 0 0,0 0 0 0 0,0-1 1 0 0,0 1-1 0 0,0-1 0 0 0,0 1 0 0 0,0 0 0 0 0,0-1 0 0 0,0 1 0 0 0,1-1 0 0 0,24-4 323 0 0,1 2 1 0 0,0 1 0 0 0,0 1-1 0 0,40 3 1 0 0,1 0-982 0 0,0-1-636 0 0,87-3-5167 0 0,-124-1 3924 0 0</inkml:trace>
</inkml:ink>
</file>

<file path=ppt/ink/ink2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3.4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1 2316 0 0,'-4'77'13038'0'0,"4"-76"-13144"0"0,0-1 0 0 0,1 0 1 0 0,-1 1-1 0 0,0-1 0 0 0,0 1 0 0 0,1-1 0 0 0,-1 0 1 0 0,0 1-1 0 0,1-1 0 0 0,-1 0 0 0 0,0 1 0 0 0,1-1 0 0 0,-1 0 1 0 0,0 0-1 0 0,1 1 0 0 0,-1-1 0 0 0,0 0 0 0 0,1 0 0 0 0,-1 0 1 0 0,1 1-1 0 0,-1-1 0 0 0,1 0 0 0 0,-1 0 0 0 0,0 0 1 0 0,1 0-1 0 0,-1 0 0 0 0,1 0 0 0 0,-1 0 0 0 0,1 0 0 0 0,17 0-5591 0 0,-5-3 1619 0 0</inkml:trace>
</inkml:ink>
</file>

<file path=ppt/ink/ink2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4.9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8 1 1392 0 0,'-3'1'3113'0'0,"-1"0"-2618"0"0,0 1-1 0 0,0 0 1 0 0,0 1 0 0 0,0-1-1 0 0,1 1 1 0 0,-1-1 0 0 0,1 1-1 0 0,-1 0 1 0 0,1 0-1 0 0,-5 6 1 0 0,-30 44 1540 0 0,16-21-1303 0 0,-51 77-377 0 0,62-90-4160 0 0,-14 38 0 0 0</inkml:trace>
</inkml:ink>
</file>

<file path=ppt/ink/ink2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5.3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8 7 860 0 0,'8'-6'7775'0'0,"-12"25"-6471"0"0,-1 1 1 0 0,-8 22-1 0 0,5-21-604 0 0,-8 42 0 0 0,-3 113 543 0 0,3-22-6828 0 0,13-131 1399 0 0,1-13 1170 0 0</inkml:trace>
</inkml:ink>
</file>

<file path=ppt/ink/ink2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5.7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4 81 1420 0 0,'-46'-45'7681'0'0,"14"14"-5722"0"0,26 26-2299 0 0,21 22-3898 0 0,-3-11 2288 0 0,1-2-178 0 0</inkml:trace>
  <inkml:trace contextRef="#ctx0" brushRef="#br0" timeOffset="1">496 113 2392 0 0,'5'2'478'0'0,"-1"-1"-1"0"0,1 1 1 0 0,-1 0-1 0 0,0 1 1 0 0,1-1-1 0 0,-1 1 1 0 0,0 0-1 0 0,-1-1 1 0 0,1 2-1 0 0,0-1 1 0 0,-1 0-1 0 0,0 1 1 0 0,1 0-1 0 0,-2 0 1 0 0,1 0-1 0 0,0 0 1 0 0,-1 0-1 0 0,0 0 1 0 0,0 1-1 0 0,0-1 1 0 0,2 8-1 0 0,2 9 334 0 0,-1 1-1 0 0,-1 0 0 0 0,2 33 0 0 0,-3-25-76 0 0,-1-16-679 0 0,27 265 2390 0 0,-22-93-7571 0 0,-8-138-1999 0 0</inkml:trace>
</inkml:ink>
</file>

<file path=ppt/ink/ink2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6.3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 261 1556 0 0,'-9'-13'5624'0'0,"9"12"-5506"0"0,-1 1 0 0 0,1-1 0 0 0,-1 0-1 0 0,1 0 1 0 0,0 0 0 0 0,-1 0 0 0 0,1 0 0 0 0,0 0 0 0 0,0 0 0 0 0,0 1-1 0 0,0-1 1 0 0,0 0 0 0 0,0 0 0 0 0,0 0 0 0 0,0 0 0 0 0,0 0 0 0 0,0 0-1 0 0,0 0 1 0 0,0 0 0 0 0,1 0 0 0 0,-1 0 0 0 0,0 1 0 0 0,1-1 0 0 0,-1 0-1 0 0,1 0 1 0 0,-1 0 0 0 0,1 1 0 0 0,-1-1 0 0 0,1 0 0 0 0,0 0 0 0 0,-1 1-1 0 0,1-1 1 0 0,1 0 0 0 0,2-2 3 0 0,-1 1 0 0 0,1 0 1 0 0,0 1-1 0 0,0-1 0 0 0,0 1 0 0 0,8-2 0 0 0,41-6-439 0 0,-1 3-1 0 0,1 2 1 0 0,63 3-1 0 0,-31 0-786 0 0,-62 0 800 0 0,166-7-2513 0 0,-96-3 3895 0 0,-4-10 3863 0 0,-87 20-4762 0 0,1 1 0 0 0,-1-1-1 0 0,0 1 1 0 0,1-1-1 0 0,-1 1 1 0 0,0 0 0 0 0,1 0-1 0 0,2 0 1 0 0,-4 0-159 0 0,-1 1-1 0 0,1-1 1 0 0,-1 0 0 0 0,0 0 0 0 0,1 0 0 0 0,-1 0-1 0 0,1 0 1 0 0,-1 1 0 0 0,1-1 0 0 0,-1 0 0 0 0,0 0-1 0 0,1 1 1 0 0,-1-1 0 0 0,0 0 0 0 0,1 1-1 0 0,-1-1 1 0 0,0 0 0 0 0,1 1 0 0 0,-1-1 0 0 0,0 1-1 0 0,0-1 1 0 0,1 0 0 0 0,-1 1 0 0 0,0-1 0 0 0,0 1-1 0 0,0-1 1 0 0,0 1 0 0 0,0-1 0 0 0,0 1 0 0 0,0-1-1 0 0,1 0 1 0 0,-1 1 0 0 0,0-1 0 0 0,0 1 0 0 0,-1-1-1 0 0,1 1 1 0 0,0-1 0 0 0,0 1 0 0 0,0-1-1 0 0,0 1 1 0 0,-1 0 0 0 0,-2 13 190 0 0,0 1 0 0 0,0 0-1 0 0,1 0 1 0 0,1 0 0 0 0,1 0 0 0 0,1 19 0 0 0,-1-29-204 0 0,1-1-1 0 0,-1 0 1 0 0,1 0 0 0 0,0 0 0 0 0,0 0 0 0 0,1 0-1 0 0,-1 0 1 0 0,1 0 0 0 0,0 0 0 0 0,0 0 0 0 0,1-1-1 0 0,-1 1 1 0 0,0-1 0 0 0,1 1 0 0 0,0-1 0 0 0,0 0-1 0 0,0 0 1 0 0,0-1 0 0 0,1 1 0 0 0,-1 0 0 0 0,1-1-1 0 0,-1 0 1 0 0,1 0 0 0 0,0 0 0 0 0,0 0 0 0 0,0-1-1 0 0,5 2 1 0 0,0-1-374 0 0,1-1-1 0 0,0 1 1 0 0,-1-1 0 0 0,1-1-1 0 0,0 0 1 0 0,-1 0-1 0 0,1-1 1 0 0,0-1-1 0 0,-1 1 1 0 0,18-6 0 0 0,-9 0-207 0 0,0 0 1 0 0,0-1-1 0 0,-1 0 1 0 0,21-15 0 0 0,-36 22 541 0 0,-2 0 71 0 0,0 1 1 0 0,0 0 0 0 0,0-1 0 0 0,1 1 0 0 0,-1 0 0 0 0,0 0 0 0 0,0-1-1 0 0,0 1 1 0 0,0 0 0 0 0,1 0 0 0 0,-1-1 0 0 0,0 1 0 0 0,0 0 0 0 0,1 0 0 0 0,-1 0-1 0 0,0-1 1 0 0,0 1 0 0 0,1 0 0 0 0,-1 0 0 0 0,0 0 0 0 0,0 0 0 0 0,1 0-1 0 0,-1-1 1 0 0,0 1 0 0 0,1 0 0 0 0,-1 0 0 0 0,0 0 0 0 0,1 0 0 0 0,2 4 166 0 0,0 0-1 0 0,1 0 1 0 0,-1 0 0 0 0,1 0 0 0 0,-1-1 0 0 0,1 0 0 0 0,0 0 0 0 0,1 0 0 0 0,-1 0 0 0 0,0-1 0 0 0,1 1-1 0 0,0-1 1 0 0,-1 0 0 0 0,1 0 0 0 0,0-1 0 0 0,0 0 0 0 0,0 0 0 0 0,0 0 0 0 0,9 0 0 0 0,-5 0 41 0 0,1 0 1 0 0,-1-1 0 0 0,1-1-1 0 0,-1 1 1 0 0,1-2-1 0 0,-1 1 1 0 0,0-1 0 0 0,1-1-1 0 0,-1 0 1 0 0,10-4 0 0 0,-16 6-204 0 0,0-1 1 0 0,0 0-1 0 0,0 0 1 0 0,0 0-1 0 0,0-1 1 0 0,0 1-1 0 0,-1 0 1 0 0,1-1-1 0 0,-1 0 1 0 0,1 0-1 0 0,-1 0 1 0 0,0 0-1 0 0,0 0 1 0 0,-1 0-1 0 0,1 0 1 0 0,-1 0-1 0 0,1-1 1 0 0,-1 1-1 0 0,0-1 1 0 0,0 1-1 0 0,-1-1 1 0 0,1 1-1 0 0,-1-1 1 0 0,1 0-1 0 0,-1 1 1 0 0,0-1-1 0 0,-1 0 1 0 0,1 1-1 0 0,-1-1 1 0 0,-1-6-1 0 0,-1-1-58 0 0,0 0-1 0 0,-1 0 1 0 0,0 0-1 0 0,-1 0 1 0 0,0 1-1 0 0,-1 0 0 0 0,0 0 1 0 0,-10-11-1 0 0,5 8-531 0 0,0 0 0 0 0,-2 1-1 0 0,1 0 1 0 0,-2 1-1 0 0,-18-12 1 0 0,-41-19-8323 0 0,61 36 4830 0 0</inkml:trace>
</inkml:ink>
</file>

<file path=ppt/ink/ink2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6.6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172 0 0,'5'5'861'0'0,"1"-1"0"0"0,-1 1 0 0 0,0 0-1 0 0,-1 1 1 0 0,1-1 0 0 0,-1 1 0 0 0,-1 0-1 0 0,1 0 1 0 0,-1 0 0 0 0,0 1 0 0 0,5 12 0 0 0,-2 5 208 0 0,0 0 0 0 0,3 28 0 0 0,1 7-138 0 0,2 11-1001 0 0,-5-23-2316 0 0,4-1-4951 0 0,-9-36 2894 0 0</inkml:trace>
</inkml:ink>
</file>

<file path=ppt/ink/ink2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7.0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4 82 1776 0 0,'-6'-81'13111'0'0,"-12"115"-12554"0"0,13-20-1386 0 0,1 0 0 0 0,-3 16 0 0 0,3 12-6435 0 0,4-29 3975 0 0</inkml:trace>
  <inkml:trace contextRef="#ctx0" brushRef="#br0" timeOffset="1">290 51 2228 0 0,'1'0'101'0'0,"25"-6"4335"0"0,-25 6-4279 0 0,0 0 0 0 0,0 0 0 0 0,1 0 0 0 0,-1 0 0 0 0,0 0 0 0 0,0 0 0 0 0,0 1 0 0 0,0-1 0 0 0,0 0 0 0 0,0 0 0 0 0,0 1 0 0 0,0-1 0 0 0,0 1 0 0 0,0-1 0 0 0,0 1 0 0 0,0-1 0 0 0,0 1 0 0 0,0 0 0 0 0,0-1 0 0 0,0 1 0 0 0,-1 0 0 0 0,1 0 0 0 0,1 1 0 0 0,3 8 380 0 0,1 1 0 0 0,-2 1-1 0 0,1-1 1 0 0,-2 1 0 0 0,1-1 0 0 0,1 18-1 0 0,8 81 481 0 0,-10-71-863 0 0,6 46-2657 0 0,-2-32-5465 0 0</inkml:trace>
</inkml:ink>
</file>

<file path=ppt/ink/ink2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7.33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0 1700 0 0,'34'-39'10952'0'0,"-27"64"-8839"0"0,-2 148-594 0 0,3-58-9044 0 0,-7-105 4735 0 0,2 0-775 0 0</inkml:trace>
</inkml:ink>
</file>

<file path=ppt/ink/ink2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8.1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3 1464 0 0,'10'-11'5474'0'0,"-8"10"-4865"0"0,-1 0-1 0 0,3-1 0 0 0,2 6 926 0 0,-3 12-1128 0 0,15 342 7852 0 0,-18-356-7852 0 0,-6 6 599 0 0,5-15-1032 0 0,1 0 0 0 0,0 1 0 0 0,0-1 0 0 0,1 1 0 0 0,0-1 0 0 0,0 0 0 0 0,1 1 0 0 0,-1 0 0 0 0,2-1 0 0 0,-1 1 0 0 0,4-8 0 0 0,3-4-176 0 0,1 0 0 0 0,17-24 1 0 0,-22 36 136 0 0,0-1 0 0 0,1 1 1 0 0,0 0-1 0 0,0 0 0 0 0,0 0 1 0 0,1 1-1 0 0,-1 0 0 0 0,1 0 1 0 0,0 1-1 0 0,1 0 0 0 0,-1 0 1 0 0,1 0-1 0 0,13-3 0 0 0,-17 6 48 0 0,0 1 0 0 0,0 0 0 0 0,0 0 0 0 0,0 0 0 0 0,0 1-1 0 0,0-1 1 0 0,0 1 0 0 0,0 0 0 0 0,0 0 0 0 0,0 0 0 0 0,-1 1 0 0 0,1-1-1 0 0,5 4 1 0 0,42 29-102 0 0,-49-33 117 0 0,19 16 50 0 0,21 23 0 0 0,21 17 97 0 0,-57-52-116 0 0,1 0-1 0 0,0-1 0 0 0,0 0 1 0 0,0 0-1 0 0,0-1 0 0 0,1 0 0 0 0,14 5 1 0 0,-16-8-43 0 0,-1 1 1 0 0,1-1-1 0 0,-1 0 1 0 0,1 0-1 0 0,-1 0 0 0 0,1-1 1 0 0,-1 0-1 0 0,0 0 1 0 0,1 0-1 0 0,-1-1 1 0 0,0 1-1 0 0,9-5 1 0 0,-1-1-273 0 0,0 0 0 0 0,0-1 0 0 0,13-11 0 0 0,-7 2 13 0 0,0 0 0 0 0,-2-2 0 0 0,0 0 0 0 0,22-34 0 0 0,-26 37 100 0 0,-12 14 99 0 0,-3 6-38 0 0,1-1 107 0 0,0 1 0 0 0,0 0 1 0 0,0-1-1 0 0,0 1 0 0 0,1 0 0 0 0,-1 0 1 0 0,1 4-1 0 0,0-1 84 0 0,0 0 0 0 0,1-1 0 0 0,0 1 0 0 0,0-1 1 0 0,1 1-1 0 0,-1-1 0 0 0,1 1 0 0 0,1-1 0 0 0,-1 0 0 0 0,1 0 0 0 0,0 0 1 0 0,1 0-1 0 0,-1-1 0 0 0,1 1 0 0 0,0-1 0 0 0,0 0 0 0 0,1 0 1 0 0,5 4-1 0 0,-5-5-19 0 0,-1-1-1 0 0,1 1 1 0 0,0-1 0 0 0,1 0 0 0 0,-1-1 0 0 0,0 0 0 0 0,1 1 0 0 0,0-2-1 0 0,-1 1 1 0 0,1-1 0 0 0,0 1 0 0 0,0-2 0 0 0,0 1 0 0 0,-1-1 0 0 0,1 0-1 0 0,0 0 1 0 0,0 0 0 0 0,0-1 0 0 0,0 0 0 0 0,9-2 0 0 0,-9 1-51 0 0,-1-1 0 0 0,0 1 1 0 0,0-1-1 0 0,0 0 1 0 0,0 0-1 0 0,0 0 0 0 0,-1-1 1 0 0,0 1-1 0 0,1-1 1 0 0,-1 0-1 0 0,0-1 0 0 0,-1 1 1 0 0,1-1-1 0 0,-1 1 1 0 0,0-1-1 0 0,0 0 0 0 0,-1 0 1 0 0,1-1-1 0 0,-1 1 1 0 0,3-10-1 0 0,-3 6-23 0 0,1 0 0 0 0,-1 0 1 0 0,-1 0-1 0 0,0-1 0 0 0,0 1 0 0 0,-1 0 1 0 0,0-1-1 0 0,0 1 0 0 0,-1 0 0 0 0,0-1 1 0 0,-5-16-1 0 0,3 19-54 0 0,1 0 0 0 0,-1 0 1 0 0,-1 1-1 0 0,1-1 0 0 0,-1 1 0 0 0,0 0 1 0 0,-1 0-1 0 0,1 0 0 0 0,-1 1 0 0 0,0-1 1 0 0,0 1-1 0 0,-1 0 0 0 0,0 1 0 0 0,-7-5 0 0 0,6 5-347 0 0,0 0-1 0 0,0 1 1 0 0,-1 0 0 0 0,0 0-1 0 0,1 0 1 0 0,-1 1-1 0 0,0 1 1 0 0,0-1-1 0 0,0 1 1 0 0,0 1-1 0 0,0 0 1 0 0,-9 0-1 0 0,15 0 155 0 0,0 0 1 0 0,0 0-1 0 0,0 1 0 0 0,0-1 1 0 0,1 0-1 0 0,-1 1 0 0 0,0-1 1 0 0,0 1-1 0 0,1 0 0 0 0,-1-1 1 0 0,0 1-1 0 0,1 0 0 0 0,-1 0 1 0 0,1 0-1 0 0,-1 0 0 0 0,1 1 1 0 0,0-1-1 0 0,-2 2 0 0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1.0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 95 1244 0 0,'0'-3'1730'0'0,"0"-4"-1462"0"0,-2-11 5439 0 0,-5 25-5311 0 0,4-1-197 0 0,0 1 0 0 0,0-1 0 0 0,0 1-1 0 0,1 0 1 0 0,0-1 0 0 0,0 1 0 0 0,1 0 0 0 0,0 0 0 0 0,0 0 0 0 0,0 1 0 0 0,1-1-1 0 0,1 11 1 0 0,0-5-6 0 0,1 0-1 0 0,1-1 0 0 0,0 1 0 0 0,0 0 0 0 0,11 23 0 0 0,-9-26-134 0 0,0 0-1 0 0,1 0 1 0 0,1-1-1 0 0,0 1 0 0 0,0-2 1 0 0,1 1-1 0 0,0-1 1 0 0,0 0-1 0 0,1-1 1 0 0,0 0-1 0 0,0 0 1 0 0,0-1-1 0 0,1 0 1 0 0,0 0-1 0 0,1-1 1 0 0,18 6-1 0 0,-21-8-45 0 0,1-1 0 0 0,-1 0 0 0 0,1 0 0 0 0,-1-1 0 0 0,1 0 0 0 0,0-1 0 0 0,-1 1 0 0 0,1-2 0 0 0,0 1 1 0 0,-1-1-1 0 0,1 0 0 0 0,-1-1 0 0 0,1 0 0 0 0,-1-1 0 0 0,0 0 0 0 0,0 0 0 0 0,0 0 0 0 0,0-1 0 0 0,0 0 0 0 0,-1-1 0 0 0,0 0 0 0 0,9-7 0 0 0,-9 5-19 0 0,0 0-1 0 0,0-1 1 0 0,-1 0-1 0 0,-1 0 0 0 0,1 0 1 0 0,-1-1-1 0 0,5-10 1 0 0,-3-2-81 0 0,-6 18 63 0 0,-2 3-118 0 0,1 0 142 0 0,0 0 0 0 0,-1 0 0 0 0,1 0 1 0 0,0 0-1 0 0,-1 1 0 0 0,1-1 1 0 0,0 0-1 0 0,0 0 0 0 0,-1 0 0 0 0,1 0 1 0 0,0 0-1 0 0,-1 1 0 0 0,1-1 1 0 0,0 0-1 0 0,0 0 0 0 0,-1 1 0 0 0,1-1 1 0 0,0 0-1 0 0,0 0 0 0 0,0 1 0 0 0,0-1 1 0 0,-1 0-1 0 0,1 1 0 0 0,0-1 1 0 0,0 0-1 0 0,0 0 0 0 0,0 1 0 0 0,0-1 1 0 0,0 0-1 0 0,0 1 0 0 0,0-1 1 0 0,0 0-1 0 0,0 1 0 0 0,0-1 0 0 0,0 0 1 0 0,0 1-1 0 0,0-1 0 0 0,0 0 1 0 0,0 1-1 0 0,0-1 0 0 0,0 0 0 0 0,1 1 1 0 0,7 16-12 0 0,-1-12 65 0 0,0 1 0 0 0,0-1 0 0 0,0 0 0 0 0,0-1 0 0 0,1 0 0 0 0,0 0 0 0 0,0 0 0 0 0,0-1 0 0 0,0 0 0 0 0,1-1 0 0 0,-1 0 0 0 0,16 2 0 0 0,-15-3 125 0 0,-1-1 0 0 0,1 0 0 0 0,-1 0 0 0 0,1-1-1 0 0,-1 0 1 0 0,0-1 0 0 0,1 0 0 0 0,-1 0 0 0 0,0 0-1 0 0,0-1 1 0 0,0-1 0 0 0,-1 1 0 0 0,15-10 0 0 0,-18 10-109 0 0,0 0 0 0 0,-1 0 0 0 0,1 0 1 0 0,-1 0-1 0 0,1-1 0 0 0,-1 0 0 0 0,0 0 0 0 0,-1 0 1 0 0,1 0-1 0 0,-1 0 0 0 0,1 0 0 0 0,-1 0 1 0 0,0-1-1 0 0,-1 1 0 0 0,1-1 0 0 0,-1 0 0 0 0,0 1 1 0 0,0-1-1 0 0,-1 0 0 0 0,1 0 0 0 0,-1 0 1 0 0,0 1-1 0 0,0-1 0 0 0,-1 0 0 0 0,-1-9 0 0 0,0 5-56 0 0,-1-1-1 0 0,0 0 0 0 0,-1 1 1 0 0,0-1-1 0 0,-1 1 0 0 0,1 0 0 0 0,-2 0 1 0 0,1 1-1 0 0,-1 0 0 0 0,-1 0 1 0 0,1 0-1 0 0,-11-8 0 0 0,5 5-850 0 0,-1 0 0 0 0,-1 2 0 0 0,1 0 0 0 0,-1 0 0 0 0,-1 1 1 0 0,-26-10-1 0 0,36 17-334 0 0,1-1 1 0 0,-1 1 0 0 0,0 0 0 0 0,-10 0-1 0 0,6 1-952 0 0</inkml:trace>
</inkml:ink>
</file>

<file path=ppt/ink/ink2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8.5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9 2200 0 0,'4'-3'719'0'0,"1"0"270"0"0,1-1 1 0 0,-1 1-1 0 0,1 0 0 0 0,-1 0 1 0 0,1 0-1 0 0,10-3 1 0 0,-14 6-869 0 0,-1 0 1 0 0,1 0 0 0 0,-1 0 0 0 0,1 0-1 0 0,-1 0 1 0 0,1 0 0 0 0,-1 0 0 0 0,0 0-1 0 0,1 1 1 0 0,-1-1 0 0 0,1 1 0 0 0,-1-1-1 0 0,0 1 1 0 0,1-1 0 0 0,-1 1 0 0 0,0 0 0 0 0,0 0-1 0 0,0 0 1 0 0,1 0 0 0 0,-1-1 0 0 0,0 1-1 0 0,0 1 1 0 0,0-1 0 0 0,0 0 0 0 0,0 0-1 0 0,-1 0 1 0 0,1 0 0 0 0,0 1 0 0 0,-1-1-1 0 0,1 0 1 0 0,0 1 0 0 0,-1-1 0 0 0,0 1-1 0 0,1-1 1 0 0,-1 2 0 0 0,16 52 1189 0 0,-3 0 1 0 0,10 98-1 0 0,-13-78-1489 0 0,-8-56-799 0 0,0 0 0 0 0,-2 32 0 0 0,-8 7-6781 0 0,4-47 2867 0 0</inkml:trace>
</inkml:ink>
</file>

<file path=ppt/ink/ink2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8.8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08 2364 0 0,'0'-3'316'0'0,"1"0"0"0"0,-1 1-1 0 0,1-1 1 0 0,0 0 0 0 0,0 0 0 0 0,0 0-1 0 0,0 1 1 0 0,0-1 0 0 0,0 1 0 0 0,1-1-1 0 0,0 1 1 0 0,-1-1 0 0 0,1 1 0 0 0,0 0-1 0 0,0 0 1 0 0,0 0 0 0 0,0 0 0 0 0,0 0-1 0 0,1 0 1 0 0,-1 0 0 0 0,1 1 0 0 0,-1-1-1 0 0,1 1 1 0 0,0 0 0 0 0,5-2 0 0 0,7-3 167 0 0,1 1 0 0 0,0 1 0 0 0,22-3 0 0 0,-29 6-210 0 0,209-22 2210 0 0,-75 20-8020 0 0</inkml:trace>
</inkml:ink>
</file>

<file path=ppt/ink/ink2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19.32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5 0 1184 0 0,'0'0'3395'0'0,"-7"8"-1651"0"0,4-2-1362 0 0,1 0 0 0 0,0 0 0 0 0,0 0 0 0 0,0 0 1 0 0,1 0-1 0 0,-1 0 0 0 0,1 9 0 0 0,-3 6 297 0 0,-11 59 2041 0 0,-7 101-1 0 0,20-138-2130 0 0,2 1-1 0 0,2-1 0 0 0,2 0 0 0 0,10 48 1 0 0,-6-53-315 0 0,2 0 1 0 0,27 65 0 0 0,-30-86-246 0 0,2-1 0 0 0,-1 0 0 0 0,2 0 1 0 0,0-1-1 0 0,1 0 0 0 0,0-1 0 0 0,1 0 0 0 0,16 14 0 0 0,-22-24-241 0 0,-1 1-1 0 0,1-1 0 0 0,0 0 0 0 0,0-1 1 0 0,0 0-1 0 0,1 0 0 0 0,-1 0 0 0 0,1 0 1 0 0,0-1-1 0 0,10 2 0 0 0,-13-4-264 0 0,-1 1 1 0 0,1-1-1 0 0,0 0 0 0 0,0 0 1 0 0,0 0-1 0 0,0-1 0 0 0,0 1 0 0 0,0-1 1 0 0,0 0-1 0 0,0 0 0 0 0,-1 0 1 0 0,1-1-1 0 0,0 1 0 0 0,-1-1 1 0 0,1 0-1 0 0,-1 0 0 0 0,1 0 0 0 0,-1-1 1 0 0,5-4-1 0 0,6-7-4771 0 0</inkml:trace>
</inkml:ink>
</file>

<file path=ppt/ink/ink2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0.0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6 332 1036 0 0,'-126'-30'9867'0'0,"116"25"-8886"0"0,14 0-428 0 0,15 0-151 0 0,311-28 878 0 0,-137 18-1176 0 0,-22 6 335 0 0,-168 8-351 0 0,2 1-72 0 0,-1-1-1 0 0,1 1 1 0 0,0 0-1 0 0,-1 0 1 0 0,1 1 0 0 0,-1-1-1 0 0,1 1 1 0 0,-1 0 0 0 0,1 0-1 0 0,-1 1 1 0 0,0-1-1 0 0,1 1 1 0 0,-1 0 0 0 0,6 4-1 0 0,-3-3 33 0 0,0 0-1 0 0,-1 0 0 0 0,2 0 0 0 0,8 1 1 0 0,0-2 21 0 0,-1-1-1 0 0,1 0 1 0 0,-1-1 0 0 0,1-1 0 0 0,-1-1-1 0 0,1 0 1 0 0,-1-1 0 0 0,0 0 0 0 0,0-1 0 0 0,22-10-1 0 0,-29 11-91 0 0,0-2-1 0 0,0 1 0 0 0,-1-1 0 0 0,10-7 0 0 0,-14 10-17 0 0,-1-1 0 0 0,1 1-1 0 0,0 0 1 0 0,-1-1 0 0 0,0 0-1 0 0,0 0 1 0 0,0 1 0 0 0,0-1-1 0 0,0 0 1 0 0,0-1-1 0 0,-1 1 1 0 0,3-6 0 0 0,-4 8 28 0 0,0-1 0 0 0,0 1 0 0 0,0 0 1 0 0,0 0-1 0 0,0 0 0 0 0,0 0 0 0 0,0 0 0 0 0,-1 0 1 0 0,1 0-1 0 0,0 0 0 0 0,-1 0 0 0 0,1 0 0 0 0,0 0 0 0 0,-1 0 1 0 0,1 0-1 0 0,-1 0 0 0 0,0 1 0 0 0,1-1 0 0 0,-1 0 1 0 0,0 0-1 0 0,1 0 0 0 0,-1 1 0 0 0,0-1 0 0 0,0 0 1 0 0,0 1-1 0 0,0-1 0 0 0,0 1 0 0 0,0-1 0 0 0,0 1 1 0 0,-2-1-1 0 0,0-1-9 0 0,-1 1 1 0 0,0 0-1 0 0,-1 0 0 0 0,1 0 1 0 0,0 0-1 0 0,-4 1 1 0 0,-8 0 7 0 0,1 0 0 0 0,0 2 0 0 0,-1 0 0 0 0,1 1 1 0 0,0 0-1 0 0,-20 8 0 0 0,13-3 118 0 0,0 1-1 0 0,0 2 1 0 0,-28 17-1 0 0,43-23-61 0 0,0 0-1 0 0,1 0 0 0 0,-1 0 1 0 0,1 0-1 0 0,0 1 1 0 0,1 0-1 0 0,-1 1 1 0 0,1-1-1 0 0,0 1 1 0 0,1 0-1 0 0,-5 9 1 0 0,8-12-22 0 0,-1 0 1 0 0,1 0-1 0 0,-1 0 1 0 0,1 1 0 0 0,1-1-1 0 0,-1 0 1 0 0,0 1-1 0 0,1-1 1 0 0,0 1 0 0 0,0-1-1 0 0,1 0 1 0 0,-1 1-1 0 0,1-1 1 0 0,0 1 0 0 0,0-1-1 0 0,0 0 1 0 0,1 0-1 0 0,-1 0 1 0 0,1 0 0 0 0,0 0-1 0 0,0 0 1 0 0,4 5-1 0 0,3 2-11 0 0,0 0-1 0 0,1 0 1 0 0,0-1-1 0 0,1-1 1 0 0,0 1-1 0 0,0-2 0 0 0,1 0 1 0 0,0 0-1 0 0,1-1 1 0 0,-1 0-1 0 0,1-1 1 0 0,16 5-1 0 0,-2-2-311 0 0,0-2 0 0 0,0 0 0 0 0,0-2 0 0 0,1-1 0 0 0,37 1 0 0 0,-48-4 80 0 0,-1-1 1 0 0,1-1 0 0 0,-1-1-1 0 0,0 0 1 0 0,1-1 0 0 0,-1-1-1 0 0,0 0 1 0 0,0-1 0 0 0,-1-1-1 0 0,0-1 1 0 0,0 0 0 0 0,0 0-1 0 0,-1-2 1 0 0,0 0 0 0 0,-1 0-1 0 0,1-1 1 0 0,-2-1 0 0 0,14-15-1 0 0,11-17 529 0 0,-2-2 0 0 0,-2-1 0 0 0,-3-2-1 0 0,-1 0 1 0 0,25-61 0 0 0,-47 95 23 0 0,-3 6-143 0 0,0 1 1 0 0,-1-1-1 0 0,0 0 1 0 0,0 0-1 0 0,-1 0 1 0 0,2-12-1 0 0,-4 18 320 0 0,-2 4-266 0 0,-1 1-184 0 0,0 0 1 0 0,0 0 0 0 0,0 1 0 0 0,0 0 0 0 0,1-1-1 0 0,-1 1 1 0 0,1 0 0 0 0,0 0 0 0 0,1 1 0 0 0,-3 5-1 0 0,-12 52 225 0 0,13-50-224 0 0,-14 85-239 0 0,5 1 1 0 0,0 120-1 0 0,11-202-616 0 0,0 42-1252 0 0,1-55 1601 0 0,1 1 0 0 0,-1-1 0 0 0,1 0 0 0 0,-1 1 0 0 0,1-1 0 0 0,0 0 0 0 0,0 1 0 0 0,1-1 0 0 0,-1 0 0 0 0,1 0 0 0 0,-1 0 0 0 0,1 0 0 0 0,3 3 0 0 0,2 0-2773 0 0</inkml:trace>
</inkml:ink>
</file>

<file path=ppt/ink/ink2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0.3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1 476 0 0,'6'-9'1391'0'0,"-4"4"-768"0"0,0 1 0 0 0,1-1 0 0 0,0 1 0 0 0,0 0 0 0 0,0 0 0 0 0,0 0 0 0 0,1 0-1 0 0,0 0 1 0 0,0 1 0 0 0,0 0 0 0 0,5-4 0 0 0,-8 7-570 0 0,-1 0 0 0 0,1 0 1 0 0,-1 0-1 0 0,1 0 0 0 0,-1 0 0 0 0,1 0 0 0 0,-1 0 0 0 0,0 0 0 0 0,1 0 0 0 0,-1 0 1 0 0,1 0-1 0 0,-1 0 0 0 0,1 1 0 0 0,-1-1 0 0 0,0 0 0 0 0,1 0 0 0 0,-1 1 1 0 0,1-1-1 0 0,-1 0 0 0 0,0 0 0 0 0,1 1 0 0 0,-1-1 0 0 0,0 0 0 0 0,1 1 0 0 0,-1-1 1 0 0,0 1-1 0 0,0-1 0 0 0,1 0 0 0 0,-1 1 0 0 0,0-1 0 0 0,0 1 0 0 0,0-1 0 0 0,0 1 1 0 0,1-1-1 0 0,-1 0 0 0 0,0 1 0 0 0,0-1 0 0 0,0 1 0 0 0,0 0 0 0 0,3 18 870 0 0,-3 153 3444 0 0,-2-77-3515 0 0,-4 27-149 0 0,2-63-2518 0 0,2-3-4686 0 0</inkml:trace>
</inkml:ink>
</file>

<file path=ppt/ink/ink2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1.0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4 1 1500 0 0,'-12'47'2654'0'0,"-2"3"-767"0"0,2 0 1 0 0,2 1 0 0 0,-3 67 0 0 0,10 114 2386 0 0,3-218-2976 0 0,0-20-311 0 0,3-24-627 0 0,0 19-390 0 0,2 1 0 0 0,-1-1 0 0 0,1 1-1 0 0,1 0 1 0 0,0 0 0 0 0,1 0-1 0 0,0 1 1 0 0,0 0 0 0 0,0 0 0 0 0,2 1-1 0 0,-1 0 1 0 0,10-7 0 0 0,-8 7 0 0 0,0 1 0 0 0,0 0 0 0 0,1 1 0 0 0,0 0 0 0 0,0 1 1 0 0,0 0-1 0 0,0 1 0 0 0,1 0 0 0 0,0 0 0 0 0,0 2 0 0 0,16-3 0 0 0,-19 5 13 0 0,1 1 0 0 0,-1-1 0 0 0,0 2 0 0 0,0-1 0 0 0,1 1 0 0 0,-1 1 0 0 0,0-1 0 0 0,-1 1 0 0 0,1 1 0 0 0,-1 0 0 0 0,15 9 0 0 0,-19-11 8 0 0,-1 1 0 0 0,0-1-1 0 0,0 1 1 0 0,0 0 0 0 0,0-1-1 0 0,0 1 1 0 0,0 1-1 0 0,-1-1 1 0 0,0 0 0 0 0,0 1-1 0 0,0-1 1 0 0,3 8 0 0 0,-4-8 6 0 0,0 0 1 0 0,-1 0 0 0 0,1 0 0 0 0,-1 0 0 0 0,0 0-1 0 0,0 0 1 0 0,0 0 0 0 0,0 0 0 0 0,-1 0 0 0 0,1 0 0 0 0,-1 0-1 0 0,0 0 1 0 0,0 0 0 0 0,0 0 0 0 0,0 0 0 0 0,0-1-1 0 0,-1 1 1 0 0,1 0 0 0 0,-3 2 0 0 0,-2 3 12 0 0,0 0 0 0 0,-1-1 0 0 0,0 0-1 0 0,-1 0 1 0 0,1 0 0 0 0,-1-1 0 0 0,-1 0 0 0 0,1-1 0 0 0,-1 0-1 0 0,0 0 1 0 0,-13 5 0 0 0,-8 1-134 0 0,0-1 0 0 0,-41 8 1 0 0,47-13-471 0 0,1-2 1 0 0,-49 2-1 0 0,59-5-106 0 0,1 0-1 0 0,-1-2 1 0 0,1 1 0 0 0,0-1-1 0 0,-1-1 1 0 0,1-1 0 0 0,-17-6-1 0 0,28 10 413 0 0,-1-1 0 0 0,1 0 0 0 0,0 1 0 0 0,-1-1 0 0 0,1 0 0 0 0,0 1 0 0 0,0-1 0 0 0,0 0 0 0 0,0 0 0 0 0,0 0-1 0 0,0 0 1 0 0,0 0 0 0 0,0 0 0 0 0,-1-3 0 0 0,-1-6-2853 0 0</inkml:trace>
</inkml:ink>
</file>

<file path=ppt/ink/ink2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1.5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39 612 0 0,'5'4'880'0'0,"-1"0"-1"0"0,0 0 1 0 0,-1 1-1 0 0,1-1 1 0 0,-1 1-1 0 0,1 0 1 0 0,-2 0-1 0 0,1 0 1 0 0,4 10-1 0 0,-5-9-475 0 0,1 0-1 0 0,-1 0 0 0 0,1-1 0 0 0,1 1 0 0 0,-1-1 0 0 0,1 0 1 0 0,0 0-1 0 0,0 0 0 0 0,9 7 0 0 0,-6-7-299 0 0,1-1-1 0 0,0 1 0 0 0,0-2 0 0 0,1 1 1 0 0,-1-1-1 0 0,1 0 0 0 0,0-1 0 0 0,0 0 1 0 0,0 0-1 0 0,0-1 0 0 0,0 0 1 0 0,0-1-1 0 0,0 0 0 0 0,0 0 0 0 0,0-1 1 0 0,14-3-1 0 0,-10 2-237 0 0,0-2-1 0 0,1 0 1 0 0,-2 0-1 0 0,1-1 1 0 0,0 0 0 0 0,-1-1-1 0 0,0-1 1 0 0,0 0-1 0 0,-1-1 1 0 0,14-11 0 0 0,15-19-60 0 0,-38 36 249 0 0,-4 3 0 0 0,1 1 0 0 0,-1-1 1 0 0,1 1-1 0 0,-1-1 0 0 0,1 1 0 0 0,-1 0 0 0 0,1 0 1 0 0,0-1-1 0 0,0 1 0 0 0,-1 3 0 0 0,0 4 40 0 0,1 0 1 0 0,0 0-1 0 0,1 0 0 0 0,0 0 0 0 0,0 0 0 0 0,1-1 0 0 0,0 1 0 0 0,1 0 0 0 0,0 0 0 0 0,0-1 0 0 0,1 1 1 0 0,4 8-1 0 0,-5-12-51 0 0,1 0 1 0 0,-1 0 0 0 0,1 0 0 0 0,1 0 0 0 0,-1-1-1 0 0,1 0 1 0 0,-1 1 0 0 0,1-1 0 0 0,0 0 0 0 0,1-1-1 0 0,-1 1 1 0 0,1-1 0 0 0,-1 0 0 0 0,1 0-1 0 0,0 0 1 0 0,0 0 0 0 0,1-1 0 0 0,-1 0 0 0 0,0 0-1 0 0,10 1 1 0 0,-11-2-62 0 0,1 0-1 0 0,-1-1 1 0 0,1 1-1 0 0,0-1 1 0 0,-1 0 0 0 0,1-1-1 0 0,-1 1 1 0 0,1-1-1 0 0,-1 0 1 0 0,1 0-1 0 0,-1 0 1 0 0,0-1 0 0 0,1 1-1 0 0,-1-1 1 0 0,0 0-1 0 0,5-4 1 0 0,-4 2-114 0 0,0 0 0 0 0,0-1 1 0 0,0 0-1 0 0,0 0 0 0 0,-1 0 1 0 0,1 0-1 0 0,-1-1 0 0 0,-1 0 1 0 0,6-11-1 0 0,1-6-284 0 0,-2 0-1 0 0,0-1 1 0 0,-2 0 0 0 0,6-42-1 0 0,-1-37 2223 0 0,-2-152-1 0 0,-1 289-574 0 0,2 33-873 0 0,-3-11-332 0 0,21 176 592 0 0,-17-76-3672 0 0,-11-132 1686 0 0,2 15-1653 0 0,1-14-1763 0 0,0-16 878 0 0</inkml:trace>
</inkml:ink>
</file>

<file path=ppt/ink/ink2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1.9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7 684 0 0,'6'-23'9126'0'0,"-1"19"-8688"0"0,0 0 0 0 0,0 0 1 0 0,1 0-1 0 0,0 1 1 0 0,-1 0-1 0 0,2 0 0 0 0,-1 1 1 0 0,0-1-1 0 0,0 1 1 0 0,1 0-1 0 0,-1 1 0 0 0,14-2 1 0 0,11 0 37 0 0,42 1 0 0 0,-5 4-3656 0 0,-25 1-3775 0 0</inkml:trace>
</inkml:ink>
</file>

<file path=ppt/ink/ink2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3.4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8 0 128 0 0,'0'0'7415'0'0,"-5"12"-4392"0"0,-1 0-2437 0 0,1 1-1 0 0,1-1 1 0 0,0 1 0 0 0,1 0-1 0 0,0 0 1 0 0,0 17-1 0 0,0 84-1657 0 0,3-74-1494 0 0,-2-18-2164 0 0</inkml:trace>
</inkml:ink>
</file>

<file path=ppt/ink/ink2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3.8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 167 2792 0 0,'-4'-22'3390'0'0,"-1"0"-1"0"0,-11-32 1 0 0,5 20-2409 0 0,1 0-3307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1.3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 276 36 0 0,'6'0'435'0'0,"-1"0"0"0"0,1 1-1 0 0,0 0 1 0 0,-1 0 0 0 0,1 0 0 0 0,-1 1-1 0 0,1 0 1 0 0,-1 0 0 0 0,0 0 0 0 0,0 0 0 0 0,0 1-1 0 0,0 0 1 0 0,0 0 0 0 0,0 0 0 0 0,-1 1-1 0 0,0 0 1 0 0,1 0 0 0 0,-2 0 0 0 0,1 0 0 0 0,0 0-1 0 0,-1 1 1 0 0,0 0 0 0 0,0 0 0 0 0,0 0 0 0 0,0 0-1 0 0,1 5 1 0 0,5 13 17 0 0,0 1 0 0 0,-2-1 0 0 0,-1 1-1 0 0,4 30 1 0 0,-3 21-2198 0 0,-5 3-4971 0 0,-2-66 3550 0 0</inkml:trace>
  <inkml:trace contextRef="#ctx0" brushRef="#br0" timeOffset="1">147 210 96 0 0,'-19'-38'3817'0'0,"-1"1"0"0"0,-38-51 1 0 0,33 51-2822 0 0,24 36-1051 0 0,1 0 0 0 0,0 1 0 0 0,0-1 0 0 0,-1 1 0 0 0,1-1 0 0 0,-1 1-1 0 0,1-1 1 0 0,0 1 0 0 0,-1-1 0 0 0,1 1 0 0 0,-1 0 0 0 0,1-1-1 0 0,-1 1 1 0 0,0 0 0 0 0,1-1 0 0 0,-1 1 0 0 0,1 0 0 0 0,-1-1 0 0 0,1 1-1 0 0,-1 0 1 0 0,0 0 0 0 0,1 0 0 0 0,-1 0 0 0 0,0 0 0 0 0,1 0-1 0 0,-1 0 1 0 0,0 0 0 0 0,1 0 0 0 0,-1 0 0 0 0,1 0 0 0 0,-1 0-1 0 0,0 0 1 0 0,1 0 0 0 0,-1 1 0 0 0,0-1 0 0 0,1 0 0 0 0,-1 0 0 0 0,1 1-1 0 0,-1-1 1 0 0,0 1 0 0 0,-1 0 169 0 0,2 0-218 0 0,0-1 1 0 0,0 1-1 0 0,0 0 0 0 0,1 0 1 0 0,-1-1-1 0 0,0 1 0 0 0,0 0 1 0 0,0 0-1 0 0,1-1 0 0 0,-1 1 1 0 0,0 0-1 0 0,1-1 0 0 0,-1 1 1 0 0,0 0-1 0 0,1-1 0 0 0,-1 1 1 0 0,1 0-1 0 0,0 0 0 0 0,16 15-3411 0 0,-8-8 1007 0 0</inkml:trace>
</inkml:ink>
</file>

<file path=ppt/ink/ink2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4.1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124 0 0,'3'2'1165'0'0,"2"1"-704"0"0,0 0 1 0 0,-1 0-1 0 0,0 1 0 0 0,1 0 1 0 0,-1 0-1 0 0,-1 0 0 0 0,1 0 1 0 0,0 1-1 0 0,-1-1 0 0 0,0 1 1 0 0,0 0-1 0 0,-1 0 0 0 0,1 0 1 0 0,-1 0-1 0 0,0 1 0 0 0,0-1 1 0 0,1 11-1 0 0,3 12 513 0 0,-2 0-1 0 0,0 40 1 0 0,-2-37-473 0 0,6 93-1175 0 0,-8-122 598 0 0,-3 9-1053 0 0,-2-18 966 0 0,0 0 0 0 0,1 0 1 0 0,0-1-1 0 0,0 0 0 0 0,0 0 1 0 0,1 0-1 0 0,1 0 0 0 0,-3-10 0 0 0,-4-12-101 0 0,4 18 384 0 0,2 0-1 0 0,-1-1 1 0 0,2 1-1 0 0,-1-1 1 0 0,2 0-1 0 0,0 0 1 0 0,0 0-1 0 0,1 0 1 0 0,1 0 0 0 0,0 1-1 0 0,5-23 1 0 0,-3 20 192 0 0,1 1 0 0 0,6-16 0 0 0,-9 28-61 0 0,11 9 289 0 0,-9-3-414 0 0,-1 0 0 0 0,-1-1 0 0 0,1 1-1 0 0,-1 0 1 0 0,1 0 0 0 0,-1 0 0 0 0,0 0-1 0 0,0 0 1 0 0,-1 1 0 0 0,1 4 0 0 0,0-1 75 0 0,33 246 2698 0 0,-29-218-2678 0 0,2-1 1 0 0,1-1-1 0 0,18 46 1 0 0,-21-68-456 0 0,1-1 0 0 0,0 1 1 0 0,0-1-1 0 0,2 0 0 0 0,10 13 1 0 0,-13-18-371 0 0,1 0 1 0 0,-1-1 0 0 0,1 0 0 0 0,1 0-1 0 0,-1 0 1 0 0,1-1 0 0 0,0 1-1 0 0,0-2 1 0 0,12 6 0 0 0,-3-4-3122 0 0,2-3-1650 0 0</inkml:trace>
</inkml:ink>
</file>

<file path=ppt/ink/ink2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4.4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0 69 948 0 0,'-17'-4'1972'0'0,"1"0"1067"0"0,1 0-1 0 0,-20-8 0 0 0,35 12-2997 0 0,0 0 0 0 0,0 0 1 0 0,-1 0-1 0 0,1 0 0 0 0,0 0 0 0 0,-1 0 0 0 0,1 0 1 0 0,0 0-1 0 0,0-1 0 0 0,-1 1 0 0 0,1 0 0 0 0,0 0 1 0 0,0 0-1 0 0,-1 0 0 0 0,1-1 0 0 0,0 1 0 0 0,0 0 1 0 0,0 0-1 0 0,-1 0 0 0 0,1-1 0 0 0,0 1 0 0 0,0 0 1 0 0,0 0-1 0 0,0-1 0 0 0,0 1 0 0 0,-1 0 0 0 0,1 0 0 0 0,0-1 1 0 0,0 1-1 0 0,0 0 0 0 0,0 0 0 0 0,0-1 0 0 0,0 1 1 0 0,0 0-1 0 0,0-1 0 0 0,0 1 0 0 0,0 0 0 0 0,0 0 1 0 0,0-1-1 0 0,0 1 0 0 0,0 0 0 0 0,0-1 0 0 0,0 1 1 0 0,0 0-1 0 0,1 0 0 0 0,-1-1 0 0 0,0 1 0 0 0,0 0 1 0 0,0 0-1 0 0,0-1 0 0 0,0 1 0 0 0,1 0 0 0 0,-1 0 0 0 0,0 0 1 0 0,1-1-1 0 0,9-6 518 0 0,-10 7-559 0 0,12-4 335 0 0,0 0 0 0 0,0 0 0 0 0,0 1-1 0 0,1 1 1 0 0,15-2 0 0 0,65 0 231 0 0,-66 4-388 0 0,147 0-836 0 0,-63 4-4982 0 0,-94-2 3606 0 0</inkml:trace>
</inkml:ink>
</file>

<file path=ppt/ink/ink2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5.4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6 9 120 0 0,'-3'-1'1839'0'0,"-6"-1"-1344"0"0,-1 0 1 0 0,1 0-1 0 0,-1 1 1 0 0,1 1-1 0 0,-1-1 0 0 0,1 2 1 0 0,-1-1-1 0 0,1 1 1 0 0,-1 1-1 0 0,1-1 1 0 0,0 2-1 0 0,-1-1 1 0 0,1 1-1 0 0,1 1 0 0 0,-1 0 1 0 0,-13 7-1 0 0,6-2-211 0 0,0 1-1 0 0,1 0 1 0 0,0 1-1 0 0,1 0 1 0 0,0 1-1 0 0,1 1 1 0 0,1 0-1 0 0,-13 16 1 0 0,20-21-190 0 0,0-1 0 0 0,0 1 0 0 0,1 1 0 0 0,0-1 0 0 0,0 1 0 0 0,1-1 0 0 0,0 1 0 0 0,1 0 0 0 0,-1 0 0 0 0,2 0 0 0 0,-1 0 0 0 0,2 1 0 0 0,-1-1 0 0 0,1 0 0 0 0,0 1 0 0 0,1-1 0 0 0,0 0 0 0 0,1 0 0 0 0,0 0 0 0 0,0 0 0 0 0,1 0 0 0 0,0 0 0 0 0,0 0 0 0 0,8 13 0 0 0,-4-10-46 0 0,1-1 1 0 0,0 1 0 0 0,0-1-1 0 0,1-1 1 0 0,0 1 0 0 0,1-2-1 0 0,0 1 1 0 0,1-1-1 0 0,0-1 1 0 0,0 0 0 0 0,1-1-1 0 0,0 0 1 0 0,0 0 0 0 0,1-1-1 0 0,0-1 1 0 0,14 4-1 0 0,-15-6-52 0 0,0 0 0 0 0,0 0 0 0 0,0-2 0 0 0,0 1 0 0 0,0-2 0 0 0,1 1 0 0 0,-1-2 0 0 0,0 0 0 0 0,0 0 0 0 0,0-1 0 0 0,0-1 0 0 0,0 0 0 0 0,0 0 0 0 0,0-1 0 0 0,-1-1 0 0 0,0 0 0 0 0,0 0 0 0 0,0-1 0 0 0,0-1 0 0 0,-1 1 0 0 0,0-2 0 0 0,-1 0 0 0 0,0 0 0 0 0,16-17 0 0 0,-15 13-22 0 0,-1 1-1 0 0,0-1 0 0 0,-1-1 1 0 0,0 0-1 0 0,-1 0 0 0 0,0 0 0 0 0,-1-1 1 0 0,-1 0-1 0 0,0 0 0 0 0,4-24 0 0 0,-8 36 25 0 0,-1 0-1 0 0,0 0 1 0 0,0 0-1 0 0,0 1 1 0 0,0-1-1 0 0,0 0 1 0 0,0 0-1 0 0,-1 0 1 0 0,1 0-1 0 0,-1 0 1 0 0,1 0-1 0 0,-1 1 1 0 0,0-1-1 0 0,1 0 1 0 0,-1 0-1 0 0,0 1 1 0 0,0-1-1 0 0,0 0 1 0 0,-1 1-1 0 0,1-1 0 0 0,0 1 1 0 0,-1 0-1 0 0,1-1 1 0 0,-1 1-1 0 0,1 0 1 0 0,-1 0-1 0 0,1 0 1 0 0,-1 0-1 0 0,0 0 1 0 0,1 0-1 0 0,-1 0 1 0 0,-2 0-1 0 0,-1 0 0 0 0,0 0 0 0 0,1 0 0 0 0,-1 1 0 0 0,0-1 0 0 0,0 1 0 0 0,0 0 0 0 0,0 0 0 0 0,1 1 0 0 0,-1-1 0 0 0,0 1 0 0 0,0 0 0 0 0,-7 3 0 0 0,7-2 4 0 0,-1 0 0 0 0,1 1 0 0 0,-1 0 0 0 0,1 0 0 0 0,0 0 0 0 0,0 0 1 0 0,0 1-1 0 0,0 0 0 0 0,-6 7 0 0 0,9-9 8 0 0,0 1 0 0 0,0-1 1 0 0,1 1-1 0 0,-1-1 0 0 0,1 1 0 0 0,-1 0 0 0 0,1-1 0 0 0,0 1 1 0 0,0 0-1 0 0,0 0 0 0 0,0 0 0 0 0,1 0 0 0 0,-1 0 1 0 0,1 0-1 0 0,0 0 0 0 0,0 0 0 0 0,0 0 0 0 0,0 0 0 0 0,1 0 1 0 0,0 4-1 0 0,-1-6-4 0 0,1 0 1 0 0,-1 1 0 0 0,1-1 0 0 0,0 0-1 0 0,0 1 1 0 0,0-1 0 0 0,-1 0-1 0 0,1 0 1 0 0,0 0 0 0 0,1 1-1 0 0,-1-1 1 0 0,0-1 0 0 0,0 1 0 0 0,0 0-1 0 0,1 0 1 0 0,-1 0 0 0 0,0 0-1 0 0,1-1 1 0 0,-1 1 0 0 0,0-1-1 0 0,1 1 1 0 0,-1-1 0 0 0,1 0 0 0 0,-1 1-1 0 0,2-1 1 0 0,2 1-26 0 0,1 0 1 0 0,-1-1-1 0 0,0 0 0 0 0,10-1 1 0 0,0-2-79 0 0,0-1 1 0 0,0-1-1 0 0,0 0 0 0 0,0-1 1 0 0,-1 0-1 0 0,19-12 1 0 0,24-11 102 0 0,-56 29-5 0 0,0 0 0 0 0,0-1 0 0 0,0 1 0 0 0,0 0 0 0 0,0-1-1 0 0,0 1 1 0 0,0 0 0 0 0,0 0 0 0 0,0 0 0 0 0,0 0 0 0 0,0 0-1 0 0,0 0 1 0 0,-1 0 0 0 0,1 1 0 0 0,0-1 0 0 0,0 0 0 0 0,2 1-1 0 0,-1 0 4 0 0,-1-1 2 0 0,0 0-1 0 0,0 1 0 0 0,0-1 0 0 0,0 0 0 0 0,0 1 1 0 0,0-1-1 0 0,-1 1 0 0 0,1-1 0 0 0,0 1 0 0 0,0 0 1 0 0,-1-1-1 0 0,1 1 0 0 0,0 0 0 0 0,-1-1 0 0 0,1 1 1 0 0,-1 0-1 0 0,1 0 0 0 0,-1 0 0 0 0,1-1 0 0 0,-1 1 1 0 0,1 1-1 0 0,6 20 73 0 0,-6-18-61 0 0,17 75-28 0 0,-2-5-2104 0 0,-12-62 603 0 0,0 0 0 0 0,0 0 0 0 0,9 17 0 0 0</inkml:trace>
</inkml:ink>
</file>

<file path=ppt/ink/ink2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5.7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3 268 0 0,'12'-16'2605'0'0,"-7"10"-1009"0"0,0 0 0 0 0,0 0 0 0 0,12-11 1 0 0,-15 16-791 0 0,2 2-13 0 0,-2 0-615 0 0,1 1-1 0 0,0-1 1 0 0,-1 1-1 0 0,1-1 1 0 0,-1 1 0 0 0,0 0-1 0 0,0 0 1 0 0,1 0-1 0 0,-1 1 1 0 0,-1-1-1 0 0,1 0 1 0 0,0 1 0 0 0,-1-1-1 0 0,1 1 1 0 0,-1 0-1 0 0,1-1 1 0 0,-1 1 0 0 0,0 0-1 0 0,0 0 1 0 0,-1 0-1 0 0,1 0 1 0 0,-1 0 0 0 0,1 0-1 0 0,-1 4 1 0 0,3 18 754 0 0,0 0 1 0 0,-2 1-1 0 0,-1-1 1 0 0,-1 0-1 0 0,-7 39 674 0 0,8-83-1082 0 0,4 8-478 0 0,0 0 1 0 0,0 1 0 0 0,1-1 0 0 0,0 1-1 0 0,1 0 1 0 0,0 1 0 0 0,1-1 0 0 0,0 1-1 0 0,0 0 1 0 0,1 1 0 0 0,0 0 0 0 0,0 0-1 0 0,1 1 1 0 0,15-10 0 0 0,-18 12-53 0 0,1 2-1 0 0,-1-1 1 0 0,1 1 0 0 0,0 0-1 0 0,0 0 1 0 0,0 1 0 0 0,0 0-1 0 0,1 0 1 0 0,-1 1 0 0 0,0 0-1 0 0,1 0 1 0 0,-1 1 0 0 0,1 0-1 0 0,-1 0 1 0 0,1 1 0 0 0,-1 0-1 0 0,1 0 1 0 0,-1 1 0 0 0,0-1-1 0 0,0 2 1 0 0,0-1 0 0 0,0 1-1 0 0,7 4 1 0 0,-6-3-289 0 0,0 2-1 0 0,0-1 1 0 0,-1 1 0 0 0,1 0-1 0 0,-1 0 1 0 0,-1 1 0 0 0,1 0 0 0 0,-1 0-1 0 0,-1 1 1 0 0,1 0 0 0 0,-1 0-1 0 0,7 14 1 0 0,-9-13-1200 0 0,1-1 0 0 0,-1 1 0 0 0,-1 0 0 0 0,0 0 0 0 0,0 0 0 0 0,-1 1 0 0 0,1 15 0 0 0</inkml:trace>
</inkml:ink>
</file>

<file path=ppt/ink/ink2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6.2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3 375 1760 0 0,'-2'14'4636'0'0,"11"205"3544"0"0,0 5-2889 0 0,-9-224-5253 0 0,0-1 1 0 0,-1 1-1 0 0,1 0 0 0 0,0-1 0 0 0,0 1 0 0 0,-1 0 0 0 0,1-1 1 0 0,0 1-1 0 0,-1 0 0 0 0,1 0 0 0 0,0 0 0 0 0,-1-1 0 0 0,1 1 1 0 0,0 0-1 0 0,-1 0 0 0 0,1 0 0 0 0,0 0 0 0 0,-1-1 1 0 0,1 1-1 0 0,-1 0 0 0 0,1 0 0 0 0,0 0 0 0 0,-1 0 0 0 0,1 0 1 0 0,-1 0-1 0 0,1 0 0 0 0,0 0 0 0 0,-1 0 0 0 0,1 0 1 0 0,0 1-1 0 0,-1-1 0 0 0,1 0 0 0 0,-1 0 0 0 0,1 0 0 0 0,0 0 1 0 0,-1 0-1 0 0,1 1 0 0 0,0-1 0 0 0,-1 0 0 0 0,1 0 0 0 0,0 1 1 0 0,0-1-1 0 0,-1 0 0 0 0,1 1 0 0 0,0-1 0 0 0,0 0 1 0 0,-1 1-1 0 0,1-1 0 0 0,0 0 0 0 0,0 1 0 0 0,0-1 0 0 0,-1 0 1 0 0,1 1-1 0 0,0-1 0 0 0,0 0 0 0 0,0 1 0 0 0,0-1 1 0 0,0 1-1 0 0,0-1 0 0 0,0 0 0 0 0,0 1 0 0 0,0-1 0 0 0,0 1 1 0 0,0-1-1 0 0,0 0 0 0 0,0 1 0 0 0,1 0 0 0 0,-4-4-20 0 0,1 1-1 0 0,-1-1 0 0 0,1 1 0 0 0,0-1 0 0 0,0 0 0 0 0,0 0 1 0 0,-2-5-1 0 0,-2-13-47 0 0,1 0 0 0 0,1 0 0 0 0,0-1 0 0 0,2 1 1 0 0,1-1-1 0 0,0 0 0 0 0,5-39 0 0 0,2 12-151 0 0,3 0 0 0 0,20-63 0 0 0,-17 73 74 0 0,2 0-1 0 0,1 2 1 0 0,28-48 0 0 0,-31 64-318 0 0,1 1 0 0 0,1 0 1 0 0,1 1-1 0 0,0 1 0 0 0,2 0 0 0 0,35-29 0 0 0,-47 43 2 0 0,0 1-1 0 0,0-1 1 0 0,1 2-1 0 0,-1-1 1 0 0,1 1 0 0 0,0-1-1 0 0,0 1 1 0 0,0 1-1 0 0,11-3 1 0 0,-15 4 206 0 0,0 0 0 0 0,-1 0 0 0 0,1-1 0 0 0,0 1 0 0 0,-1 0 0 0 0,1 1 0 0 0,0-1 0 0 0,-1 0 0 0 0,1 0 1 0 0,-1 1-1 0 0,1-1 0 0 0,0 1 0 0 0,-1-1 0 0 0,1 1 0 0 0,-1-1 0 0 0,1 1 0 0 0,-1 0 0 0 0,0 0 0 0 0,1 0 0 0 0,-1 0 1 0 0,0 0-1 0 0,1 0 0 0 0,-1 0 0 0 0,0 1 0 0 0,0-1 0 0 0,0 0 0 0 0,0 1 0 0 0,0-1 0 0 0,-1 0 0 0 0,1 1 0 0 0,0-1 0 0 0,0 1 1 0 0,-1 0-1 0 0,1-1 0 0 0,-1 1 0 0 0,0-1 0 0 0,1 1 0 0 0,-1 0 0 0 0,0 2 0 0 0,-1 10-2884 0 0</inkml:trace>
</inkml:ink>
</file>

<file path=ppt/ink/ink2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6.5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3 0 436 0 0,'-122'53'9326'0'0,"121"-53"-9253"0"0,1 1 1 0 0,-1-1 0 0 0,1 0-1 0 0,-1 0 1 0 0,0 1 0 0 0,1-1 0 0 0,-1 0-1 0 0,1 1 1 0 0,-1-1 0 0 0,1 0-1 0 0,-1 1 1 0 0,1-1 0 0 0,0 1 0 0 0,-1-1-1 0 0,1 1 1 0 0,-1-1 0 0 0,1 1 0 0 0,0-1-1 0 0,-1 1 1 0 0,1 0 0 0 0,6 6 1157 0 0,16-1-406 0 0,-21-6-878 0 0,41 7 663 0 0,59 2 0 0 0,-29-4-342 0 0,293 28-42 0 0,-362-32-566 0 0</inkml:trace>
</inkml:ink>
</file>

<file path=ppt/ink/ink2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6.9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 6 1564 0 0,'12'-6'7920'0'0,"-11"8"-7770"0"0,0-1 0 0 0,0 1 0 0 0,-1 0 0 0 0,1-1 0 0 0,0 1 0 0 0,-1 0 0 0 0,1 0 0 0 0,-1-1 0 0 0,1 1 0 0 0,-1 0 0 0 0,0 0 0 0 0,0 0 0 0 0,0 0 0 0 0,0 0 0 0 0,0-1 0 0 0,0 1 0 0 0,-1 3 0 0 0,-8 45 815 0 0,2-15-516 0 0,-8 53-1525 0 0,0-31-5247 0 0,11-44 2528 0 0</inkml:trace>
</inkml:ink>
</file>

<file path=ppt/ink/ink2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7.28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136 1608 0 0,'-8'-72'8414'0'0,"7"59"-7344"0"0,0 12-1041 0 0,1 0 0 0 0,-1-1 1 0 0,1 1-1 0 0,0-1 1 0 0,-1 1-1 0 0,1-1 0 0 0,0 1 1 0 0,0-1-1 0 0,0 0 1 0 0,0 1-1 0 0,1-1 1 0 0,-1 1-1 0 0,0-1 0 0 0,0 1 1 0 0,1-1-1 0 0,-1 1 1 0 0,1 0-1 0 0,0-1 1 0 0,-1 1-1 0 0,1 0 0 0 0,0-1 1 0 0,0 1-1 0 0,0 0 1 0 0,1-2-1 0 0,3 1-88 0 0,0-1 0 0 0,0 2 0 0 0,0-1 0 0 0,0 0 0 0 0,0 1 0 0 0,0 0 1 0 0,0 0-1 0 0,1 1 0 0 0,-1 0 0 0 0,0 0 0 0 0,1 0 0 0 0,-1 0 0 0 0,0 1 0 0 0,0 0 0 0 0,0 0 0 0 0,7 2 0 0 0,6 2-26 0 0,-1 1 1 0 0,1 1-1 0 0,22 12 0 0 0,-28-12 220 0 0,-1 0 1 0 0,0 1-1 0 0,-1 0 0 0 0,1 1 0 0 0,-2-1 0 0 0,1 2 0 0 0,-1 0 0 0 0,-1 0 0 0 0,0 0 1 0 0,0 1-1 0 0,-1 1 0 0 0,8 16 0 0 0,-5-6 363 0 0,-1 0 1 0 0,-1 0-1 0 0,-1 1 1 0 0,-2 1 0 0 0,7 46-1 0 0,-6-33 346 0 0,-4-26 708 0 0,0 0 0 0 0,0 1 0 0 0,-1 20-1 0 0,1-40-1485 0 0,0-1-1 0 0,0 1 0 0 0,1 0 0 0 0,0 1 0 0 0,0-1 1 0 0,1 0-1 0 0,0 1 0 0 0,0 0 0 0 0,1 0 1 0 0,5-7-1 0 0,-4 7-56 0 0,1-1-1 0 0,0 1 1 0 0,0 0 0 0 0,0 0 0 0 0,1 1-1 0 0,-1 0 1 0 0,2 1 0 0 0,13-8-1 0 0,-18 11-13 0 0,1 0-1 0 0,-1 1 0 0 0,1 0 1 0 0,0 0-1 0 0,0 0 0 0 0,-1 0 1 0 0,1 1-1 0 0,0-1 0 0 0,0 1 1 0 0,0 1-1 0 0,-1-1 0 0 0,1 1 1 0 0,0-1-1 0 0,0 1 0 0 0,-1 1 0 0 0,1-1 1 0 0,-1 1-1 0 0,1-1 0 0 0,-1 1 1 0 0,0 1-1 0 0,1-1 0 0 0,-1 1 1 0 0,0-1-1 0 0,-1 1 0 0 0,5 4 1 0 0,-4-3-176 0 0,0 0 1 0 0,0 0-1 0 0,-1 0 1 0 0,1 1-1 0 0,-1-1 1 0 0,-1 1-1 0 0,1 0 1 0 0,0 0 0 0 0,2 9-1 0 0,-4-10-276 0 0,1 1-1 0 0,-1 0 1 0 0,0 0-1 0 0,-1 0 1 0 0,1-1-1 0 0,-1 1 1 0 0,0 0-1 0 0,-1 0 1 0 0,1 0-1 0 0,-1 0 1 0 0,-1 7-1 0 0,-1-4-710 0 0,-2 12-1015 0 0,-2-5-3674 0 0,2-4 1830 0 0</inkml:trace>
</inkml:ink>
</file>

<file path=ppt/ink/ink2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7.6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8 13 2084 0 0,'3'-1'591'0'0,"-1"-1"0"0"0,1 1-1 0 0,0-1 1 0 0,0 1 0 0 0,0 0-1 0 0,0 0 1 0 0,0 0 0 0 0,0 0 0 0 0,0 1-1 0 0,0-1 1 0 0,5 1 0 0 0,-6 0-475 0 0,-1 1 1 0 0,1-1 0 0 0,-1 1 0 0 0,0 0-1 0 0,1-1 1 0 0,-1 1 0 0 0,0 0 0 0 0,1 0-1 0 0,-1 0 1 0 0,0 0 0 0 0,0 0 0 0 0,0 1-1 0 0,0-1 1 0 0,0 0 0 0 0,0 0-1 0 0,0 1 1 0 0,0-1 0 0 0,-1 0 0 0 0,1 1-1 0 0,0-1 1 0 0,-1 1 0 0 0,1-1 0 0 0,-1 1-1 0 0,1 2 1 0 0,3 12 566 0 0,-1 0-1 0 0,0 0 1 0 0,-1 1 0 0 0,0-1-1 0 0,-2 0 1 0 0,-1 21 0 0 0,-18 97 1304 0 0,16-119-1856 0 0,0-1-1 0 0,-1 0 0 0 0,-1 0 1 0 0,0-1-1 0 0,-1 1 1 0 0,0-1-1 0 0,-9 14 1 0 0,10-20-86 0 0,0 0 1 0 0,-1 0 0 0 0,0-1-1 0 0,0 0 1 0 0,0 0-1 0 0,-1 0 1 0 0,1-1 0 0 0,-1 0-1 0 0,-1 0 1 0 0,1 0-1 0 0,-1-1 1 0 0,1-1 0 0 0,-12 5-1 0 0,16-7-73 0 0,1 0-1 0 0,-1-1 0 0 0,0 1 1 0 0,0-1-1 0 0,1 1 0 0 0,-1-1 1 0 0,0 0-1 0 0,0 0 0 0 0,0 0 1 0 0,1 0-1 0 0,-1-1 0 0 0,0 1 1 0 0,0-1-1 0 0,1 1 0 0 0,-1-1 1 0 0,0 0-1 0 0,1 0 0 0 0,-1-1 1 0 0,-4-2-1 0 0,6 3-28 0 0,-1 0 0 0 0,1-1 1 0 0,-1 1-1 0 0,1-1 0 0 0,-1 0 0 0 0,1 1 0 0 0,0-1 1 0 0,0 0-1 0 0,0 0 0 0 0,0 0 0 0 0,0 0 1 0 0,0 0-1 0 0,1 0 0 0 0,-1 0 0 0 0,1 0 1 0 0,-1 0-1 0 0,1 0 0 0 0,0 0 0 0 0,0-1 0 0 0,0 1 1 0 0,0 0-1 0 0,0 0 0 0 0,0 0 0 0 0,1 0 1 0 0,-1 0-1 0 0,1 0 0 0 0,0-2 0 0 0,1-2-7 0 0,0 1 0 0 0,0 0 0 0 0,1 0 0 0 0,-1 0 0 0 0,1 0 0 0 0,0 1 0 0 0,1-1 0 0 0,-1 1 0 0 0,1 0 0 0 0,0 0 0 0 0,0 0 0 0 0,0 0 0 0 0,0 1 0 0 0,1 0 0 0 0,0-1 0 0 0,-1 2 0 0 0,1-1 0 0 0,0 1 0 0 0,0-1 0 0 0,1 1 0 0 0,5-1 0 0 0,-7 2 53 0 0,1 0-1 0 0,0 1 1 0 0,0 0-1 0 0,0 0 1 0 0,-1 0-1 0 0,1 0 1 0 0,0 1-1 0 0,0 0 1 0 0,-1 0 0 0 0,1 0-1 0 0,0 1 1 0 0,-1-1-1 0 0,1 1 1 0 0,7 4-1 0 0,4 4-221 0 0,-1-1 1 0 0,20 19-1 0 0,-29-24 44 0 0,7 7-669 0 0,0 1 1 0 0,-1 1-1 0 0,15 19 1 0 0,10 19-5177 0 0,-25-35 1993 0 0</inkml:trace>
</inkml:ink>
</file>

<file path=ppt/ink/ink2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7.5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08 432 0 0,'0'0'3383'0'0,"3"0"-2172"0"0,-2 0-1093 0 0,0 0 0 0 0,0 0 0 0 0,0 0 0 0 0,0 0 0 0 0,-1 0 0 0 0,1 0 0 0 0,0 0 0 0 0,0 1 0 0 0,0-1 0 0 0,0 0 0 0 0,0 1 0 0 0,-1-1 0 0 0,1 0 0 0 0,0 1 0 0 0,0-1 0 0 0,-1 1 0 0 0,2 1 0 0 0,-1-1 31 0 0,0 0 0 0 0,0 1 1 0 0,0-1-1 0 0,-1 1 1 0 0,1-1-1 0 0,0 0 0 0 0,-1 1 1 0 0,0 0-1 0 0,1-1 0 0 0,-1 1 1 0 0,0-1-1 0 0,0 4 0 0 0,2 230 6323 0 0,-4-115-4660 0 0,-6-17 2187 0 0,8-105-3995 0 0,1 1 0 0 0,-1-1 0 0 0,1 0 0 0 0,0 1 0 0 0,-1-1 0 0 0,1 1 0 0 0,0-1 0 0 0,0 1 0 0 0,0 0 0 0 0,0-1 0 0 0,0 1 0 0 0,0 0-1 0 0,0 0 1 0 0,3-2 0 0 0,21-18 18 0 0,-17 16-20 0 0,5-5-58 0 0,0 1 1 0 0,1 0 0 0 0,0 1 0 0 0,0 1 0 0 0,1 0 0 0 0,0 1-1 0 0,0 1 1 0 0,17-4 0 0 0,-25 7 30 0 0,0 1 0 0 0,0-1 0 0 0,-1 1 0 0 0,1 1 0 0 0,0 0 0 0 0,0 0 0 0 0,0 0 0 0 0,0 0 0 0 0,0 1 0 0 0,-1 0 0 0 0,1 1 0 0 0,0 0 0 0 0,-1 0 0 0 0,1 0 0 0 0,-1 1 0 0 0,1 0 0 0 0,-1 0 0 0 0,0 0 0 0 0,-1 1 0 0 0,1 0 1 0 0,6 6-1 0 0,-10-9 12 0 0,-1 1 1 0 0,1-1 0 0 0,-1 0 0 0 0,0 1 0 0 0,0-1 0 0 0,0 1-1 0 0,0 0 1 0 0,0-1 0 0 0,0 1 0 0 0,0 0 0 0 0,0-1-1 0 0,0 1 1 0 0,-1 0 0 0 0,1 0 0 0 0,-1 0 0 0 0,0 0 0 0 0,1 0-1 0 0,-1 0 1 0 0,0 0 0 0 0,0 0 0 0 0,-1 2 0 0 0,1-1 2 0 0,-1-1 0 0 0,0 1 0 0 0,0 0 1 0 0,-1-1-1 0 0,1 0 0 0 0,0 1 0 0 0,-1-1 1 0 0,1 0-1 0 0,-1 1 0 0 0,0-1 0 0 0,0 0 1 0 0,0 0-1 0 0,-3 2 0 0 0,-4 2 1 0 0,0 1 0 0 0,-1-1 0 0 0,0-1 0 0 0,0 0 0 0 0,0 0 0 0 0,-12 3-1 0 0,7-3 27 0 0,0 0 0 0 0,-1-1-1 0 0,1-1 1 0 0,-1 0 0 0 0,0-1-1 0 0,1-1 1 0 0,-1-1-1 0 0,0 0 1 0 0,0-1 0 0 0,0 0-1 0 0,-16-4 1 0 0,12-2-529 0 0,21 6 475 0 0,-1 0-1 0 0,1-1 1 0 0,-1 1-1 0 0,1 0 1 0 0,0-1-1 0 0,0 1 1 0 0,-1 0-1 0 0,1 0 1 0 0,0 0-1 0 0,0 0 1 0 0,0 0-1 0 0,0 0 0 0 0,1 0 1 0 0,-1 0-1 0 0,0 0 1 0 0,0 1-1 0 0,0-1 1 0 0,1 0-1 0 0,-1 1 1 0 0,0-1-1 0 0,1 1 1 0 0,-1-1-1 0 0,1 1 1 0 0,1-1-1 0 0,41-8-222 0 0,-41 9 209 0 0,160-20-1171 0 0,44-7 108 0 0,-159 18 930 0 0,0-2 0 0 0,54-20 0 0 0,-10-7 263 0 0,-82 33 1 0 0,-1 0 0 0 0,0 0-1 0 0,0-1 1 0 0,0-1 0 0 0,-1 1 0 0 0,0-1-1 0 0,8-9 1 0 0,-16 15-78 0 0,1 1 0 0 0,-1-1 0 0 0,0 0 0 0 0,0 1 0 0 0,0-1 0 0 0,1 1-1 0 0,-1-1 1 0 0,0 0 0 0 0,0 1 0 0 0,0-1 0 0 0,0 1 0 0 0,0-1 0 0 0,0 0 0 0 0,0 1 0 0 0,0-1-1 0 0,0 1 1 0 0,-1-1 0 0 0,1 0 0 0 0,0 1 0 0 0,0-1 0 0 0,0 1 0 0 0,-1-1 0 0 0,1 1 0 0 0,0-1-1 0 0,-1 0 1 0 0,1 1 0 0 0,0 0 0 0 0,-1-1 0 0 0,1 1 0 0 0,-1-1 0 0 0,1 1 0 0 0,-1-1 0 0 0,1 1 0 0 0,-1 0-1 0 0,1-1 1 0 0,-1 1 0 0 0,1 0 0 0 0,-1 0 0 0 0,1-1 0 0 0,-1 1 0 0 0,0 0 0 0 0,1 0 0 0 0,-1 0-1 0 0,1 0 1 0 0,-1 0 0 0 0,0-1 0 0 0,1 1 0 0 0,-1 0 0 0 0,-1 1 0 0 0,-6-1-2 0 0,0 1 0 0 0,-1 1 1 0 0,1-1-1 0 0,0 1 0 0 0,0 1 1 0 0,0-1-1 0 0,0 2 0 0 0,1-1 0 0 0,-1 1 1 0 0,1 0-1 0 0,-10 7 0 0 0,8-5 1 0 0,1 0 0 0 0,0 1 0 0 0,1 0 0 0 0,0 0 0 0 0,0 0 0 0 0,1 1 0 0 0,-1 0 0 0 0,2 1 0 0 0,-8 13 0 0 0,11-20 8 0 0,1 1 0 0 0,0-1 1 0 0,0 1-1 0 0,0 0 0 0 0,1-1 0 0 0,-1 1 0 0 0,0 0 0 0 0,1-1 0 0 0,0 1 1 0 0,0 0-1 0 0,0 0 0 0 0,0-1 0 0 0,0 1 0 0 0,0 0 0 0 0,1-1 1 0 0,-1 1-1 0 0,1 0 0 0 0,0-1 0 0 0,2 6 0 0 0,-1-4 2 0 0,0-1-1 0 0,1 1 0 0 0,0-1 1 0 0,-1 0-1 0 0,1 0 1 0 0,0 0-1 0 0,1 0 1 0 0,-1-1-1 0 0,0 1 0 0 0,1-1 1 0 0,7 4-1 0 0,-2-1-82 0 0,1-1 0 0 0,0-1-1 0 0,0 0 1 0 0,0 0 0 0 0,1-1-1 0 0,-1 0 1 0 0,0 0-1 0 0,1-2 1 0 0,18 1 0 0 0,-16-3-29 0 0,0 0 1 0 0,0-1-1 0 0,0 0 1 0 0,-1-1-1 0 0,1 0 1 0 0,-1-1-1 0 0,0-1 1 0 0,14-8-1 0 0,-17 9 129 0 0,-1 0 0 0 0,0-1 0 0 0,0-1 0 0 0,-1 1 0 0 0,1-1 0 0 0,-1 0 1 0 0,-1-1-1 0 0,0 0 0 0 0,0 0 0 0 0,0 0 0 0 0,5-12 0 0 0,-10 18-11 0 0,-4 4-31 0 0,0 0 29 0 0,-1 0 0 0 0,1 1 0 0 0,1-1 0 0 0,-1 1 0 0 0,0 0 0 0 0,1 0 0 0 0,-1 0 0 0 0,1 0 0 0 0,0 0 0 0 0,0 1 0 0 0,0-1 0 0 0,0 0 1 0 0,1 1-1 0 0,-1 0 0 0 0,1-1 0 0 0,0 1 0 0 0,0 0 0 0 0,1-1 0 0 0,-1 1 0 0 0,1 0 0 0 0,-1 0 0 0 0,1 0 0 0 0,1 0 0 0 0,-1 0 0 0 0,0-1 0 0 0,2 5 0 0 0,-2-3 18 0 0,1 0-1 0 0,0 1 1 0 0,1-1-1 0 0,-1 0 1 0 0,1-1-1 0 0,0 1 1 0 0,0 0-1 0 0,0 0 1 0 0,1-1-1 0 0,0 1 1 0 0,0-1-1 0 0,0 0 1 0 0,0 0-1 0 0,1 0 1 0 0,-1-1-1 0 0,1 1 1 0 0,0-1-1 0 0,0 1 1 0 0,0-1-1 0 0,6 3 1 0 0,-5-4-21 0 0,-1 0 1 0 0,1-1-1 0 0,0 1 1 0 0,0-1-1 0 0,0 1 1 0 0,0-2-1 0 0,0 1 1 0 0,1 0-1 0 0,-1-1 1 0 0,0 0-1 0 0,0 0 1 0 0,0-1-1 0 0,0 0 1 0 0,0 1-1 0 0,0-2 1 0 0,0 1-1 0 0,0 0 1 0 0,0-1-1 0 0,0 0 1 0 0,0 0-1 0 0,6-5 1 0 0,-2 1-49 0 0,-1 0 0 0 0,0-1 0 0 0,-1 0 0 0 0,1-1 0 0 0,-1 1 0 0 0,-1-2 0 0 0,1 1 0 0 0,-2 0 0 0 0,10-17 0 0 0,0-7-205 0 0,-1 1-1 0 0,18-63 0 0 0,7-71-147 0 0,-14 12 457 0 0,-23 133 39 0 0,-1-1-1 0 0,0 0 0 0 0,-2 0 0 0 0,0 1 0 0 0,-6-30 0 0 0,6 46-99 0 0,0-1-1 0 0,-1 1 0 0 0,1 0 0 0 0,-1 0 1 0 0,0 0-1 0 0,0 0 0 0 0,0 0 1 0 0,-1 0-1 0 0,1 1 0 0 0,-1-1 0 0 0,0 1 1 0 0,-3-4-1 0 0,5 7-5 0 0,0-1 0 0 0,0 1-1 0 0,0-1 1 0 0,0 1 0 0 0,0-1 0 0 0,-1 1 0 0 0,1 0 0 0 0,0 0 0 0 0,0-1-1 0 0,0 1 1 0 0,0 0 0 0 0,0 0 0 0 0,0 0 0 0 0,-1 0 0 0 0,1 0 0 0 0,0 1 0 0 0,-2-1-1 0 0,1 1 5 0 0,-2-1 0 0 0,0 1-1 0 0,0 0 0 0 0,0 0 1 0 0,0 1-1 0 0,0-1 0 0 0,0 1 0 0 0,1 0 1 0 0,-1 0-1 0 0,0 0 0 0 0,1 0 0 0 0,0 1 1 0 0,0-1-1 0 0,-1 1 0 0 0,1 0 0 0 0,1 0 1 0 0,-1 0-1 0 0,0 0 0 0 0,-2 5 0 0 0,-4 6 28 0 0,0 0 0 0 0,-13 30-1 0 0,15-24 3 0 0,0 1-1 0 0,1 0 0 0 0,1 1 1 0 0,0-1-1 0 0,2 1 0 0 0,1 0 0 0 0,1-1 1 0 0,0 1-1 0 0,2 0 0 0 0,1 0 0 0 0,0 0 1 0 0,6 22-1 0 0,3 3-380 0 0,2 0 1 0 0,2-1-1 0 0,2 0 0 0 0,31 58 1 0 0,-40-89-645 0 0,1 0 0 0 0,13 17 0 0 0,11 3-4715 0 0,-21-26 1878 0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1.74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1668 0 0,'3'0'1236'0'0,"0"0"-1005"0"0,0 0 0 0 0,-1 1 0 0 0,1-1 1 0 0,0 0-1 0 0,-1 1 0 0 0,1-1 0 0 0,-1 1 1 0 0,1 0-1 0 0,-1 0 0 0 0,1 0 0 0 0,-1 0 1 0 0,0 1-1 0 0,1-1 0 0 0,-1 0 0 0 0,0 1 1 0 0,0 0-1 0 0,0-1 0 0 0,0 1 0 0 0,3 4 1 0 0,-1 1 148 0 0,1 0 1 0 0,-1 0-1 0 0,0 0 1 0 0,-1 1 0 0 0,4 12-1 0 0,59 193 2389 0 0,-45-103-3862 0 0,-17-75-2031 0 0,0 39 0 0 0,-6-58 288 0 0</inkml:trace>
</inkml:ink>
</file>

<file path=ppt/ink/ink2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7.8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3 23 1444 0 0,'-1'-22'7821'0'0,"1"22"-7691"0"0,-3 1-11 0 0,1-1 0 0 0,-1 1-1 0 0,1 0 1 0 0,-1 0 0 0 0,1 1 0 0 0,0-1 0 0 0,0 0 0 0 0,0 1 0 0 0,0-1 0 0 0,0 1-1 0 0,0 0 1 0 0,0 0 0 0 0,0 0 0 0 0,0 0 0 0 0,1 0 0 0 0,-1 0 0 0 0,-1 4 0 0 0,1-1 18 0 0,0-1 1 0 0,1 1 0 0 0,-1-1 0 0 0,1 1 0 0 0,0 0-1 0 0,0-1 1 0 0,1 1 0 0 0,0 0 0 0 0,0 6 0 0 0,1-1 7 0 0,0 0 0 0 0,0 0 0 0 0,1 0 0 0 0,1 0 0 0 0,-1 0 0 0 0,2-1 1 0 0,-1 0-1 0 0,1 1 0 0 0,7 10 0 0 0,-6-12-30 0 0,1-1 1 0 0,0 1-1 0 0,0-1 1 0 0,0-1-1 0 0,1 1 0 0 0,0-1 1 0 0,0 0-1 0 0,1-1 0 0 0,0 1 1 0 0,0-2-1 0 0,0 1 1 0 0,0-1-1 0 0,1 0 0 0 0,-1-1 1 0 0,1 0-1 0 0,11 2 0 0 0,-18-4-96 0 0,0-1 0 0 0,0 0-1 0 0,0 0 1 0 0,0-1-1 0 0,0 1 1 0 0,1 0 0 0 0,-1-1-1 0 0,0 1 1 0 0,0-1-1 0 0,0 0 1 0 0,-1 1 0 0 0,1-1-1 0 0,0 0 1 0 0,0 0-1 0 0,0 0 1 0 0,-1-1 0 0 0,1 1-1 0 0,0 0 1 0 0,-1-1-1 0 0,1 1 1 0 0,-1-1 0 0 0,0 1-1 0 0,1-1 1 0 0,-1 0-1 0 0,0 1 1 0 0,1-3 0 0 0,1-2 1 0 0,0 1 1 0 0,-1 0-1 0 0,1-1 1 0 0,-2 0-1 0 0,1 1 1 0 0,0-1 0 0 0,0-7-1 0 0,-2 6-46 0 0,0 1 0 0 0,0-1-1 0 0,-1 1 1 0 0,0-1 0 0 0,0 1 0 0 0,0 0-1 0 0,-1 0 1 0 0,0-1 0 0 0,0 1-1 0 0,-1 0 1 0 0,1 1 0 0 0,-1-1 0 0 0,-1 0-1 0 0,1 1 1 0 0,-1 0 0 0 0,0 0-1 0 0,0 0 1 0 0,0 0 0 0 0,-1 1 0 0 0,0-1-1 0 0,-8-5 1 0 0,1 1-742 0 0,-1 0 1 0 0,-1 0-1 0 0,0 1 0 0 0,0 1 0 0 0,-1 0 1 0 0,0 1-1 0 0,-22-6 0 0 0,11 8-4279 0 0,14 2 2226 0 0</inkml:trace>
</inkml:ink>
</file>

<file path=ppt/ink/ink2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8.2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58 1128 0 0,'5'-1'942'0'0,"0"0"-1"0"0,1 0 1 0 0,-1 1-1 0 0,0 0 1 0 0,1 0-1 0 0,-1 0 1 0 0,6 2-1 0 0,-12 2-508 0 0,1 0 0 0 0,-1 0 0 0 0,0 1 0 0 0,0-1 1 0 0,-4 7-1 0 0,4-8-232 0 0,-1 4-49 0 0,0 0 1 0 0,1 1 0 0 0,0-1 0 0 0,0 0-1 0 0,1 1 1 0 0,-1-1 0 0 0,2 0-1 0 0,-1 1 1 0 0,1-1 0 0 0,0 0 0 0 0,0 1-1 0 0,1-1 1 0 0,0 0 0 0 0,1 0-1 0 0,-1 0 1 0 0,5 7 0 0 0,-5-9-145 0 0,1-1 0 0 0,0 1 0 0 0,0-1 1 0 0,0 0-1 0 0,1 1 0 0 0,0-1 0 0 0,-1-1 0 0 0,1 1 0 0 0,1-1 1 0 0,-1 1-1 0 0,0-1 0 0 0,1 0 0 0 0,-1-1 0 0 0,1 1 0 0 0,0-1 1 0 0,0 0-1 0 0,0 0 0 0 0,0-1 0 0 0,1 1 0 0 0,-1-1 0 0 0,0 0 1 0 0,1-1-1 0 0,8 1 0 0 0,-7-2-92 0 0,0 1 1 0 0,-1-2-1 0 0,1 1 1 0 0,0-1-1 0 0,-1 0 1 0 0,0 0-1 0 0,1-1 0 0 0,-1 0 1 0 0,0 0-1 0 0,-1 0 1 0 0,1-1-1 0 0,0 0 1 0 0,-1 0-1 0 0,7-6 0 0 0,1 0-40 0 0,-12 9 122 0 0,0 1 0 0 0,0-1 0 0 0,0 1 0 0 0,0-1 0 0 0,0 1 0 0 0,0 0 0 0 0,1 0 0 0 0,-1-1-1 0 0,0 1 1 0 0,0 0 0 0 0,0 0 0 0 0,0 0 0 0 0,0 0 0 0 0,1 0 0 0 0,-1 0 0 0 0,0 1 0 0 0,0-1 0 0 0,0 0 0 0 0,0 1 0 0 0,0-1 0 0 0,0 0 0 0 0,0 1 0 0 0,0-1 0 0 0,2 2 0 0 0,27 19 469 0 0,-11-7-177 0 0,-8-8-64 0 0,1-1 1 0 0,0 0-1 0 0,0-1 0 0 0,1 0 1 0 0,-1 0-1 0 0,1-2 1 0 0,0 0-1 0 0,0 0 0 0 0,0-1 1 0 0,0 0-1 0 0,17-2 0 0 0,-24 0-118 0 0,-1 1-1 0 0,0-1 1 0 0,1 0-1 0 0,-1-1 1 0 0,0 1-1 0 0,0-1 0 0 0,0 0 1 0 0,0 0-1 0 0,0-1 1 0 0,0 1-1 0 0,-1-1 0 0 0,1 0 1 0 0,-1 0-1 0 0,0-1 1 0 0,0 1-1 0 0,0-1 1 0 0,0 0-1 0 0,-1 0 0 0 0,1 0 1 0 0,-1-1-1 0 0,0 1 1 0 0,0-1-1 0 0,-1 0 1 0 0,0 0-1 0 0,1 0 0 0 0,-1 0 1 0 0,-1 0-1 0 0,1 0 1 0 0,0-8-1 0 0,0 6-105 0 0,-1 0 0 0 0,-1 0 0 0 0,1 0 0 0 0,-1 0 0 0 0,0 0-1 0 0,-1 0 1 0 0,0 0 0 0 0,0 0 0 0 0,0 0 0 0 0,-1 0 0 0 0,0 0 0 0 0,0 1 0 0 0,-1-1 0 0 0,0 0-1 0 0,0 1 1 0 0,-5-8 0 0 0,3 8-266 0 0,1 1-1 0 0,-1-1 1 0 0,0 1-1 0 0,-1 0 1 0 0,1 0-1 0 0,-1 1 1 0 0,0-1-1 0 0,0 1 1 0 0,-1 1-1 0 0,1-1 1 0 0,-1 1-1 0 0,1 0 1 0 0,-1 1-1 0 0,0-1 1 0 0,-12-1-1 0 0,-4 0-1673 0 0,0 1 0 0 0,-1 1-1 0 0,-31 2 1 0 0,1 1-3224 0 0</inkml:trace>
</inkml:ink>
</file>

<file path=ppt/ink/ink2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8.4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2 19 4 0 0,'-8'-3'593'0'0,"-1"-1"-1"0"0,0 2 1 0 0,0-1-1 0 0,-1 1 1 0 0,1 0-1 0 0,0 1 1 0 0,-1 0-1 0 0,1 1 1 0 0,-1 0-1 0 0,1 0 1 0 0,0 1-1 0 0,-1 0 1 0 0,-16 5-1 0 0,15-3-352 0 0,1 0 0 0 0,0 0-1 0 0,-1 1 1 0 0,1 0 0 0 0,1 1 0 0 0,-1 0 0 0 0,1 1-1 0 0,0 0 1 0 0,0 0 0 0 0,1 1 0 0 0,-15 14-1 0 0,21-18-191 0 0,0 1 0 0 0,-1-1 0 0 0,1 1 0 0 0,1-1 0 0 0,-1 1 0 0 0,0 0 0 0 0,1 0 0 0 0,0 0 0 0 0,0 0 0 0 0,0 0 0 0 0,0 0 0 0 0,1 0 0 0 0,-1 0 0 0 0,1 0 0 0 0,0 0 0 0 0,0 0 0 0 0,1 0 0 0 0,-1 0 0 0 0,1 0 0 0 0,0 0 0 0 0,0 0 0 0 0,0 0 0 0 0,1 0 0 0 0,1 4 0 0 0,6 10 48 0 0,0-1-1 0 0,1 0 1 0 0,21 27 0 0 0,-22-32-34 0 0,45 59 89 0 0,21 29-34 0 0,-64-84-95 0 0,0 1 0 0 0,-2 1-1 0 0,0 0 1 0 0,7 21 0 0 0,-15-35 47 0 0,0 0 0 0 0,0 0-1 0 0,0 0 1 0 0,0 0 0 0 0,0 1 0 0 0,-1-1 0 0 0,0 0 0 0 0,0 0-1 0 0,0 0 1 0 0,0 1 0 0 0,-1-1 0 0 0,0 0 0 0 0,-2 8 0 0 0,2-10-15 0 0,0 1 1 0 0,-1-1-1 0 0,1 1 1 0 0,-1-1 0 0 0,1 0-1 0 0,-1 1 1 0 0,0-1-1 0 0,0 0 1 0 0,0 0 0 0 0,0-1-1 0 0,-1 1 1 0 0,1 0-1 0 0,0-1 1 0 0,-1 1 0 0 0,1-1-1 0 0,-1 0 1 0 0,0 0-1 0 0,1 0 1 0 0,-1 0 0 0 0,0 0-1 0 0,-4 0 1 0 0,-9 2 65 0 0,1-2-1 0 0,-1 0 1 0 0,0-1 0 0 0,0 0 0 0 0,1-2-1 0 0,-1 1 1 0 0,-22-7 0 0 0,20 3-330 0 0,0 0 0 0 0,0-1 1 0 0,0-1-1 0 0,0-1 0 0 0,-29-18 1 0 0,43 24-82 0 0,0-1 1 0 0,0 0-1 0 0,1 0 0 0 0,-1 0 1 0 0,1 0-1 0 0,0 0 1 0 0,0-1-1 0 0,0 0 0 0 0,-4-5 1 0 0,6 6-57 0 0,0 1 0 0 0,0 0 0 0 0,0-1 0 0 0,1 1 0 0 0,-1-1 0 0 0,1 1 0 0 0,-1-1 0 0 0,1 1 0 0 0,0-1 0 0 0,0 1 0 0 0,0-1 0 0 0,0 1 0 0 0,1-1 0 0 0,-1 1 0 0 0,1-1 0 0 0,-1 1 0 0 0,1-1 0 0 0,2-4 0 0 0,4-12-2813 0 0</inkml:trace>
</inkml:ink>
</file>

<file path=ppt/ink/ink2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8.8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6 6 608 0 0,'3'-2'1764'0'0,"10"-1"3362"0"0,-13 6-4849 0 0,-1 0 1 0 0,1 0-1 0 0,-1 0 0 0 0,0 0 1 0 0,0 0-1 0 0,0-1 0 0 0,-1 1 1 0 0,1 0-1 0 0,-1-1 0 0 0,-2 5 1 0 0,-26 31 1297 0 0,8-10-704 0 0,-99 166 1112 0 0,49-60-4088 0 0,42-68-4686 0 0,27-56 3113 0 0</inkml:trace>
  <inkml:trace contextRef="#ctx0" brushRef="#br0" timeOffset="1">510 92 184 0 0,'5'-3'750'0'0,"1"1"-1"0"0,-1-1 1 0 0,0 1 0 0 0,1 0-1 0 0,0 1 1 0 0,-1-1 0 0 0,1 1-1 0 0,8-1 1 0 0,-13 2-586 0 0,1 1 0 0 0,0-1 0 0 0,0 0 1 0 0,0 1-1 0 0,-1-1 0 0 0,1 1 0 0 0,0 0 0 0 0,-1-1 0 0 0,1 1 1 0 0,-1 0-1 0 0,1 0 0 0 0,-1 0 0 0 0,1 0 0 0 0,-1 0 1 0 0,1 0-1 0 0,-1 1 0 0 0,0-1 0 0 0,0 0 0 0 0,0 1 1 0 0,0-1-1 0 0,0 1 0 0 0,0-1 0 0 0,0 1 0 0 0,0 0 0 0 0,0-1 1 0 0,-1 1-1 0 0,1 0 0 0 0,-1-1 0 0 0,1 4 0 0 0,1 8 168 0 0,0 0 0 0 0,-1 0 0 0 0,-1 0 0 0 0,0 0 0 0 0,0 0 0 0 0,-2 0 0 0 0,-4 21 0 0 0,2-2-67 0 0,0-6-685 0 0,-10 36-1 0 0,11-51-759 0 0,0 0 0 0 0,-1-1-1 0 0,0 1 1 0 0,-1-1 0 0 0,-1 0-1 0 0,-6 9 1 0 0,4-9-2090 0 0</inkml:trace>
</inkml:ink>
</file>

<file path=ppt/ink/ink2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9.1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41 2312 0 0,'4'-20'2128'0'0,"-2"6"-511"0"0,0 0-337 0 0,-2 3-240 0 0,2-2-212 0 0,-2 2-216 0 0,2 1-92 0 0,0-8-652 0 0,0 3-876 0 0,6 4-344 0 0,4 8-148 0 0,8 3-1085 0 0</inkml:trace>
</inkml:ink>
</file>

<file path=ppt/ink/ink2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9.5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348 0 0,'14'15'1048'0'0,"-1"0"-1"0"0,-1 1 1 0 0,0 1-1 0 0,-2 0 1 0 0,0 0-1 0 0,15 36 1 0 0,-15-24 334 0 0,-1 1-1 0 0,-1 1 1 0 0,7 53 0 0 0,-5-5 3615 0 0,7-110-5154 0 0,-12 23 88 0 0,1 0 0 0 0,1 0-1 0 0,-1 1 1 0 0,1 0-1 0 0,1 0 1 0 0,-1 0-1 0 0,1 1 1 0 0,0 0 0 0 0,1 1-1 0 0,-1 0 1 0 0,1 0-1 0 0,0 1 1 0 0,0 0-1 0 0,1 0 1 0 0,16-3 0 0 0,-23 6 58 0 0,1 1 1 0 0,-1 0 0 0 0,0 0 0 0 0,0 0-1 0 0,0 0 1 0 0,0 0 0 0 0,1 1-1 0 0,-1-1 1 0 0,0 1 0 0 0,0 0 0 0 0,0 0-1 0 0,0 0 1 0 0,3 1 0 0 0,-2 0-6 0 0,2 1 19 0 0,-1 0 0 0 0,0 0-1 0 0,-1 0 1 0 0,1 0 0 0 0,0 1-1 0 0,-1 0 1 0 0,0 0 0 0 0,0 0-1 0 0,0 0 1 0 0,0 1 0 0 0,-1-1-1 0 0,0 1 1 0 0,0 0 0 0 0,0 0-1 0 0,0 0 1 0 0,-1 1 0 0 0,0-1-1 0 0,0 1 1 0 0,0-1 0 0 0,-1 1-1 0 0,1 6 1 0 0,1 0 198 0 0,-2 1 0 0 0,1 0 0 0 0,-2-1 1 0 0,0 1-1 0 0,0 0 0 0 0,-1-1 0 0 0,-1 1 0 0 0,-4 17 0 0 0,2-22 396 0 0,3-14-477 0 0,2-14-158 0 0,3 7-4 0 0,2 1 0 0 0,-1-1-1 0 0,2 1 1 0 0,-1 0 0 0 0,2 0 0 0 0,0 1 0 0 0,11-13 0 0 0,-14 18 18 0 0,0 1 0 0 0,1 0 0 0 0,-1 0 1 0 0,1 0-1 0 0,0 0 0 0 0,0 1 0 0 0,0 0 0 0 0,1 0 1 0 0,-1 1-1 0 0,1 0 0 0 0,0 0 0 0 0,0 0 0 0 0,0 1 1 0 0,11-2-1 0 0,-14 4 26 0 0,0 0 0 0 0,0 0 0 0 0,0 1 0 0 0,0-1 0 0 0,0 1 0 0 0,0 0 0 0 0,0 0 0 0 0,0 0 0 0 0,0 0 0 0 0,0 1 0 0 0,0 0 0 0 0,-1 0 0 0 0,1 0 0 0 0,0 0 0 0 0,-1 0 0 0 0,0 1 0 0 0,0-1 0 0 0,0 1-1 0 0,0 0 1 0 0,0 0 0 0 0,0 0 0 0 0,-1 0 0 0 0,1 1 0 0 0,2 5 0 0 0,2 3 53 0 0,0 0 0 0 0,-2 1 0 0 0,1 0 0 0 0,-2 0 0 0 0,7 24-1 0 0,-9-22-160 0 0,0 0 0 0 0,1 30 0 0 0,-3-13-3517 0 0,-1-4-4613 0 0</inkml:trace>
</inkml:ink>
</file>

<file path=ppt/ink/ink2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29.8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4 432 504 0 0,'1'-1'208'0'0,"0"1"0"0"0,-1-1 0 0 0,1 0-1 0 0,0 1 1 0 0,0-1 0 0 0,0 0 0 0 0,0 1 0 0 0,0-1 0 0 0,0 1-1 0 0,-1-1 1 0 0,1 1 0 0 0,0 0 0 0 0,0-1 0 0 0,1 1 0 0 0,-1 0 0 0 0,0 0-1 0 0,0 0 1 0 0,0-1 0 0 0,0 1 0 0 0,0 0 0 0 0,0 1 0 0 0,0-1-1 0 0,0 0 1 0 0,0 0 0 0 0,0 0 0 0 0,0 0 0 0 0,0 1 0 0 0,0-1-1 0 0,0 1 1 0 0,0-1 0 0 0,0 1 0 0 0,0-1 0 0 0,0 1 0 0 0,0-1 0 0 0,-1 1-1 0 0,1 0 1 0 0,0-1 0 0 0,0 1 0 0 0,-1 0 0 0 0,1 0 0 0 0,0 0-1 0 0,-1-1 1 0 0,1 1 0 0 0,-1 0 0 0 0,1 0 0 0 0,-1 0 0 0 0,1 0-1 0 0,-1 0 1 0 0,1 1 0 0 0,2 8 368 0 0,-1-1 0 0 0,0 1 0 0 0,0 0 1 0 0,0 14-1 0 0,0-8 204 0 0,12 115 1094 0 0,-12-103-4012 0 0,-4 31-1 0 0,-3-40-3161 0 0</inkml:trace>
  <inkml:trace contextRef="#ctx0" brushRef="#br0" timeOffset="1">56 153 1112 0 0,'-6'-18'2240'0'0,"0"2"-372"0"0,0 2-451 0 0,0-1-193 0 0,0 3-204 0 0,0-1-164 0 0,2 0-228 0 0,2 4-72 0 0,-4-1-216 0 0,4 1-208 0 0,-4-4-912 0 0,6 2-1332 0 0</inkml:trace>
</inkml:ink>
</file>

<file path=ppt/ink/ink2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0.2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68 0 0,'4'1'525'0'0,"-1"1"0"0"0,1-1 0 0 0,-1 1 0 0 0,0-1 0 0 0,0 1 0 0 0,0 0 0 0 0,0 0 0 0 0,0 1 0 0 0,0-1 0 0 0,0 1 0 0 0,-1-1 0 0 0,1 1 0 0 0,-1 0 0 0 0,0 0 0 0 0,1 0 0 0 0,-2 0 0 0 0,1 0 0 0 0,0 1 0 0 0,-1-1 0 0 0,1 0 0 0 0,-1 1 0 0 0,2 6 0 0 0,0 6 231 0 0,-1 0 0 0 0,0 0 0 0 0,-1 0 0 0 0,-2 17-1 0 0,2-2 279 0 0,2 190 2182 0 0,-1-71-2776 0 0,3 0-4188 0 0,-1-108 525 0 0,3-15-2637 0 0,-3-13 383 0 0</inkml:trace>
</inkml:ink>
</file>

<file path=ppt/ink/ink2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3.3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0 27 208 0 0,'-1'-2'1902'0'0,"0"0"-1651"0"0,0 0 0 0 0,0 1 0 0 0,-1-1 0 0 0,1 1 0 0 0,0-1 0 0 0,-1 1 0 0 0,1-1 0 0 0,-1 1 0 0 0,1 0 0 0 0,-1 0 0 0 0,0 0 0 0 0,1 0 0 0 0,-1 0 0 0 0,0 0 0 0 0,0 0 0 0 0,0 1 0 0 0,0-1 0 0 0,-2 0 0 0 0,-1 0 62 0 0,0 1-1 0 0,0-1 1 0 0,0 1-1 0 0,0 0 1 0 0,0 1 0 0 0,0-1-1 0 0,-6 2 1 0 0,-9 3 489 0 0,1 1 1 0 0,-34 15 0 0 0,53-21-803 0 0,-22 10 447 0 0,1 1 0 0 0,0 0 0 0 0,0 2-1 0 0,-20 16 1 0 0,35-25-323 0 0,0 1-1 0 0,1 0 1 0 0,-1 0-1 0 0,1 1 1 0 0,0 0-1 0 0,0 0 1 0 0,1 0 0 0 0,-1 0-1 0 0,1 1 1 0 0,1-1-1 0 0,-1 1 1 0 0,1 0-1 0 0,1 0 1 0 0,-1 1-1 0 0,1-1 1 0 0,0 0 0 0 0,0 10-1 0 0,1-13-57 0 0,1 0 0 0 0,0 0 0 0 0,1 0 0 0 0,-1 0 0 0 0,1 0 0 0 0,0 0 0 0 0,-1 0 0 0 0,2 0 0 0 0,-1-1 0 0 0,0 1 0 0 0,1 0 0 0 0,0-1 0 0 0,0 1 0 0 0,0-1 0 0 0,0 1 0 0 0,3 2 0 0 0,-1-2-15 0 0,0 0-1 0 0,0 0 0 0 0,1-1 0 0 0,-1 1 0 0 0,1-1 0 0 0,0 0 1 0 0,0 0-1 0 0,0-1 0 0 0,0 0 0 0 0,8 3 0 0 0,-3-2-26 0 0,-1-1-1 0 0,0 0 1 0 0,1 0-1 0 0,-1-1 1 0 0,1-1-1 0 0,-1 0 1 0 0,1 0 0 0 0,-1 0-1 0 0,1-1 1 0 0,-1-1-1 0 0,0 0 1 0 0,1 0-1 0 0,10-5 1 0 0,-11 3-75 0 0,0 0 1 0 0,0-1 0 0 0,-1-1 0 0 0,0 1 0 0 0,0-1-1 0 0,0-1 1 0 0,-1 1 0 0 0,1-1 0 0 0,9-14 0 0 0,-1-2 72 0 0,0-1 1 0 0,12-27-1 0 0,-11 19 352 0 0,-14 27-340 0 0,4-7 135 0 0,-11 16-105 0 0,2-1-65 0 0,1-1 0 0 0,0 0 0 0 0,0 1 0 0 0,0-1 0 0 0,0 1 0 0 0,1 0 0 0 0,-1-1 0 0 0,1 1 0 0 0,-1-1 0 0 0,1 1 0 0 0,0 5 0 0 0,3 29 38 0 0,-2-31-48 0 0,2 12-937 0 0,0 0 1 0 0,2 0-1 0 0,0 0 1 0 0,1-1 0 0 0,0 0-1 0 0,17 30 1 0 0,-10-30-1509 0 0,-12-16 2232 0 0,-1-1 1 0 0,1 1-1 0 0,0 0 0 0 0,-1-1 1 0 0,1 1-1 0 0,0-1 0 0 0,-1 1 1 0 0,1-1-1 0 0,0 1 0 0 0,0-1 1 0 0,-1 0-1 0 0,1 1 0 0 0,0-1 1 0 0,0 0-1 0 0,0 0 0 0 0,0 1 1 0 0,-1-1-1 0 0,1 0 0 0 0,0 0 1 0 0,2 0-1 0 0,8-3-2057 0 0</inkml:trace>
</inkml:ink>
</file>

<file path=ppt/ink/ink2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3.6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24 2364 0 0,'10'-19'1038'0'0,"0"0"0"0"0,1 1 0 0 0,15-18-1 0 0,-22 31-734 0 0,0 0 0 0 0,1 0-1 0 0,0 0 1 0 0,-1 1 0 0 0,2 0-1 0 0,-1 0 1 0 0,0 0 0 0 0,1 0-1 0 0,-1 1 1 0 0,1 0-1 0 0,0 0 1 0 0,0 1 0 0 0,1-1-1 0 0,10-1 1 0 0,14 4 736 0 0,-29 0-975 0 0,0 1 0 0 0,0-1-1 0 0,0 0 1 0 0,0 1 0 0 0,0 0-1 0 0,0-1 1 0 0,0 1-1 0 0,0 0 1 0 0,-1 0 0 0 0,1 0-1 0 0,0 0 1 0 0,-1 0-1 0 0,1 1 1 0 0,-1-1 0 0 0,1 0-1 0 0,-1 1 1 0 0,0-1 0 0 0,3 4-1 0 0,-3-1 47 0 0,1 0 0 0 0,-1 1 0 0 0,0-1-1 0 0,0 1 1 0 0,0 0 0 0 0,0-1 0 0 0,-1 1-1 0 0,0 0 1 0 0,0-1 0 0 0,0 1 0 0 0,-1-1 0 0 0,1 1-1 0 0,-1 0 1 0 0,0-1 0 0 0,0 1 0 0 0,-5 9 1625 0 0,21-28-1677 0 0,13-9-131 0 0,2 1 0 0 0,58-31 1 0 0,-39 25 243 0 0,-39 21 8 0 0,1 0 0 0 0,1 1 0 0 0,-1 1 0 0 0,1-1 0 0 0,19-4 0 0 0,-29 10-144 0 0,0 0-1 0 0,0 0 0 0 0,1 0 0 0 0,-1 0 0 0 0,0 0 1 0 0,0 0-1 0 0,0 1 0 0 0,0-1 0 0 0,1 1 0 0 0,-1 0 1 0 0,0 0-1 0 0,0 0 0 0 0,0-1 0 0 0,0 2 0 0 0,-1-1 1 0 0,1 0-1 0 0,0 0 0 0 0,0 1 0 0 0,-1-1 0 0 0,1 1 1 0 0,-1-1-1 0 0,1 1 0 0 0,-1 0 0 0 0,0-1 0 0 0,1 1 1 0 0,-1 0-1 0 0,0 0 0 0 0,0 0 0 0 0,0 0 0 0 0,0 2 1 0 0,3 5-181 0 0,-1-1 1 0 0,-1 1 0 0 0,1-1 0 0 0,-1 1 0 0 0,1 15 0 0 0,-3-17-562 0 0,1 1 1 0 0,-2 0 0 0 0,1-1-1 0 0,-2 10 1 0 0,-9 16-7463 0 0,6-23 4204 0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2.0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8 26 1200 0 0,'-58'-26'7995'0'0,"62"26"-7496"0"0,124 10 1323 0 0,10 0-1018 0 0,96-23-38 0 0,-177 9-465 0 0,-54 3-269 0 0,0 1 1 0 0,0 0 0 0 0,0 0 0 0 0,-1 1 0 0 0,1-1 0 0 0,0 0 0 0 0,0 1 0 0 0,0 0 0 0 0,0 0 0 0 0,-1 0 0 0 0,1 0 0 0 0,0 0-1 0 0,-1 0 1 0 0,1 1 0 0 0,-1-1 0 0 0,1 1 0 0 0,-1 0 0 0 0,3 3 0 0 0,0 0 175 0 0,0 1-1 0 0,-1 0 1 0 0,0 0-1 0 0,0 0 1 0 0,4 8 0 0 0,-3-3 366 0 0,-4-9-293 0 0,7 17 1731 0 0,-2-5 3116 0 0,-7-14-5096 0 0,0-1-23 0 0,1 1 1 0 0,-1 0-1 0 0,0 0 0 0 0,1-1 0 0 0,-1 1 0 0 0,1 0 0 0 0,0-1 0 0 0,-1 1 0 0 0,1-1 1 0 0,-1 1-1 0 0,1-1 0 0 0,-1 1 0 0 0,1-1 0 0 0,0 1 0 0 0,-1-1 0 0 0,1 1 0 0 0,0-1 0 0 0,0 1 1 0 0,0-1-1 0 0,-1 0 0 0 0,0-2-22 0 0,0 1 0 0 0,1-1 0 0 0,-1 1 0 0 0,1-1 1 0 0,0 0-1 0 0,-1 1 0 0 0,1-1 0 0 0,0 1 0 0 0,0-1 0 0 0,1 1 0 0 0,-1-1 1 0 0,0 0-1 0 0,1 1 0 0 0,0-1 0 0 0,-1 1 0 0 0,1-1 0 0 0,0 1 0 0 0,1 0 1 0 0,-1-1-1 0 0,0 1 0 0 0,0 0 0 0 0,1 0 0 0 0,3-4 0 0 0,-2 2-4 0 0,0 1-9 0 0,0 0 1 0 0,1 0 0 0 0,-1 1-1 0 0,0-1 1 0 0,1 1-1 0 0,0 0 1 0 0,-1 0 0 0 0,1 0-1 0 0,0 0 1 0 0,0 1-1 0 0,8-3 1 0 0,-9 4 12 0 0,0 0 0 0 0,0 0 0 0 0,0 0 0 0 0,0 0 0 0 0,1 0 0 0 0,-1 1 0 0 0,0-1 0 0 0,0 1-1 0 0,0 0 1 0 0,0 0 0 0 0,0 0 0 0 0,0 0 0 0 0,0 1 0 0 0,5 2 0 0 0,-4-1-112 0 0,0 0 0 0 0,0 1 0 0 0,-1-1 0 0 0,1 1 1 0 0,-1-1-1 0 0,0 1 0 0 0,0 0 0 0 0,0 0 0 0 0,0 1 0 0 0,-1-1 0 0 0,0 0 0 0 0,0 1 0 0 0,0 0 0 0 0,0-1 1 0 0,-1 1-1 0 0,0 0 0 0 0,0 0 0 0 0,0 0 0 0 0,0 10 0 0 0,-1-9-486 0 0,0-1 0 0 0,0 1-1 0 0,0 0 1 0 0,-1 0 0 0 0,0 0 0 0 0,0 0 0 0 0,-4 9-1 0 0,4-12-92 0 0,-1 1-1 0 0,1-1 1 0 0,-1 1 0 0 0,0-1-1 0 0,0 0 1 0 0,0 0-1 0 0,0 0 1 0 0,-1 0-1 0 0,0 0 1 0 0,1-1-1 0 0,-1 1 1 0 0,-4 2 0 0 0</inkml:trace>
</inkml:ink>
</file>

<file path=ppt/ink/ink2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3.9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7 256 424 0 0,'-55'-144'12454'0'0,"35"80"-12069"0"0,20 63-469 0 0,0 1 0 0 0,-1 0-1 0 0,1-1 1 0 0,0 1 0 0 0,0-1-1 0 0,0 1 1 0 0,0-1 0 0 0,0 1-1 0 0,0-1 1 0 0,0 1 0 0 0,0-1-1 0 0,0 1 1 0 0,0-1 0 0 0,0 1 0 0 0,0-1-1 0 0,1 1 1 0 0,-1-1 0 0 0,0 1-1 0 0,0-1 1 0 0,0 1 0 0 0,1 0-1 0 0,-1-1 1 0 0,0 1 0 0 0,0-1-1 0 0,1 1 1 0 0,-1 0 0 0 0,0-1-1 0 0,1 1 1 0 0,-1 0 0 0 0,1-1 0 0 0,-1 1-1 0 0,1 0 1 0 0,17-5-2384 0 0,17 0-926 0 0,-18 1 1179 0 0</inkml:trace>
  <inkml:trace contextRef="#ctx0" brushRef="#br0" timeOffset="1">369 0 1940 0 0,'6'0'552'0'0,"0"1"1"0"0,-1-1-1 0 0,1 1 0 0 0,0-1 0 0 0,-1 2 0 0 0,1-1 1 0 0,0 1-1 0 0,-1 0 0 0 0,0 0 0 0 0,1 0 1 0 0,-1 1-1 0 0,5 3 0 0 0,-4-2-149 0 0,-1 1-1 0 0,1-1 1 0 0,-1 2 0 0 0,-1-1 0 0 0,1 0 0 0 0,-1 1-1 0 0,1 0 1 0 0,-2 0 0 0 0,5 9 0 0 0,6 12 22 0 0,-2 2 0 0 0,0 0 1 0 0,-2 0-1 0 0,-2 1 0 0 0,10 56 1 0 0,-13-18-2045 0 0,-5-62 832 0 0,0 0 0 0 0,0-1 0 0 0,-1 1 0 0 0,1 0 0 0 0,-1 0 0 0 0,-1 0 0 0 0,1-1 0 0 0,-1 1 0 0 0,-3 5 0 0 0</inkml:trace>
</inkml:ink>
</file>

<file path=ppt/ink/ink2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4.4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72 776 0 0,'-2'-1'2022'0'0,"-16"-14"3027"0"0,18 14-4922 0 0,1 0 0 0 0,-1 1 0 0 0,1-1-1 0 0,-1 0 1 0 0,0 0 0 0 0,1 0 0 0 0,-1 1 0 0 0,1-1-1 0 0,0 0 1 0 0,-1 0 0 0 0,1 1 0 0 0,0-1-1 0 0,-1 1 1 0 0,2-2 0 0 0,24-5 383 0 0,1 0 0 0 0,0 2 1 0 0,-1 1-1 0 0,43-1 0 0 0,-26 2-272 0 0,-29 1-167 0 0,168-9 1095 0 0,-179 11-1112 0 0,0 0 0 0 0,1 0 0 0 0,-1 0 0 0 0,0 1 0 0 0,0-1 0 0 0,0 1 0 0 0,0 0 0 0 0,0 0 0 0 0,0 0 0 0 0,0 0 0 0 0,0 0 0 0 0,0 0 0 0 0,0 1 0 0 0,-1-1 0 0 0,1 1 0 0 0,0 0 0 0 0,-1 0 0 0 0,0 0 0 0 0,1 0 0 0 0,-1 1 0 0 0,0-1 0 0 0,0 0 0 0 0,0 1 0 0 0,0 0 0 0 0,-1-1 0 0 0,1 1 0 0 0,-1 0 0 0 0,3 6 0 0 0,-2-3 32 0 0,0 1-1 0 0,1 0 1 0 0,0 0 0 0 0,0-1 0 0 0,1 0-1 0 0,0 0 1 0 0,0 0 0 0 0,0 0 0 0 0,1 0-1 0 0,0-1 1 0 0,0 0 0 0 0,0 0 0 0 0,1 0 0 0 0,-1-1-1 0 0,1 0 1 0 0,0 0 0 0 0,1 0 0 0 0,-1-1-1 0 0,1 0 1 0 0,-1 0 0 0 0,1 0 0 0 0,0-1-1 0 0,11 2 1 0 0,-3-1-319 0 0,1-2-1 0 0,-1 1 0 0 0,0-2 1 0 0,1 0-1 0 0,-1-1 0 0 0,0 0 0 0 0,0-2 1 0 0,0 1-1 0 0,0-2 0 0 0,16-6 1 0 0,-11 3-25 0 0,1 1 0 0 0,-1 1 0 0 0,27-3 0 0 0,-45 8 273 0 0,0 0 0 0 0,0 0 0 0 0,0 0 0 0 0,0 0 0 0 0,0 1 0 0 0,0-1 1 0 0,0 1-1 0 0,0-1 0 0 0,-1 1 0 0 0,1 0 0 0 0,0-1 0 0 0,0 1 0 0 0,-1 0 0 0 0,1 0 1 0 0,0 1-1 0 0,-1-1 0 0 0,1 0 0 0 0,-1 0 0 0 0,0 1 0 0 0,1-1 0 0 0,-1 1 1 0 0,0-1-1 0 0,0 1 0 0 0,0 0 0 0 0,0-1 0 0 0,0 1 0 0 0,0 0 0 0 0,0 0 0 0 0,-1-1 1 0 0,2 3-1 0 0,0 4 54 0 0,0-1 0 0 0,-1 1 0 0 0,1 0 0 0 0,-1 0 1 0 0,-1 13-1 0 0,0 8 134 0 0,-2 1 1 0 0,-1 0-1 0 0,-2-1 1 0 0,-13 48-1 0 0,12-58 38 0 0,-1 0-1 0 0,0-1 0 0 0,-2 0 1 0 0,0 0-1 0 0,0 0 0 0 0,-2-1 1 0 0,-24 28-1 0 0,28-37-161 0 0,0-1 1 0 0,-1 0-1 0 0,0 0 0 0 0,0-1 1 0 0,-1 0-1 0 0,0 0 0 0 0,0-1 1 0 0,0-1-1 0 0,-1 1 0 0 0,1-1 1 0 0,-1-1-1 0 0,0 0 0 0 0,0 0 1 0 0,0-1-1 0 0,-1 0 0 0 0,1-1 1 0 0,0 0-1 0 0,-18-1 0 0 0,20-1-83 0 0,0 0 0 0 0,0 0-1 0 0,0-1 1 0 0,0 0 0 0 0,0 0-1 0 0,1-1 1 0 0,-1 0 0 0 0,1 0 0 0 0,-1-1-1 0 0,1 0 1 0 0,0 0 0 0 0,0-1-1 0 0,1 0 1 0 0,0 0 0 0 0,-1-1-1 0 0,2 1 1 0 0,-1-1 0 0 0,1 0 0 0 0,0-1-1 0 0,0 1 1 0 0,0-1 0 0 0,1 0-1 0 0,-6-15 1 0 0,4 7-192 0 0,1 0 1 0 0,1-1-1 0 0,0 1 0 0 0,1-1 0 0 0,1 0 1 0 0,0 0-1 0 0,1 0 0 0 0,1 0 1 0 0,1 0-1 0 0,0 0 0 0 0,5-20 0 0 0,-3 17-629 0 0,2 1-1 0 0,1 0 0 0 0,12-30 0 0 0,-10 33-533 0 0,0-1 0 0 0,1 2 0 0 0,0-1 0 0 0,14-14 1 0 0,-4 7-2817 0 0</inkml:trace>
</inkml:ink>
</file>

<file path=ppt/ink/ink2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5.2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1 54 1384 0 0,'0'0'6650'0'0,"-2"2"-5637"0"0,-4 2-691 0 0,1 1 0 0 0,0 0 0 0 0,0 0 0 0 0,0 0 0 0 0,1 1 0 0 0,0 0 0 0 0,0 0 0 0 0,0 0 0 0 0,1 0 0 0 0,0 1 0 0 0,0-1 0 0 0,0 1 0 0 0,1 0 0 0 0,0 0 0 0 0,-1 8 0 0 0,1-4-113 0 0,0 0-1 0 0,0 0 1 0 0,1 0-1 0 0,1 0 1 0 0,0 1-1 0 0,1-1 1 0 0,0 0-1 0 0,0 0 1 0 0,4 14-1 0 0,-1-14-114 0 0,1 0 0 0 0,-1 0 1 0 0,2 0-1 0 0,-1-1 0 0 0,1 0 0 0 0,1 0 0 0 0,0 0 0 0 0,0-1 0 0 0,1 0 1 0 0,0-1-1 0 0,1 1 0 0 0,0-2 0 0 0,11 9 0 0 0,-11-10-84 0 0,-1-1 0 0 0,1-1 0 0 0,-1 1 1 0 0,1-1-1 0 0,1-1 0 0 0,-1 1 0 0 0,0-2 0 0 0,1 1 0 0 0,0-1 0 0 0,-1-1 1 0 0,1 0-1 0 0,0 0 0 0 0,0-1 0 0 0,0 0 0 0 0,0 0 0 0 0,11-3 0 0 0,-15 1-56 0 0,0 0 0 0 0,0 0 0 0 0,0 0 1 0 0,0-1-1 0 0,0 0 0 0 0,0 0 0 0 0,-1-1 0 0 0,1 1 0 0 0,-1-1 0 0 0,0 0 0 0 0,0-1 0 0 0,6-6 0 0 0,-1 0-62 0 0,-1-1 1 0 0,-1 0-1 0 0,0 0 1 0 0,9-18-1 0 0,-10-3-16 0 0,-7 31 102 0 0,8 15-42 0 0,4-6 125 0 0,0-1-1 0 0,0 0 1 0 0,1 0 0 0 0,-1-1 0 0 0,1-1-1 0 0,0 0 1 0 0,1-1 0 0 0,-1 0 0 0 0,1-1-1 0 0,-1-1 1 0 0,1 0 0 0 0,-1-1 0 0 0,1 0 0 0 0,22-3-1 0 0,-32 2-7 0 0,0 1-1 0 0,-1-1 1 0 0,1 1 0 0 0,0-1-1 0 0,0-1 1 0 0,-1 1 0 0 0,1 0-1 0 0,0-1 1 0 0,-1 1-1 0 0,1-1 1 0 0,-1 0 0 0 0,0-1-1 0 0,0 1 1 0 0,0 0 0 0 0,0-1-1 0 0,0 0 1 0 0,0 1-1 0 0,-1-1 1 0 0,1 0 0 0 0,-1 0-1 0 0,0-1 1 0 0,0 1 0 0 0,0 0-1 0 0,0-1 1 0 0,-1 0-1 0 0,1 1 1 0 0,0-5 0 0 0,0 1-22 0 0,-1 0 1 0 0,-1-1 0 0 0,1 1 0 0 0,-1 0-1 0 0,0 0 1 0 0,-1 0 0 0 0,0 0 0 0 0,0-1 0 0 0,-1 1-1 0 0,1 1 1 0 0,-1-1 0 0 0,-1 0 0 0 0,-5-10-1 0 0,-4-4-468 0 0,0 0-1 0 0,-2 1 0 0 0,-32-36 1 0 0,0 1-6951 0 0,50 42 2368 0 0</inkml:trace>
</inkml:ink>
</file>

<file path=ppt/ink/ink2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5.6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368 0 0,'6'2'522'0'0,"-1"0"1"0"0,1 0-1 0 0,-1 0 1 0 0,0 0-1 0 0,0 1 0 0 0,0 0 1 0 0,0 0-1 0 0,0 1 0 0 0,0-1 1 0 0,-1 1-1 0 0,0 0 0 0 0,0 0 1 0 0,0 1-1 0 0,0-1 0 0 0,0 1 1 0 0,-1 0-1 0 0,0 0 0 0 0,0 0 1 0 0,-1 0-1 0 0,1 0 0 0 0,1 6 1 0 0,6 17 144 0 0,-2-1 1 0 0,-1 1 0 0 0,-1 1-1 0 0,2 29 1 0 0,-7-39-1880 0 0,0 0 0 0 0,-2-1 0 0 0,0 1 0 0 0,-4 19 0 0 0,1-20-6522 0 0</inkml:trace>
</inkml:ink>
</file>

<file path=ppt/ink/ink2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5.9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6 188 2524 0 0,'-7'-20'2829'0'0,"-17"-52"5131"0"0,-6 6-3673 0 0,29 64-4369 0 0,0 0 0 0 0,1 0 0 0 0,-1 0 1 0 0,1 0-1 0 0,-1 0 0 0 0,1 0 0 0 0,0 0 1 0 0,0 0-1 0 0,0-3 0 0 0,3-1-2686 0 0,7 12 356 0 0,-6-1 1348 0 0,1-1 0 0 0,0 1 0 0 0,-1-1 0 0 0,2 0-1 0 0,-1 0 1 0 0,12 6 0 0 0,-7-5-685 0 0</inkml:trace>
  <inkml:trace contextRef="#ctx0" brushRef="#br0" timeOffset="1">308 89 568 0 0,'10'2'1531'0'0,"2"-1"52"0"0,0 0 0 0 0,-1 1 0 0 0,16 5 1 0 0,-23-5-1295 0 0,1-1 0 0 0,-1 1 0 0 0,0 1 0 0 0,0-1 1 0 0,0 0-1 0 0,0 1 0 0 0,0 0 0 0 0,-1 0 0 0 0,0 0 1 0 0,1 0-1 0 0,-1 1 0 0 0,3 4 0 0 0,2 3 91 0 0,-2 1-1 0 0,1 0 1 0 0,-1 0 0 0 0,-1 0-1 0 0,0 1 1 0 0,5 23 0 0 0,12 84 481 0 0,-19-97-765 0 0,0-1-613 0 0,-2 0-1 0 0,0 1 1 0 0,-2 22 0 0 0,-9 28-6626 0 0,6-58 2953 0 0</inkml:trace>
</inkml:ink>
</file>

<file path=ppt/ink/ink2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6.3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 63 1836 0 0,'-2'-1'856'0'0,"-17"-15"4663"0"0,18 8-3916 0 0,13 2-714 0 0,28-1-227 0 0,-1 3 1 0 0,61 0-1 0 0,-7 1-410 0 0,-25-2-76 0 0,125-3 133 0 0,-184 8-215 0 0,-1 1 0 0 0,1 0 1 0 0,0 0-1 0 0,0 1 1 0 0,-1 0-1 0 0,1 0 0 0 0,-1 1 1 0 0,11 6-1 0 0,-14-7-17 0 0,-1 0 0 0 0,-1 1 0 0 0,1 0 1 0 0,0 0-1 0 0,-1 0 0 0 0,1 0 0 0 0,-1 1 0 0 0,0-1 0 0 0,0 1 0 0 0,0 0 0 0 0,-1 0 0 0 0,1 0 1 0 0,-1 0-1 0 0,0 0 0 0 0,0 1 0 0 0,0-1 0 0 0,1 8 0 0 0,2 14 400 0 0,0 1 0 0 0,0 33 0 0 0,-4-14 4240 0 0,6-61-3982 0 0,-3 8-695 0 0,0 1 1 0 0,0 0-1 0 0,1 1 1 0 0,-1-1-1 0 0,1 1 1 0 0,1 0-1 0 0,-1 0 1 0 0,1 0-1 0 0,-1 1 1 0 0,1 0-1 0 0,1 0 1 0 0,-1 0-1 0 0,0 1 1 0 0,1 0-1 0 0,0 0 1 0 0,13-3-1 0 0,-15 5-48 0 0,0 0-1 0 0,0 1 0 0 0,0 0 0 0 0,0 0 0 0 0,0 0 1 0 0,0 1-1 0 0,0 0 0 0 0,0 0 0 0 0,0 0 0 0 0,0 0 1 0 0,-1 1-1 0 0,7 2 0 0 0,-4-1-152 0 0,1 1-1 0 0,-1 0 1 0 0,0 1 0 0 0,0-1-1 0 0,-1 1 1 0 0,8 7-1 0 0,-10-8-170 0 0,0 0-1 0 0,-1 1 1 0 0,1-1-1 0 0,-1 1 1 0 0,0-1-1 0 0,0 1 1 0 0,0 0-1 0 0,-1 0 1 0 0,1 1-1 0 0,-1-1 1 0 0,-1 0-1 0 0,1 1 1 0 0,0 5-1 0 0,-1-2-1822 0 0,0 1 1 0 0,0-1-1 0 0,-1 1 0 0 0,-2 12 0 0 0,0-7-2003 0 0</inkml:trace>
</inkml:ink>
</file>

<file path=ppt/ink/ink2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39.0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0 167 556 0 0,'0'0'3470'0'0,"-7"19"-87"0"0,1 16-1153 0 0,0 43 0 0 0,7 92 234 0 0,1-60-1474 0 0,-6-82-533 0 0,4-28-448 0 0,0 1 1 0 0,0 0-1 0 0,0 0 1 0 0,-1-1-1 0 0,1 1 0 0 0,0 0 1 0 0,0-1-1 0 0,-1 1 1 0 0,1-1-1 0 0,-1 1 1 0 0,1 0-1 0 0,-1-1 0 0 0,1 1 1 0 0,-1-1-1 0 0,1 1 1 0 0,-1-1-1 0 0,1 0 1 0 0,-1 1-1 0 0,1-1 0 0 0,-1 1 1 0 0,0-1-1 0 0,1 0 1 0 0,-1 1-1 0 0,0-1 1 0 0,1 0-1 0 0,-1 0 0 0 0,0 0 1 0 0,1 0-1 0 0,-1 1 1 0 0,0-1-1 0 0,1 0 1 0 0,-1 0-1 0 0,0 0 0 0 0,0 0 1 0 0,1-1-1 0 0,-1 1 1 0 0,-1 0-1 0 0,-1-1 0 0 0,0 0-1 0 0,0-1 1 0 0,0 1 0 0 0,0-1-1 0 0,1 1 1 0 0,-1-1 0 0 0,0 0-1 0 0,1 0 1 0 0,-1-1 0 0 0,1 1-1 0 0,-1 0 1 0 0,1-1 0 0 0,0 1-1 0 0,-3-6 1 0 0,2 2-3 0 0,-1-1 1 0 0,1 1-1 0 0,1-1 0 0 0,-1 0 0 0 0,1 0 1 0 0,-2-11-1 0 0,2 1-10 0 0,0-1 1 0 0,1 1-1 0 0,1-1 0 0 0,0 1 0 0 0,4-20 0 0 0,1 10-3 0 0,0 0 0 0 0,2 0 0 0 0,1 1 0 0 0,1 0 0 0 0,1 1-1 0 0,26-45 1 0 0,-27 55-4 0 0,0 1 1 0 0,1 0-1 0 0,0 1 0 0 0,1 0 0 0 0,1 0 0 0 0,0 1 1 0 0,1 1-1 0 0,0 0 0 0 0,1 1 0 0 0,0 0 0 0 0,0 1 1 0 0,20-9-1 0 0,-28 16-123 0 0,1-1-1 0 0,-1 1 1 0 0,1 1 0 0 0,0-1 0 0 0,-1 1-1 0 0,1 1 1 0 0,0-1 0 0 0,0 1 0 0 0,0 0-1 0 0,-1 1 1 0 0,1-1 0 0 0,0 1-1 0 0,0 1 1 0 0,-1-1 0 0 0,1 1 0 0 0,-1 0-1 0 0,12 6 1 0 0,-14-6-163 0 0,0 0 0 0 0,0 1 1 0 0,0-1-1 0 0,-1 1 0 0 0,1 0 0 0 0,-1 0 0 0 0,1 0 0 0 0,-1 0 0 0 0,0 1 0 0 0,-1-1 0 0 0,1 1 0 0 0,0 0 1 0 0,-1 0-1 0 0,0 0 0 0 0,0 0 0 0 0,0 0 0 0 0,0 0 0 0 0,-1 1 0 0 0,0-1 0 0 0,0 0 0 0 0,0 1 1 0 0,0-1-1 0 0,-1 1 0 0 0,0 0 0 0 0,1-1 0 0 0,-2 1 0 0 0,0 5 0 0 0,-4 15-2668 0 0</inkml:trace>
</inkml:ink>
</file>

<file path=ppt/ink/ink2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40.8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1 481 1776 0 0,'-7'4'528'0'0,"-92"53"6430"0"0,98-57-6924 0 0,1 0-1 0 0,0 0 1 0 0,0 0 0 0 0,-1 0 0 0 0,1 0 0 0 0,0 1 0 0 0,0-1 0 0 0,0 0 0 0 0,-1 0 0 0 0,1 0 0 0 0,0 1 0 0 0,0-1 0 0 0,0 0 0 0 0,0 0 0 0 0,-1 1 0 0 0,1-1 0 0 0,0 0 0 0 0,0 0 0 0 0,0 1 0 0 0,0-1 0 0 0,0 0 0 0 0,0 0 0 0 0,0 1 0 0 0,0-1 0 0 0,0 0 0 0 0,0 1 0 0 0,0-1 0 0 0,0 0 0 0 0,0 0 0 0 0,0 1 0 0 0,0-1 0 0 0,0 0 0 0 0,0 0 0 0 0,0 1 0 0 0,0-1 0 0 0,0 0 0 0 0,0 0 0 0 0,0 1 0 0 0,1-1 0 0 0,-1 0 0 0 0,0 0 0 0 0,0 1 0 0 0,0-1 0 0 0,0 0 0 0 0,1 0 0 0 0,-1 0 0 0 0,0 1 0 0 0,0-1 0 0 0,1 0 0 0 0,-1 0 0 0 0,0 0 0 0 0,0 0 0 0 0,0 1 0 0 0,1-1 0 0 0,12 6 463 0 0,12-2-134 0 0,0-1 0 0 0,0-1 0 0 0,0-2 0 0 0,36-2 0 0 0,-34 0-182 0 0,15 1 28 0 0,234-22-73 0 0,-248 18-166 0 0,1-1-1 0 0,-1-1 0 0 0,0-2 1 0 0,0 0-1 0 0,-1-2 1 0 0,-1-1-1 0 0,37-23 1 0 0,-45 23 246 0 0,-2 1 277 0 0,1 1 0 0 0,23-11 0 0 0,-37 19-386 0 0,0 4-72 0 0,-2-1-27 0 0,1 0 1 0 0,-1 0-1 0 0,0 0 0 0 0,0 0 0 0 0,1 0 0 0 0,-1 0 1 0 0,0 1-1 0 0,0-1 0 0 0,0 0 0 0 0,0 1 0 0 0,-1-1 1 0 0,1 1-1 0 0,0-1 0 0 0,-1 1 0 0 0,1 0 1 0 0,-1-1-1 0 0,1 1 0 0 0,-1 0 0 0 0,0-1 0 0 0,0 1 1 0 0,0 0-1 0 0,0-1 0 0 0,0 4 0 0 0,-6 49 303 0 0,4-41-153 0 0,-5 23 55 0 0,4-23 777 0 0,1 1 0 0 0,-2 21 1 0 0,4-42-825 0 0,0 2-146 0 0,0-1 0 0 0,0 1 0 0 0,1 0 0 0 0,-1 0-1 0 0,1 0 1 0 0,0 0 0 0 0,3-7 0 0 0,5-11-108 0 0,0 0 1 0 0,25-39-1 0 0,-28 53 59 0 0,0 0 1 0 0,0 0 0 0 0,1 1-1 0 0,0 0 1 0 0,1 0-1 0 0,0 1 1 0 0,0 0 0 0 0,0 0-1 0 0,11-5 1 0 0,-15 9 18 0 0,0 1 0 0 0,0 1 0 0 0,0-1 0 0 0,0 1 0 0 0,0-1 0 0 0,0 1 0 0 0,1 0-1 0 0,-1 1 1 0 0,0-1 0 0 0,1 1 0 0 0,-1 0 0 0 0,0 0 0 0 0,1 0 0 0 0,-1 0 0 0 0,0 1 0 0 0,0 0 0 0 0,1 0 0 0 0,-1 0 0 0 0,0 0 0 0 0,0 1 0 0 0,0 0 0 0 0,0-1 0 0 0,0 1 0 0 0,0 1 0 0 0,-1-1 0 0 0,1 1 0 0 0,4 4 0 0 0,1 1-4 0 0,-1 0 0 0 0,0 1 1 0 0,0 0-1 0 0,-1 1 1 0 0,0-1-1 0 0,-1 1 0 0 0,0 1 1 0 0,-1-1-1 0 0,5 12 0 0 0,12 30 580 0 0,-19-42 635 0 0,-2-23-843 0 0,0 7-359 0 0,0-1 0 0 0,0 0 1 0 0,1 1-1 0 0,0 0 1 0 0,0-1-1 0 0,1 1 0 0 0,0 0 1 0 0,0 0-1 0 0,0 1 1 0 0,1-1-1 0 0,0 0 1 0 0,0 1-1 0 0,0 0 0 0 0,1 0 1 0 0,-1 1-1 0 0,7-6 1 0 0,-7 7-57 0 0,1 0 1 0 0,0 0-1 0 0,-1 0 1 0 0,1 1-1 0 0,0-1 1 0 0,0 1-1 0 0,1 0 1 0 0,-1 1 0 0 0,0-1-1 0 0,1 1 1 0 0,-1 0-1 0 0,0 0 1 0 0,1 1-1 0 0,-1 0 1 0 0,1 0-1 0 0,0 0 1 0 0,-1 1-1 0 0,0-1 1 0 0,1 1 0 0 0,6 2-1 0 0,18 8-307 0 0,0 2-1 0 0,54 30 1 0 0,22 11-8 0 0,-92-49 323 0 0,0 0 0 0 0,0 0 0 0 0,1-2 1 0 0,-1 0-1 0 0,1 0 0 0 0,16 0 0 0 0,-14-3-13 0 0,0-1 1 0 0,1 0-1 0 0,-1-2 0 0 0,0 1 0 0 0,0-2 0 0 0,0-1 0 0 0,-1 0 0 0 0,1-1 1 0 0,-1 0-1 0 0,20-12 0 0 0,-25 12 79 0 0,0-1 0 0 0,-1 0 0 0 0,0 0 1 0 0,0-1-1 0 0,0 0 0 0 0,-1-1 0 0 0,-1 0 1 0 0,1 0-1 0 0,-2-1 0 0 0,1 0 0 0 0,-1-1 1 0 0,-1 0-1 0 0,0 0 0 0 0,0 0 0 0 0,4-13 1 0 0,-9 21-11 0 0,0 0 0 0 0,-1 0 0 0 0,1 0 0 0 0,-1 0 0 0 0,1-1 0 0 0,-1 1 0 0 0,0 0 0 0 0,0 0 0 0 0,-1 0 0 0 0,0-6 0 0 0,1 7-9 0 0,-1 1 0 0 0,0 0 0 0 0,1-1 0 0 0,-1 1 0 0 0,1 0 1 0 0,-1 0-1 0 0,0 0 0 0 0,0 0 0 0 0,0 0 0 0 0,0 0 0 0 0,0 0 0 0 0,0 0 0 0 0,0 0 0 0 0,0 0 1 0 0,0 0-1 0 0,0 0 0 0 0,0 1 0 0 0,-1-1 0 0 0,1 0 0 0 0,0 1 0 0 0,-1-1 0 0 0,1 1 0 0 0,0 0 0 0 0,-1-1 1 0 0,1 1-1 0 0,0 0 0 0 0,-1 0 0 0 0,1 0 0 0 0,-1 0 0 0 0,1 0 0 0 0,-3 0 0 0 0,-7 2-9 0 0,0-1 1 0 0,0 1-1 0 0,0 1 0 0 0,0-1 0 0 0,1 2 0 0 0,-1 0 0 0 0,-9 5 0 0 0,14-6 7 0 0,0 0 0 0 0,0 0 0 0 0,1 1 0 0 0,-1 0 0 0 0,1 0 0 0 0,0 0 0 0 0,0 1 0 0 0,0 0 0 0 0,1 0 0 0 0,-1 0 0 0 0,1 0-1 0 0,1 1 1 0 0,-6 9 0 0 0,8-15 9 0 0,1 1-1 0 0,0 0 1 0 0,-1 0-1 0 0,1 0 1 0 0,0 0-1 0 0,-1 0 1 0 0,1-1-1 0 0,0 1 0 0 0,0 0 1 0 0,0 0-1 0 0,0 0 1 0 0,0 0-1 0 0,0 0 1 0 0,0 0-1 0 0,0 0 1 0 0,0 0-1 0 0,0-1 1 0 0,1 1-1 0 0,-1 0 1 0 0,0 0-1 0 0,1 0 1 0 0,-1 0-1 0 0,0 0 0 0 0,1-1 1 0 0,-1 1-1 0 0,1 0 1 0 0,-1 0-1 0 0,2 0 1 0 0,0 1-10 0 0,0-1 0 0 0,0 1 1 0 0,0-1-1 0 0,0 0 0 0 0,0 0 1 0 0,0 0-1 0 0,1 0 0 0 0,-1-1 0 0 0,0 1 1 0 0,4 0-1 0 0,4 0-85 0 0,0 0 0 0 0,0 0 0 0 0,13-2 0 0 0,-8-1-199 0 0,0-1 1 0 0,0-1 0 0 0,-1 0-1 0 0,1-1 1 0 0,26-13 0 0 0,-4 3-98 0 0,-35 14 360 0 0,0 2 18 0 0,0 1 19 0 0,0 0-1 0 0,-1 0 1 0 0,1 1-1 0 0,-1-1 1 0 0,0 0-1 0 0,0 1 1 0 0,0-1-1 0 0,0 0 1 0 0,0 1-1 0 0,0-1 1 0 0,-1 1-1 0 0,1 0 1 0 0,-1-1-1 0 0,0 1 1 0 0,1-1-1 0 0,-1 1 1 0 0,-1 3-1 0 0,4 16 316 0 0,-2-16-224 0 0,0 1 1 0 0,0-1-1 0 0,1 0 1 0 0,0 0 0 0 0,0-1-1 0 0,1 1 1 0 0,0 0-1 0 0,0-1 1 0 0,0 1 0 0 0,0-1-1 0 0,1 0 1 0 0,0 0-1 0 0,0-1 1 0 0,1 1-1 0 0,6 5 1 0 0,-5-6-48 0 0,0 0 1 0 0,0-1-1 0 0,1 1 0 0 0,-1-1 1 0 0,1-1-1 0 0,0 1 0 0 0,-1-1 0 0 0,1 0 1 0 0,0-1-1 0 0,0 0 0 0 0,1 0 1 0 0,-1 0-1 0 0,8-1 0 0 0,-5 0-53 0 0,1-1 0 0 0,-1 0-1 0 0,0 0 1 0 0,0-1-1 0 0,0-1 1 0 0,-1 1 0 0 0,1-2-1 0 0,0 1 1 0 0,-1-1-1 0 0,0-1 1 0 0,0 0 0 0 0,0 0-1 0 0,10-9 1 0 0,-5 3-111 0 0,-1-2 0 0 0,0 0 0 0 0,-1 0 0 0 0,0-1 0 0 0,-1 0 0 0 0,15-27 0 0 0,-21 33 69 0 0,63-99-359 0 0,-68 106 397 0 0,0 1 0 0 0,1-1 0 0 0,-1 1 0 0 0,0-1 0 0 0,1 1 0 0 0,-1 0 0 0 0,0-1 0 0 0,1 1 0 0 0,-1-1 0 0 0,0 1 0 0 0,1 0 0 0 0,-1-1 0 0 0,1 1 0 0 0,-1 0 0 0 0,1 0 0 0 0,-1-1 0 0 0,1 1 0 0 0,-1 0 0 0 0,1 0 0 0 0,-1 0 0 0 0,1 0 0 0 0,-1-1 0 0 0,1 1 0 0 0,-1 0 0 0 0,1 0 0 0 0,-1 0 0 0 0,1 0 0 0 0,-1 0 0 0 0,1 0 0 0 0,0 1 0 0 0,-1-1 0 0 0,1 0 0 0 0,-1 0 0 0 0,1 0 0 0 0,-1 0 0 0 0,1 1-1 0 0,-1-1 1 0 0,1 0 0 0 0,-1 0 0 0 0,0 1 0 0 0,1-1 0 0 0,-1 0 0 0 0,1 1 0 0 0,-1-1 0 0 0,0 0 0 0 0,1 1 0 0 0,-1-1 0 0 0,0 1 0 0 0,1-1 0 0 0,-1 2 0 0 0,2 0 31 0 0,-1 0 0 0 0,1 1 0 0 0,-1-1 0 0 0,0 1 0 0 0,0-1 0 0 0,0 1 1 0 0,0 0-1 0 0,0 3 0 0 0,2 26 389 0 0,-3 1 0 0 0,-5 60 0 0 0,-19 65 454 0 0,19-130-569 0 0,-1 1 0 0 0,-17 46 0 0 0,21-68-235 0 0,-1 0 0 0 0,0 0-1 0 0,-1 0 1 0 0,1-1 0 0 0,-1 1 0 0 0,0-1-1 0 0,-1 0 1 0 0,0 0 0 0 0,0 0 0 0 0,0-1-1 0 0,0 0 1 0 0,-1 0 0 0 0,0 0 0 0 0,0-1 0 0 0,-10 6-1 0 0,14-9-65 0 0,0-1-1 0 0,1 1 0 0 0,-1-1 0 0 0,0 0 1 0 0,0 0-1 0 0,0 0 0 0 0,0 0 1 0 0,0 0-1 0 0,0 0 0 0 0,0 0 1 0 0,0 0-1 0 0,0-1 0 0 0,0 1 1 0 0,1-1-1 0 0,-1 1 0 0 0,0-1 0 0 0,0 0 1 0 0,0 0-1 0 0,1 0 0 0 0,-3-1 1 0 0,0-1-53 0 0,1 1 0 0 0,-1-1 1 0 0,1 0-1 0 0,0 0 1 0 0,0 0-1 0 0,0 0 0 0 0,-4-6 1 0 0,3 2-74 0 0,0-1 0 0 0,1 1 0 0 0,0 0 0 0 0,1-1 1 0 0,0 1-1 0 0,0-1 0 0 0,0 0 0 0 0,1 0 0 0 0,0-11 0 0 0,3-74-979 0 0,-2 88 1041 0 0,5-45-525 0 0,2-1 0 0 0,18-63 0 0 0,39-96-238 0 0,-26 90 711 0 0,-36 115 109 0 0,-1 3 0 0 0,0 1 1 0 0,-1-1-1 0 0,1 0 0 0 0,0 1 0 0 0,-1-1 0 0 0,1 0 0 0 0,-1 1 1 0 0,0-1-1 0 0,1 0 0 0 0,-1 0 0 0 0,0 0 0 0 0,0 1 1 0 0,0-1-1 0 0,-1 0 0 0 0,1 0 0 0 0,0 1 0 0 0,-1-1 1 0 0,1 0-1 0 0,-1 0 0 0 0,1 1 0 0 0,-1-1 0 0 0,0 1 0 0 0,1-1 1 0 0,-1 0-1 0 0,-1-1 0 0 0,-10-2-8 0 0,8 4 11 0 0,1 0-1 0 0,-1 1 0 0 0,0 0 1 0 0,0 0-1 0 0,1 0 0 0 0,-1 0 1 0 0,0 0-1 0 0,1 1 0 0 0,-1-1 0 0 0,0 1 1 0 0,1 0-1 0 0,-1 0 0 0 0,1 1 1 0 0,-1-1-1 0 0,-4 4 0 0 0,3-2-3 0 0,-1 1 0 0 0,1-1 0 0 0,0 1-1 0 0,0 1 1 0 0,0-1 0 0 0,1 1 0 0 0,0-1 0 0 0,0 1-1 0 0,-4 6 1 0 0,5-6 1 0 0,0 0 0 0 0,1 0 1 0 0,-1 0-1 0 0,1 0 0 0 0,0 0 0 0 0,1 0 0 0 0,-1 0 1 0 0,1 1-1 0 0,0-1 0 0 0,-1 10 0 0 0,2-11 4 0 0,1-1 1 0 0,-1 0-1 0 0,0 1 0 0 0,1-1 0 0 0,0 0 0 0 0,-1 1 0 0 0,1-1 1 0 0,1 0-1 0 0,-1 0 0 0 0,0 1 0 0 0,1-1 0 0 0,0 0 0 0 0,-1-1 0 0 0,1 1 1 0 0,0 0-1 0 0,1 0 0 0 0,4 4 0 0 0,5 2-84 0 0,0-1 1 0 0,0 0-1 0 0,1 0 1 0 0,0-1-1 0 0,0-1 0 0 0,0 0 1 0 0,1-1-1 0 0,0-1 0 0 0,0 0 1 0 0,1-1-1 0 0,-1 0 0 0 0,1-1 1 0 0,28 0-1 0 0,-17-2 18 0 0,1-1 0 0 0,-1-1 0 0 0,0-1 0 0 0,0-2 0 0 0,0 0 1 0 0,49-19-1 0 0,-56 17 182 0 0,-1-1 0 0 0,0-2 0 0 0,0 0 0 0 0,29-21 0 0 0,-41 27-63 0 0,0-1-1 0 0,0 0 0 0 0,0-1 1 0 0,-1 0-1 0 0,0 0 0 0 0,0 0 1 0 0,-1 0-1 0 0,1-1 0 0 0,-1 1 1 0 0,-1-1-1 0 0,1 0 0 0 0,-1-1 0 0 0,0 1 1 0 0,-1 0-1 0 0,3-11 0 0 0,-5 16-46 0 0,0 0 0 0 0,1 0-1 0 0,-1 0 1 0 0,0 0 0 0 0,0 1-1 0 0,0-1 1 0 0,0 0 0 0 0,0 0-1 0 0,0 0 1 0 0,-1 0 0 0 0,1 0-1 0 0,-1 0 1 0 0,1 0 0 0 0,-1 1-1 0 0,0-1 1 0 0,1 0 0 0 0,-1 1-1 0 0,0-1 1 0 0,0 0 0 0 0,0 1-1 0 0,-1-1 1 0 0,1 1 0 0 0,0-1-1 0 0,0 1 1 0 0,-1 0 0 0 0,1-1-1 0 0,-1 1 1 0 0,1 0 0 0 0,-1 0-1 0 0,0 0 1 0 0,1 0 0 0 0,-1 1-1 0 0,0-1 1 0 0,0 0 0 0 0,0 1-1 0 0,1-1 1 0 0,-1 1 0 0 0,0-1-1 0 0,0 1 1 0 0,0 0 0 0 0,0 0-1 0 0,0 0 1 0 0,-2 0 0 0 0,-4 0 34 0 0,-1 1 1 0 0,1 0 0 0 0,0 0 0 0 0,0 0 0 0 0,0 1-1 0 0,0 1 1 0 0,0-1 0 0 0,-12 7 0 0 0,8-3 20 0 0,1 1 1 0 0,0 0-1 0 0,0 1 0 0 0,1 0 1 0 0,0 1-1 0 0,0 0 0 0 0,1 1 1 0 0,0 0-1 0 0,1 0 1 0 0,0 1-1 0 0,-7 13 0 0 0,13-20-33 0 0,-1 0 0 0 0,1 1 0 0 0,0 0 0 0 0,0 0 0 0 0,0-1 0 0 0,1 1-1 0 0,0 0 1 0 0,0 1 0 0 0,0-1 0 0 0,0 0 0 0 0,1 0 0 0 0,0 0 0 0 0,0 0-1 0 0,0 0 1 0 0,1 0 0 0 0,0 1 0 0 0,0-1 0 0 0,0 0 0 0 0,0 0 0 0 0,1-1-1 0 0,0 1 1 0 0,0 0 0 0 0,0 0 0 0 0,1-1 0 0 0,-1 1 0 0 0,1-1 0 0 0,0 0-1 0 0,0 0 1 0 0,1 0 0 0 0,-1 0 0 0 0,5 3 0 0 0,3 1 9 0 0,0 0 1 0 0,0 0-1 0 0,1-1 0 0 0,-1-1 1 0 0,2 0-1 0 0,-1-1 0 0 0,1 0 1 0 0,-1-1-1 0 0,1 0 0 0 0,0-1 0 0 0,1 0 1 0 0,-1-1-1 0 0,19 0 0 0 0,-9-1 7 0 0,-1-1-1 0 0,0-2 1 0 0,0 0-1 0 0,0-1 0 0 0,0-1 1 0 0,0-1-1 0 0,30-12 0 0 0,-33 10 9 0 0,1-2 0 0 0,-1 0 0 0 0,0-1 0 0 0,-1-1-1 0 0,0-1 1 0 0,0 0 0 0 0,-2-1 0 0 0,0-1 0 0 0,0-1-1 0 0,-1 0 1 0 0,-1-1 0 0 0,0 0 0 0 0,-2-1 0 0 0,0-1-1 0 0,0 0 1 0 0,-2 0 0 0 0,0-1 0 0 0,7-21 0 0 0,-17 39-56 0 0,0 0 0 0 0,0 0-1 0 0,0 0 1 0 0,0 0 0 0 0,0 0 0 0 0,0 0 0 0 0,0 0 0 0 0,0 0 0 0 0,0 0 0 0 0,0 0-1 0 0,0 0 1 0 0,0 0 0 0 0,-1 0 0 0 0,1 0 0 0 0,0 0 0 0 0,-1 0 0 0 0,1 0 0 0 0,-1 0 0 0 0,1 1-1 0 0,-2-2 1 0 0,2 1 4 0 0,0 1-1 0 0,0 0 0 0 0,0 0 0 0 0,-1-1 1 0 0,1 1-1 0 0,0 0 0 0 0,0 0 0 0 0,-1 0 1 0 0,1-1-1 0 0,0 1 0 0 0,-1 0 0 0 0,1 0 1 0 0,0 0-1 0 0,0 0 0 0 0,-1 0 0 0 0,1-1 1 0 0,0 1-1 0 0,-1 0 0 0 0,1 0 0 0 0,0 0 1 0 0,-1 0-1 0 0,1 0 0 0 0,0 0 1 0 0,-1 0-1 0 0,1 0 0 0 0,0 0 0 0 0,-1 0 1 0 0,1 0-1 0 0,0 0 0 0 0,-1 1 0 0 0,1-1 1 0 0,0 0-1 0 0,-1 0 0 0 0,1 0 0 0 0,0 0 1 0 0,0 0-1 0 0,-1 1 0 0 0,1-1 0 0 0,0 0 1 0 0,-1 0-1 0 0,1 1 0 0 0,0-1 0 0 0,0 0 1 0 0,0 0-1 0 0,-1 1 0 0 0,1-1 0 0 0,0 0 1 0 0,0 0-1 0 0,0 1 0 0 0,0-1 0 0 0,0 0 1 0 0,-1 1-1 0 0,1-1 0 0 0,0 0 1 0 0,0 1-1 0 0,0 0 0 0 0,-3 8-9 0 0,1 0-1 0 0,0 0 1 0 0,0 1-1 0 0,1-1 1 0 0,0 1-1 0 0,0 0 1 0 0,1-1-1 0 0,1 1 1 0 0,2 16-1 0 0,22 91-42 0 0,-17-88 66 0 0,4 14 49 0 0,-7-29-28 0 0,-1 0 0 0 0,0 0 0 0 0,-1 0 0 0 0,-1 1 0 0 0,0-1 0 0 0,0 19 0 0 0,-2-31-56 0 0,-1 0 1 0 0,1 1-1 0 0,-1-1 1 0 0,1 0-1 0 0,-1 0 1 0 0,0 0 0 0 0,1 0-1 0 0,-1 0 1 0 0,0 0-1 0 0,0 0 1 0 0,-1 0-1 0 0,1-1 1 0 0,0 1-1 0 0,-1 0 1 0 0,1-1-1 0 0,-1 1 1 0 0,-3 2-1 0 0,2-1-164 0 0,-1-1 0 0 0,-1 0-1 0 0,1 0 1 0 0,0 0-1 0 0,0 0 1 0 0,-1-1-1 0 0,1 1 1 0 0,-6 0 0 0 0,-7 0-1526 0 0,0 0 0 0 0,-1-1 1 0 0,-24-2-1 0 0,18 0-1484 0 0,0-3-1054 0 0</inkml:trace>
</inkml:ink>
</file>

<file path=ppt/ink/ink2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41.8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8 772 0 0,'-1'-7'4142'0'0,"6"39"-2991"0"0,3 0 0 0 0,21 62 0 0 0,-16-55-664 0 0,461 1169 5652 0 0,-54-346-4440 0 0,-408-837-2097 0 0,-8-15-388 0 0,1 1 0 0 0,1-1 0 0 0,0 0 0 0 0,12 15 0 0 0</inkml:trace>
</inkml:ink>
</file>

<file path=ppt/ink/ink2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42.2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195 1672 0 0,'-1'9'777'0'0,"0"0"0"0"0,0 0 0 0 0,0 1 0 0 0,1-1 0 0 0,1 0 0 0 0,0 1 0 0 0,0-1 0 0 0,5 16 0 0 0,-4-16-354 0 0,2 0 0 0 0,-1 0 1 0 0,1-1-1 0 0,1 1 1 0 0,-1-1-1 0 0,2 0 1 0 0,10 14-1 0 0,-7-13-169 0 0,0 0-1 0 0,1-1 0 0 0,0 1 0 0 0,0-2 1 0 0,1 0-1 0 0,-1 0 0 0 0,2-1 0 0 0,-1 0 1 0 0,1-1-1 0 0,0 0 0 0 0,0-1 1 0 0,0 0-1 0 0,16 2 0 0 0,-14-4-28 0 0,0 0-1 0 0,1-1 1 0 0,-1 0 0 0 0,1-1-1 0 0,-1-1 1 0 0,1-1 0 0 0,-1 0-1 0 0,1-1 1 0 0,-1 0 0 0 0,0-1-1 0 0,15-6 1 0 0,-18 5-137 0 0,1 0-1 0 0,-2-1 1 0 0,1-1 0 0 0,-1 1-1 0 0,0-2 1 0 0,0 1 0 0 0,-1-1 0 0 0,0-1-1 0 0,0 1 1 0 0,-1-2 0 0 0,0 1-1 0 0,-1-1 1 0 0,9-15 0 0 0,-4 2-185 0 0,-1 0 1 0 0,-1 0 0 0 0,9-34 0 0 0,-15 42-581 0 0,0 0 0 0 0,-1-1 0 0 0,-1 1 1 0 0,-1-1-1 0 0,0 1 0 0 0,-2-27 0 0 0,0 37-145 0 0,0 0-1 0 0,0 0 0 0 0,0 0 0 0 0,-1 0 0 0 0,1 0 0 0 0,-1 0 1 0 0,-1 1-1 0 0,1-1 0 0 0,-6-7 0 0 0,0 2-2944 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2.4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47 1484 0 0,'1'-46'8208'0'0,"2"50"-8002"0"0,0 1 0 0 0,-1-1-1 0 0,0 1 1 0 0,0 0 0 0 0,0 0-1 0 0,-1-1 1 0 0,1 1 0 0 0,0 10 0 0 0,4 49 1096 0 0,-4-43-1015 0 0,13 238 2334 0 0,-13-149 937 0 0,-2-108-2615 0 0,6-12-599 0 0,1-1-324 0 0,1-1-1 0 0,0 1 1 0 0,0 0 0 0 0,1 1-1 0 0,1 0 1 0 0,0 1-1 0 0,0 0 1 0 0,0 0-1 0 0,1 1 1 0 0,1 0 0 0 0,0 1-1 0 0,-1 1 1 0 0,2 0-1 0 0,-1 0 1 0 0,15-4-1 0 0,-18 8-64 0 0,-1-1-1 0 0,1 1 0 0 0,0 1 0 0 0,0-1 0 0 0,-1 2 1 0 0,1-1-1 0 0,0 1 0 0 0,0 0 0 0 0,0 1 0 0 0,0 0 1 0 0,-1 1-1 0 0,1-1 0 0 0,0 2 0 0 0,-1-1 0 0 0,0 1 0 0 0,1 1 1 0 0,-1-1-1 0 0,0 1 0 0 0,-1 1 0 0 0,1-1 0 0 0,-1 1 1 0 0,0 1-1 0 0,0-1 0 0 0,7 9 0 0 0,-8-8-310 0 0,-1 0 0 0 0,0 0 1 0 0,-1 1-1 0 0,1-1 0 0 0,-1 1 0 0 0,-1 0 0 0 0,1 0 0 0 0,-1 0 0 0 0,-1 1 0 0 0,4 12 1 0 0,-2-1-2176 0 0,-2 0 0 0 0,-1 0 1 0 0,0 23-1 0 0,-1-30-795 0 0</inkml:trace>
</inkml:ink>
</file>

<file path=ppt/ink/ink2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43.0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4 6 1012 0 0,'0'0'3009'0'0,"0"-1"-2924"0"0,0 1 0 0 0,0 0 0 0 0,0-1 0 0 0,-1 1 1 0 0,1 0-1 0 0,0-1 0 0 0,-1 1 0 0 0,1 0 0 0 0,0-1 0 0 0,-1 1 0 0 0,1 0 0 0 0,0 0 0 0 0,-1-1 0 0 0,1 1 1 0 0,0 0-1 0 0,-1 0 0 0 0,1 0 0 0 0,-1-1 0 0 0,1 1 0 0 0,-1 0 0 0 0,1 0 0 0 0,0 0 0 0 0,-1 0 1 0 0,1 0-1 0 0,-1 0 0 0 0,1 0 0 0 0,-1 0 0 0 0,-6 5 249 0 0,1-1 0 0 0,0 1 0 0 0,0 0 0 0 0,0 1 0 0 0,0-1 0 0 0,1 1 0 0 0,0 0 0 0 0,1 1 0 0 0,-1-1 0 0 0,-6 13 1 0 0,-3 11 527 0 0,-14 41 1 0 0,8-19-124 0 0,-2 5-223 0 0,22-56-499 0 0,0-1 1 0 0,0 1-1 0 0,0-1 0 0 0,-1 1 0 0 0,1-1 1 0 0,0 0-1 0 0,0 1 0 0 0,0-1 0 0 0,-1 1 1 0 0,1-1-1 0 0,0 0 0 0 0,-1 1 0 0 0,1-1 1 0 0,0 1-1 0 0,-1-1 0 0 0,1 0 0 0 0,0 0 1 0 0,-1 1-1 0 0,1-1 0 0 0,-1 0 0 0 0,1 0 1 0 0,0 1-1 0 0,-1-1 0 0 0,0 0 0 0 0,1 0-9 0 0,-1 0 0 0 0,1 0 0 0 0,0 0 0 0 0,0 0 0 0 0,0 0-1 0 0,-1 0 1 0 0,1 0 0 0 0,0 0 0 0 0,0 0 0 0 0,0-1 0 0 0,-1 1-1 0 0,1 0 1 0 0,0 0 0 0 0,0 0 0 0 0,0 0 0 0 0,0 0 0 0 0,-1-1-1 0 0,1 1 1 0 0,0 0 0 0 0,0 0 0 0 0,0 0 0 0 0,0 0 0 0 0,0-1 0 0 0,0 1-1 0 0,0 0 1 0 0,0 0 0 0 0,-1 0 0 0 0,1-1 0 0 0,0 1 0 0 0,0 0-1 0 0,0 0 1 0 0,0-1 0 0 0,0 1 0 0 0,0 0 0 0 0,0 0 0 0 0,0 0-1 0 0,0-1 1 0 0,0 1 0 0 0,0 0 0 0 0,1 0 0 0 0,-1 0 0 0 0,0-1-1 0 0,0 1 1 0 0,0 0 0 0 0,0 0 0 0 0,0 0 0 0 0,0-1 0 0 0,6-16-13 0 0,0 0 0 0 0,1 0 0 0 0,13-22 0 0 0,-14 30 12 0 0,-1 1 0 0 0,1-1 1 0 0,0 2-1 0 0,1-1 0 0 0,-1 1 1 0 0,2-1-1 0 0,-1 2 0 0 0,9-7 1 0 0,-13 11 37 0 0,0 1 1 0 0,0-1-1 0 0,0 1 1 0 0,1 0-1 0 0,-1 0 1 0 0,0 0-1 0 0,0 0 1 0 0,1 1-1 0 0,-1-1 1 0 0,1 1-1 0 0,-1 0 1 0 0,7 1-1 0 0,36 7 721 0 0,-43-8-720 0 0,70 20 595 0 0,-20 1-3753 0 0,-20-5-3949 0 0</inkml:trace>
</inkml:ink>
</file>

<file path=ppt/ink/ink2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3:00.1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3 1452 0 0,'0'-2'1800'0'0,"4"-18"2902"0"0,-3 23-3268 0 0,-2 35 2584 0 0,1-14-3731 0 0,5 132 1556 0 0,25 157 1 0 0,-17-137-3783 0 0,-11-117-1441 0 0,-2-1-3353 0 0</inkml:trace>
</inkml:ink>
</file>

<file path=ppt/ink/ink2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3:00.88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8 152 200 0 0,'0'-2'202'0'0,"1"1"1"0"0,-1 0-1 0 0,1 0 1 0 0,-1-1-1 0 0,1 1 1 0 0,-1 0-1 0 0,0 0 0 0 0,0-1 1 0 0,0 1-1 0 0,0 0 1 0 0,0-1-1 0 0,0 1 1 0 0,0 0-1 0 0,0-1 1 0 0,0 1-1 0 0,-1 0 0 0 0,1-1 1 0 0,0 1-1 0 0,-1 0 1 0 0,0-2-1 0 0,0 2-61 0 0,0 0 0 0 0,-1 0 0 0 0,1 0-1 0 0,0 1 1 0 0,0-1 0 0 0,-1 0 0 0 0,1 0 0 0 0,-1 1 0 0 0,1-1-1 0 0,0 1 1 0 0,-1-1 0 0 0,1 1 0 0 0,-1 0 0 0 0,1 0 0 0 0,-1-1 0 0 0,1 1-1 0 0,-1 0 1 0 0,1 0 0 0 0,-1 0 0 0 0,-2 1 0 0 0,-10 0 140 0 0,0 1 0 0 0,-1 1 0 0 0,1 0-1 0 0,1 0 1 0 0,-1 2 0 0 0,0-1 0 0 0,1 2 0 0 0,0 0 0 0 0,0 0 0 0 0,1 2 0 0 0,0-1 0 0 0,0 1 0 0 0,1 1 0 0 0,0 0 0 0 0,-11 12 0 0 0,20-19-242 0 0,0 0 0 0 0,0 0 1 0 0,1 0-1 0 0,-1 0 0 0 0,1 0 1 0 0,0 1-1 0 0,-1-1 0 0 0,1 0 1 0 0,0 1-1 0 0,0-1 0 0 0,1 1 1 0 0,-1-1-1 0 0,0 1 0 0 0,1 0 1 0 0,0-1-1 0 0,-1 1 0 0 0,1-1 1 0 0,0 1-1 0 0,0 0 0 0 0,1-1 1 0 0,-1 1-1 0 0,0 0 0 0 0,1-1 1 0 0,0 1-1 0 0,-1-1 0 0 0,1 1 1 0 0,0-1-1 0 0,0 1 0 0 0,1-1 1 0 0,-1 0-1 0 0,0 0 1 0 0,1 1-1 0 0,2 2 0 0 0,-1-2-35 0 0,1 1-1 0 0,0-1 0 0 0,0 0 1 0 0,0 0-1 0 0,0 0 1 0 0,0 0-1 0 0,0-1 0 0 0,1 1 1 0 0,0-1-1 0 0,-1 0 1 0 0,1-1-1 0 0,0 1 0 0 0,0-1 1 0 0,0 0-1 0 0,0 0 1 0 0,0 0-1 0 0,5-1 1 0 0,0-1-222 0 0,0 0 0 0 0,0 0 0 0 0,0-1 0 0 0,0-1 0 0 0,0 0 0 0 0,0 0 0 0 0,-1-1 0 0 0,1 0 0 0 0,-1 0 0 0 0,0-1 1 0 0,11-9-1 0 0,1-1-313 0 0,-1 0 1 0 0,-1-2 0 0 0,23-25-1 0 0,-40 40 1221 0 0,-1 3-618 0 0,0 1 0 0 0,0-1-1 0 0,0 1 1 0 0,0 0 0 0 0,0-1-1 0 0,-1 1 1 0 0,1 0 0 0 0,0-1-1 0 0,-1 1 1 0 0,1 0 0 0 0,-1 0-1 0 0,0 0 1 0 0,1 0 0 0 0,-1-1-1 0 0,0 4 1 0 0,0 1 103 0 0,2-1-106 0 0,0 1 0 0 0,-1 0-1 0 0,2-1 1 0 0,-1 1 0 0 0,1-1 0 0 0,0 0-1 0 0,0 0 1 0 0,0 0 0 0 0,0 0-1 0 0,1-1 1 0 0,0 1 0 0 0,0-1 0 0 0,1 0-1 0 0,-1 0 1 0 0,1 0 0 0 0,-1-1-1 0 0,1 1 1 0 0,0-1 0 0 0,1-1 0 0 0,-1 1-1 0 0,0-1 1 0 0,1 0 0 0 0,0 0-1 0 0,-1 0 1 0 0,10 1 0 0 0,-6-1-100 0 0,1-1 0 0 0,0 0 0 0 0,-1 0-1 0 0,1-1 1 0 0,0 0 0 0 0,0-1 0 0 0,-1 0 0 0 0,1 0 0 0 0,0-1 0 0 0,-1-1 0 0 0,1 1 0 0 0,-1-1 0 0 0,0-1 0 0 0,15-8-1 0 0,-14 5-48 0 0,0-1 0 0 0,-1 0-1 0 0,0 0 1 0 0,0-1-1 0 0,-1 0 1 0 0,0-1-1 0 0,-1 0 1 0 0,0 0 0 0 0,-1 0-1 0 0,0-1 1 0 0,0 0-1 0 0,5-15 1 0 0,4-15 392 0 0,-2-1-1 0 0,7-43 1 0 0,-19 73 396 0 0,-8 18-411 0 0,-8 18 168 0 0,-5 30 353 0 0,2 1 0 0 0,-11 60 0 0 0,24-100-369 0 0,5-14-357 0 0,-1 0 1 0 0,1 0-1 0 0,-1 1 0 0 0,1-1 0 0 0,0 0 0 0 0,-1 0 1 0 0,1 1-1 0 0,0-1 0 0 0,0 0 0 0 0,0 1 0 0 0,0-1 1 0 0,0 0-1 0 0,0 0 0 0 0,0 2 0 0 0,2-2-79 0 0,-1-1-1 0 0,0 0 1 0 0,0 0-1 0 0,0 0 1 0 0,0 0-1 0 0,0 0 1 0 0,1 0-1 0 0,-1 0 1 0 0,0 0-1 0 0,0 0 1 0 0,2-1-1 0 0,88-26-277 0 0,-72 23 202 0 0,0 1 1 0 0,0 1-1 0 0,1 0 1 0 0,23 2-1 0 0,-37 1 36 0 0,-1-1-1 0 0,1 1 1 0 0,-1 0-1 0 0,0 1 0 0 0,1-1 1 0 0,-1 1-1 0 0,0 0 1 0 0,9 5-1 0 0,-12-5 16 0 0,1 0 1 0 0,-1 0-1 0 0,1 0 0 0 0,-1 0 0 0 0,0 1 0 0 0,1-1 0 0 0,-1 1 1 0 0,0-1-1 0 0,-1 1 0 0 0,1 0 0 0 0,0 0 0 0 0,-1 0 0 0 0,0-1 0 0 0,0 2 1 0 0,1-1-1 0 0,-1 4 0 0 0,0-4 17 0 0,-1 0 1 0 0,0 0-1 0 0,0 0 1 0 0,0 1-1 0 0,0-1 0 0 0,0 0 1 0 0,-1 0-1 0 0,0 0 1 0 0,1 0-1 0 0,-1 0 1 0 0,0 0-1 0 0,0 0 0 0 0,-1 0 1 0 0,1 0-1 0 0,-1 0 1 0 0,1 0-1 0 0,-1-1 0 0 0,0 1 1 0 0,0-1-1 0 0,0 1 1 0 0,-1-1-1 0 0,1 0 1 0 0,0 0-1 0 0,-5 3 0 0 0,0 1 52 0 0,-1-1 0 0 0,0 0 0 0 0,0 0 0 0 0,-1-1 0 0 0,0 0 0 0 0,1-1 0 0 0,-11 3 0 0 0,0 0-153 0 0,-1-2 1 0 0,1 0 0 0 0,-1-1-1 0 0,0-2 1 0 0,0 0 0 0 0,0 0-1 0 0,0-2 1 0 0,0-1-1 0 0,0 0 1 0 0,0-2 0 0 0,-30-8-1 0 0,46 10-149 0 0,1 1 0 0 0,-1 0 0 0 0,1-1 0 0 0,0 0 0 0 0,0 0-1 0 0,0 0 1 0 0,0 0 0 0 0,0 0 0 0 0,0-1 0 0 0,0 1-1 0 0,1-1 1 0 0,-1 0 0 0 0,1 0 0 0 0,0 0 0 0 0,-2-3 0 0 0,3 3-90 0 0,0 0 0 0 0,0 1 0 0 0,0-1 0 0 0,0 0 0 0 0,0 0 1 0 0,1 1-1 0 0,0-1 0 0 0,-1 0 0 0 0,1 0 0 0 0,0 0 0 0 0,0 0 1 0 0,1 1-1 0 0,-1-1 0 0 0,1 0 0 0 0,-1 0 0 0 0,1 0 0 0 0,0 1 1 0 0,0-1-1 0 0,2-4 0 0 0,7-11-2755 0 0</inkml:trace>
</inkml:ink>
</file>

<file path=ppt/ink/ink2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3:01.2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356 0 0,'4'1'421'0'0,"0"0"0"0"0,0 1 1 0 0,0 0-1 0 0,0-1 0 0 0,0 1 0 0 0,0 1 1 0 0,0-1-1 0 0,-1 1 0 0 0,1-1 0 0 0,-1 1 1 0 0,0 0-1 0 0,0 0 0 0 0,0 0 0 0 0,0 1 0 0 0,0-1 1 0 0,-1 1-1 0 0,1-1 0 0 0,-1 1 0 0 0,0 0 1 0 0,2 6-1 0 0,3 8 276 0 0,-2 0 0 0 0,0 0 1 0 0,4 30-1 0 0,-2-6-302 0 0,0-8-384 0 0,-3-11-738 0 0,12 35-1 0 0,-14-52-206 0 0,1 1 0 0 0,0 0-1 0 0,0-1 1 0 0,1 0 0 0 0,5 8-1 0 0,-1-6-1997 0 0</inkml:trace>
</inkml:ink>
</file>

<file path=ppt/ink/ink2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3:01.5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9 243 1652 0 0,'7'-14'2202'0'0,"-1"0"-1"0"0,9-27 1 0 0,-10 24-1683 0 0,-1 1 0 0 0,-1-1 0 0 0,0 0 0 0 0,0-28 0 0 0,-3 43-510 0 0,0-1 1 0 0,0 1-1 0 0,0 0 0 0 0,-1-1 1 0 0,1 1-1 0 0,0 0 1 0 0,-1-1-1 0 0,0 1 0 0 0,1 0 1 0 0,-1-1-1 0 0,0 1 1 0 0,0 0-1 0 0,0 0 1 0 0,-1 0-1 0 0,1 0 0 0 0,0 0 1 0 0,-1 0-1 0 0,0 0 1 0 0,1 0-1 0 0,-1 1 0 0 0,0-1 1 0 0,0 1-1 0 0,0-1 1 0 0,0 1-1 0 0,0 0 1 0 0,0-1-1 0 0,0 1 0 0 0,0 0 1 0 0,0 1-1 0 0,-3-2 1 0 0,0 1 43 0 0,0 0-1 0 0,0 1 1 0 0,0-1 0 0 0,0 1 0 0 0,0 0 0 0 0,-1 0-1 0 0,1 1 1 0 0,0-1 0 0 0,0 1 0 0 0,0 0 0 0 0,0 1-1 0 0,0-1 1 0 0,-6 4 0 0 0,4-2 82 0 0,1 1 0 0 0,-1-1 0 0 0,1 1 0 0 0,0 1 0 0 0,1-1 0 0 0,-1 1 0 0 0,1 0 0 0 0,0 0 0 0 0,0 0 0 0 0,0 1 0 0 0,1 0 0 0 0,0 0 0 0 0,0 0 0 0 0,0 0 0 0 0,-5 13 0 0 0,7-13-70 0 0,1-1 1 0 0,-1 1-1 0 0,1-1 1 0 0,0 1-1 0 0,0 0 1 0 0,1-1-1 0 0,-1 1 1 0 0,1 0-1 0 0,1-1 1 0 0,-1 1-1 0 0,1 0 1 0 0,0-1-1 0 0,0 1 1 0 0,1-1-1 0 0,-1 1 1 0 0,1-1-1 0 0,0 1 1 0 0,1-1-1 0 0,-1 0 1 0 0,7 8-1 0 0,-4-5-13 0 0,2-1-1 0 0,-1 0 1 0 0,1 0 0 0 0,0 0 0 0 0,0 0-1 0 0,1-1 1 0 0,-1-1 0 0 0,2 1-1 0 0,-1-1 1 0 0,0-1 0 0 0,1 1-1 0 0,0-2 1 0 0,17 6 0 0 0,-12-5-150 0 0,1-1 1 0 0,0-1-1 0 0,0 0 1 0 0,0-1 0 0 0,0-1-1 0 0,0 0 1 0 0,0-1-1 0 0,15-3 1 0 0,-29 3-86 0 0,1 1-1 0 0,-1 0 1 0 0,1 0 0 0 0,-1-1 0 0 0,0 1-1 0 0,1-1 1 0 0,-1 0 0 0 0,0 1 0 0 0,1-1 0 0 0,-1 0-1 0 0,0 1 1 0 0,0-1 0 0 0,0 0 0 0 0,0 0 0 0 0,0 0-1 0 0,0 0 1 0 0,0 0 0 0 0,2-3 0 0 0</inkml:trace>
</inkml:ink>
</file>

<file path=ppt/ink/ink2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3:01.9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0 10 572 0 0,'6'-10'6346'0'0,"-8"24"-3456"0"0,-11 37-966 0 0,11-44-1192 0 0,-10 46 1136 0 0,3 1 0 0 0,-5 84-1 0 0,11 109 200 0 0,4-146-1587 0 0,3 89-357 0 0,-2-96-2659 0 0,0-2-5044 0 0</inkml:trace>
</inkml:ink>
</file>

<file path=ppt/ink/ink2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3:03.12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03 52 1492 0 0,'-1'-2'262'0'0,"1"0"-1"0"0,-1 0 1 0 0,1 0 0 0 0,-1 0-1 0 0,0 0 1 0 0,1 0-1 0 0,-1 0 1 0 0,0 0 0 0 0,0 0-1 0 0,-1 0 1 0 0,1 1 0 0 0,0-1-1 0 0,-1 0 1 0 0,1 1-1 0 0,-1-1 1 0 0,1 1 0 0 0,-3-2-1 0 0,0 1-4 0 0,0-1-1 0 0,0 1 1 0 0,0 1-1 0 0,0-1 1 0 0,0 1-1 0 0,0 0 0 0 0,0-1 1 0 0,-6 1-1 0 0,-2-1 108 0 0,-1 2 0 0 0,1 0 0 0 0,-1 0 1 0 0,1 1-1 0 0,-17 3 0 0 0,22-3-216 0 0,0 1 0 0 0,1 0 0 0 0,-1 0 0 0 0,0 0 0 0 0,1 1 0 0 0,0 0 0 0 0,0 1 0 0 0,-1-1 0 0 0,2 1 0 0 0,-8 6 0 0 0,11-8-119 0 0,0 0 1 0 0,0 0 0 0 0,0 0 0 0 0,0 0 0 0 0,1 0-1 0 0,-1 0 1 0 0,1 1 0 0 0,-1-1 0 0 0,1 1 0 0 0,0-1-1 0 0,0 1 1 0 0,0-1 0 0 0,1 1 0 0 0,-1-1-1 0 0,0 1 1 0 0,1 0 0 0 0,0 0 0 0 0,0-1 0 0 0,0 1-1 0 0,0 0 1 0 0,0-1 0 0 0,0 1 0 0 0,1 0 0 0 0,-1 0-1 0 0,1-1 1 0 0,0 1 0 0 0,0-1 0 0 0,0 1-1 0 0,1 2 1 0 0,10 18 41 0 0,2-1 0 0 0,0 0 0 0 0,2-1 0 0 0,21 24 0 0 0,-15-19-60 0 0,30 45-1 0 0,-51-70-10 0 0,-1 0 0 0 0,1 0 0 0 0,0 0 0 0 0,-1 0 0 0 0,1 0 1 0 0,-1 0-1 0 0,1-1 0 0 0,-1 1 0 0 0,0 0 0 0 0,1 0 0 0 0,-1 0 0 0 0,0 1 0 0 0,0-1 0 0 0,0 0 0 0 0,1 0 0 0 0,-1 0 0 0 0,0 0 0 0 0,-1 0 0 0 0,1 0 0 0 0,0 0 0 0 0,0 0 0 0 0,0 0 0 0 0,0 0 0 0 0,-1 0 0 0 0,1 0 0 0 0,-1 0 1 0 0,1 0-1 0 0,-1 0 0 0 0,1 0 0 0 0,-1 0 0 0 0,1-1 0 0 0,-1 1 0 0 0,0 0 0 0 0,1 0 0 0 0,-1 0 0 0 0,0-1 0 0 0,0 1 0 0 0,0 0 0 0 0,1-1 0 0 0,-1 1 0 0 0,-1 0 0 0 0,0 0 16 0 0,-3-2-13 0 0,-2 1-51 0 0,1-2-1 0 0,0 1 1 0 0,-1-1 0 0 0,1 0 0 0 0,0 0-1 0 0,0-1 1 0 0,0 0 0 0 0,0 0 0 0 0,0 0-1 0 0,0-1 1 0 0,1 1 0 0 0,0-1 0 0 0,0-1-1 0 0,0 1 1 0 0,0-1 0 0 0,1 0 0 0 0,0 0-1 0 0,0 0 1 0 0,0-1 0 0 0,0 1 0 0 0,1-1-1 0 0,0 0 1 0 0,-4-10 0 0 0,5 9-16 0 0,-7-15 148 0 0,8 22-74 0 0,0 0-1 0 0,1-1 0 0 0,-1 1 1 0 0,1-1-1 0 0,-1 1 1 0 0,0 0-1 0 0,1 0 0 0 0,-1-1 1 0 0,0 1-1 0 0,1 0 0 0 0,-1 0 1 0 0,0 0-1 0 0,1 0 0 0 0,-1-1 1 0 0,0 1-1 0 0,1 0 0 0 0,-1 0 1 0 0,0 1-1 0 0,1-1 1 0 0,-1 0-1 0 0,0 0 0 0 0,0 0 1 0 0,1 0-1 0 0,-1 1 0 0 0,1-1 1 0 0,-1 0-1 0 0,-1 1 0 0 0,-1 1 35 0 0,0 1 0 0 0,0-1 0 0 0,-1 1 0 0 0,2-1 0 0 0,-1 1 0 0 0,0 0 0 0 0,0 0 0 0 0,1 1 0 0 0,-4 4 0 0 0,0 2 9 0 0,-12 14-267 0 0,-22 41 0 0 0,7-3-3216 0 0,20-38 556 0 0,3-5-1219 0 0</inkml:trace>
</inkml:ink>
</file>

<file path=ppt/ink/ink2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2.9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29 40 496 0 0,'-8'-13'2987'0'0,"-1"9"-2662"0"0,0 0 0 0 0,0 0-1 0 0,0 1 1 0 0,0 0 0 0 0,0 1 0 0 0,-1 0 0 0 0,1 0 0 0 0,-1 1-1 0 0,-18 0 1 0 0,-92 8 581 0 0,98-5-742 0 0,1 1 0 0 0,-29 8-1 0 0,43-9-115 0 0,0 1 0 0 0,1-1 0 0 0,-1 1-1 0 0,0 0 1 0 0,1 1 0 0 0,0-1 0 0 0,0 1 0 0 0,0 1-1 0 0,0-1 1 0 0,-9 10 0 0 0,13-12-35 0 0,0 0 1 0 0,1 1-1 0 0,-1-1 0 0 0,1 0 0 0 0,-1 1 1 0 0,1-1-1 0 0,0 1 0 0 0,0-1 0 0 0,0 1 1 0 0,0-1-1 0 0,0 1 0 0 0,1 0 0 0 0,-1 0 1 0 0,1-1-1 0 0,0 1 0 0 0,0 0 1 0 0,0 5-1 0 0,1-4-4 0 0,0 1-1 0 0,0-1 1 0 0,1 1 0 0 0,0-1 0 0 0,-1 0 0 0 0,1 0 0 0 0,1 0-1 0 0,-1 0 1 0 0,1 0 0 0 0,2 3 0 0 0,8 7 6 0 0,0 0 1 0 0,1-1 0 0 0,1 0-1 0 0,17 11 1 0 0,-29-23-10 0 0,131 92 220 0 0,-62-45 68 0 0,86 74-1 0 0,-155-120-225 0 0,0 0-1 0 0,-1 0 1 0 0,1 0 0 0 0,-1 1 0 0 0,0-1-1 0 0,0 1 1 0 0,0 0 0 0 0,0 0 0 0 0,0-1 0 0 0,0 1-1 0 0,-1 0 1 0 0,0 1 0 0 0,1-1 0 0 0,-1 0-1 0 0,0 0 1 0 0,0 0 0 0 0,-1 1 0 0 0,1 3-1 0 0,-1-6-45 0 0,-1-1-1 0 0,1 1 0 0 0,0 0 0 0 0,-1 0 0 0 0,1 0 1 0 0,-1-1-1 0 0,1 1 0 0 0,-1 0 0 0 0,0 0 1 0 0,1-1-1 0 0,-1 1 0 0 0,0-1 0 0 0,1 1 0 0 0,-1 0 1 0 0,0-1-1 0 0,0 0 0 0 0,0 1 0 0 0,0-1 0 0 0,1 1 1 0 0,-2-1-1 0 0,0 1 30 0 0,-3 1 36 0 0,0 1 0 0 0,-1-1 0 0 0,1 0-1 0 0,-1 0 1 0 0,0-1 0 0 0,1 0 0 0 0,-1 0 0 0 0,0 0 0 0 0,-9-1-1 0 0,-55-4 467 0 0,55 3-452 0 0,-44-7-564 0 0,1-2 0 0 0,-105-32 0 0 0,138 30-5216 0 0</inkml:trace>
</inkml:ink>
</file>

<file path=ppt/ink/ink2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4.2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47 392 0 0,'3'-2'509'0'0,"0"1"-1"0"0,0-1 1 0 0,0 0-1 0 0,0 1 1 0 0,1 0 0 0 0,-1 0-1 0 0,0 0 1 0 0,1 0 0 0 0,3 0-1 0 0,-6 1-416 0 0,1 0 0 0 0,0 0 0 0 0,-1 0 0 0 0,1 1-1 0 0,-1-1 1 0 0,1 0 0 0 0,-1 1 0 0 0,1-1 0 0 0,-1 1-1 0 0,0 0 1 0 0,1-1 0 0 0,-1 1 0 0 0,0 0 0 0 0,1 0 0 0 0,-1 0-1 0 0,0 0 1 0 0,0 0 0 0 0,0 0 0 0 0,0 0 0 0 0,0 1 0 0 0,0-1-1 0 0,0 0 1 0 0,1 2 0 0 0,9 16 653 0 0,0 1 1 0 0,-2 0-1 0 0,0 0 1 0 0,7 25-1 0 0,18 90 1138 0 0,-16-60-990 0 0,-12-41 517 0 0,-6-30-362 0 0,0-13-427 0 0,0-6-698 0 0,0 0 53 0 0,1 0 0 0 0,0 0 0 0 0,2 0 0 0 0,-1 0 0 0 0,2 0 0 0 0,8-24 0 0 0,-10 34 5 0 0,0-1-1 0 0,1 1 0 0 0,-1 0 1 0 0,1 0-1 0 0,0 0 0 0 0,1 0 1 0 0,-1 0-1 0 0,1 1 0 0 0,0-1 0 0 0,0 1 1 0 0,1 0-1 0 0,-1 1 0 0 0,1-1 1 0 0,0 1-1 0 0,-1-1 0 0 0,2 2 1 0 0,-1-1-1 0 0,0 0 0 0 0,11-2 1 0 0,-12 4 12 0 0,0 0 0 0 0,0 1 0 0 0,1 0 0 0 0,-1 0 0 0 0,0 0 0 0 0,0 1 0 0 0,0-1 0 0 0,0 1 0 0 0,0 0 0 0 0,0 0 0 0 0,0 0 0 0 0,0 1 0 0 0,0 0 0 0 0,0-1 0 0 0,0 1 0 0 0,-1 1 0 0 0,1-1 0 0 0,-1 0 0 0 0,1 1 0 0 0,-1 0 0 0 0,4 4 0 0 0,1 0-9 0 0,-1 2 1 0 0,0-1-1 0 0,0 1 1 0 0,-1 0-1 0 0,0 1 0 0 0,8 15 1 0 0,-9-11 101 0 0,-1 1-1 0 0,0 0 1 0 0,0 0 0 0 0,1 28-1 0 0,-3-29 507 0 0,-2-14-563 0 0,0 0-1 0 0,0 1 1 0 0,0-1 0 0 0,0 0-1 0 0,1 0 1 0 0,-1 1 0 0 0,0-1-1 0 0,0 0 1 0 0,0 0 0 0 0,0 1 0 0 0,0-1-1 0 0,0 0 1 0 0,0 0 0 0 0,0 1-1 0 0,0-1 1 0 0,0 0 0 0 0,0 0-1 0 0,0 1 1 0 0,0-1 0 0 0,0 0 0 0 0,0 0-1 0 0,0 1 1 0 0,0-1 0 0 0,0 0-1 0 0,-1 0 1 0 0,1 0 0 0 0,0 1-1 0 0,0-1 1 0 0,0 0 0 0 0,0 0-1 0 0,0 1 1 0 0,-1-1 0 0 0,1 0 0 0 0,0 0-1 0 0,0 0 1 0 0,0 0 0 0 0,0 1-1 0 0,-1-1 1 0 0,1 0 0 0 0,0 0-1 0 0,0 0 1 0 0,-1 0 0 0 0,1 0-1 0 0,0 0 1 0 0,0 0 0 0 0,-1 0 0 0 0,1 0-1 0 0,0 0 1 0 0,0 0 0 0 0,-1 0-1 0 0,1 0 1 0 0,0 0 0 0 0,0 0-1 0 0,-1 0 1 0 0,1 0 0 0 0,0 0 0 0 0,-1 0-12 0 0,1 0 0 0 0,-1-1 0 0 0,1 1 0 0 0,-1 0 0 0 0,1-1 0 0 0,-1 1 0 0 0,1 0 0 0 0,0-1 1 0 0,-1 1-1 0 0,1-1 0 0 0,0 1 0 0 0,-1-1 0 0 0,1 1 0 0 0,0-1 0 0 0,0 1 0 0 0,-1-1 1 0 0,1 1-1 0 0,0-1 0 0 0,0 1 0 0 0,0-1 0 0 0,0 1 0 0 0,0-1 0 0 0,-1 1 0 0 0,1-2 0 0 0,2-6-11 0 0,-1 0-1 0 0,1 0 0 0 0,0-1 0 0 0,0 2 1 0 0,1-1-1 0 0,0 0 0 0 0,1 0 0 0 0,0 1 1 0 0,0 0-1 0 0,0 0 0 0 0,1 0 0 0 0,0 0 1 0 0,0 1-1 0 0,1 0 0 0 0,0 0 0 0 0,0 0 1 0 0,0 1-1 0 0,1 0 0 0 0,0 0 0 0 0,0 1 1 0 0,10-6-1 0 0,-14 9-16 0 0,0 1 1 0 0,1-1 0 0 0,-1 1-1 0 0,0-1 1 0 0,1 1-1 0 0,-1 0 1 0 0,0 0-1 0 0,1 0 1 0 0,-1 1 0 0 0,0-1-1 0 0,0 1 1 0 0,1 0-1 0 0,-1 0 1 0 0,0 0 0 0 0,0 0-1 0 0,4 3 1 0 0,2 0-138 0 0,0 1 0 0 0,-1 1-1 0 0,15 11 1 0 0,-16-11-18 0 0,-1 1-1 0 0,0 0 1 0 0,0 0-1 0 0,0 0 1 0 0,-1 1-1 0 0,0 0 0 0 0,0 0 1 0 0,4 11-1 0 0,3 11-1272 0 0,8 33-1 0 0,8 19-1410 0 0,-27-81 2802 0 0,0 0 0 0 0,0 1 0 0 0,-1-1 0 0 0,1 0 0 0 0,0-1 0 0 0,0 1 0 0 0,0 0 0 0 0,0 0-1 0 0,0 0 1 0 0,0 0 0 0 0,0-1 0 0 0,0 1 0 0 0,1 0 0 0 0,-1-1 0 0 0,0 1 0 0 0,0-1 0 0 0,0 0 0 0 0,1 1 0 0 0,-1-1 0 0 0,0 0 0 0 0,2 0 0 0 0,26-1-562 0 0,-23 0 518 0 0,0-1 0 0 0,0 0 0 0 0,-1-1 0 0 0,1 0 0 0 0,-1 0 1 0 0,1 0-1 0 0,-1 0 0 0 0,0-1 0 0 0,0 0 0 0 0,0 0 0 0 0,5-6 0 0 0,5-7-63 0 0,22-30 0 0 0,-34 43 152 0 0,12-17 683 0 0,0 0-1 0 0,-2-1 1 0 0,0 0 0 0 0,10-28 0 0 0,-22 49-660 0 0,-1 0 0 0 0,0 1 0 0 0,0-1 0 0 0,0 0-1 0 0,0 1 1 0 0,0-1 0 0 0,0 0 0 0 0,0 1 0 0 0,0-1 0 0 0,0 0 0 0 0,0 1 0 0 0,0-1 0 0 0,0 0 0 0 0,0 1 0 0 0,-1-1 0 0 0,1 1 0 0 0,0-1 0 0 0,0 0 0 0 0,-1 1 0 0 0,1-1-1 0 0,0 1 1 0 0,-1-1 0 0 0,1 1 0 0 0,-1-1 0 0 0,1 1 0 0 0,-1-1 0 0 0,1 1 0 0 0,-1-1 0 0 0,1 1 0 0 0,-1-1 0 0 0,1 1 0 0 0,-1 0 0 0 0,0-1 0 0 0,1 1 0 0 0,-2 0 0 0 0,0-1 16 0 0,-1 0 1 0 0,1 0-1 0 0,-1 0 1 0 0,1 1-1 0 0,-1-1 1 0 0,1 1-1 0 0,-1 0 1 0 0,0 0-1 0 0,-2 0 1 0 0,-5 1-5 0 0,0 1 1 0 0,0 1 0 0 0,1-1-1 0 0,-1 2 1 0 0,1-1 0 0 0,0 1-1 0 0,-14 8 1 0 0,22-11 233 0 0,12-5-279 0 0,0 1 0 0 0,0-2 0 0 0,-1 0 0 0 0,0 0 0 0 0,14-10 0 0 0,9-4-171 0 0,-31 17 135 0 0,0 2 40 0 0,-1 0 0 0 0,1 0 0 0 0,-1 0 0 0 0,1 0 0 0 0,-1 1 0 0 0,1-1 0 0 0,-1 0 0 0 0,1 1 0 0 0,-1-1 0 0 0,1 1 0 0 0,-1-1 1 0 0,0 1-1 0 0,1 0 0 0 0,-1-1 0 0 0,2 3 0 0 0,14 22-42 0 0,-14-19 38 0 0,6 10 95 0 0,0 0 1 0 0,1 0-1 0 0,1-1 1 0 0,13 14-1 0 0,-20-25-40 0 0,0 0 0 0 0,0 0 0 0 0,1 0 1 0 0,-1-1-1 0 0,1 0 0 0 0,0 0 0 0 0,0 0 0 0 0,0 0 0 0 0,0-1 0 0 0,0 0 1 0 0,1 0-1 0 0,-1 0 0 0 0,1-1 0 0 0,0 0 0 0 0,-1 0 0 0 0,1 0 0 0 0,0 0 0 0 0,7-1 1 0 0,-4-1-18 0 0,0 0 1 0 0,0-1 0 0 0,0 0-1 0 0,0 0 1 0 0,-1-1-1 0 0,1 0 1 0 0,-1 0 0 0 0,0-1-1 0 0,0 0 1 0 0,0 0 0 0 0,0-1-1 0 0,-1 0 1 0 0,13-11-1 0 0,-12 7-46 0 0,1 0-1 0 0,-1 0 0 0 0,0-1 0 0 0,-1 0 0 0 0,0 0 0 0 0,-1 0 1 0 0,0-1-1 0 0,0 0 0 0 0,-1-1 0 0 0,3-12 0 0 0,3-12-95 0 0,-1 0 0 0 0,-3 0-1 0 0,-1-1 1 0 0,-1 0 0 0 0,-1-68-1 0 0,-4 101 117 0 0,0 1 0 0 0,0-1 0 0 0,-1 1 0 0 0,1-1 0 0 0,-1 1 0 0 0,1-1 0 0 0,-1 1-1 0 0,0-1 1 0 0,-1 1 0 0 0,1 0 0 0 0,0 0 0 0 0,-1 0 0 0 0,0 0 0 0 0,0 0 0 0 0,0 0 0 0 0,0 0 0 0 0,0 0-1 0 0,-1 1 1 0 0,-4-5 0 0 0,5 6 14 0 0,-1 1 0 0 0,1-1 0 0 0,0 1 0 0 0,-1 0 0 0 0,1 0 0 0 0,-1 0-1 0 0,1 0 1 0 0,0 0 0 0 0,-1 0 0 0 0,1 1 0 0 0,0-1 0 0 0,-1 1 0 0 0,1-1 0 0 0,0 1 0 0 0,-1 0-1 0 0,1 0 1 0 0,-4 2 0 0 0,0 2 61 0 0,-1-1-1 0 0,1 1 0 0 0,-1 1 1 0 0,1-1-1 0 0,1 1 0 0 0,-1 0 1 0 0,1 0-1 0 0,0 0 0 0 0,1 1 1 0 0,-1 0-1 0 0,1 0 0 0 0,0 0 1 0 0,1 0-1 0 0,-5 15 0 0 0,3-5 62 0 0,0 1-1 0 0,1 0 0 0 0,1-1 1 0 0,0 1-1 0 0,1 29 0 0 0,3-24 14 0 0,0 1-1 0 0,2-1 0 0 0,1 0 0 0 0,1 0 0 0 0,1-1 0 0 0,0 1 1 0 0,2-1-1 0 0,1-1 0 0 0,1 1 0 0 0,14 23 0 0 0,-16-32-87 0 0,1 1-1 0 0,0-1 1 0 0,1-1-1 0 0,0 0 1 0 0,1 0-1 0 0,0-1 1 0 0,1-1-1 0 0,0 1 1 0 0,1-2-1 0 0,0 0 1 0 0,0 0-1 0 0,1-2 1 0 0,0 1-1 0 0,1-2 1 0 0,27 9-1 0 0,-35-13-89 0 0,-1-1 1 0 0,1 1-1 0 0,-1-2 0 0 0,1 1 0 0 0,-1-1 0 0 0,1 0 0 0 0,0 0 0 0 0,-1-1 0 0 0,1 0 0 0 0,-1 0 0 0 0,0-1 0 0 0,1 1 0 0 0,-1-2 0 0 0,7-2 1 0 0,-5 1-62 0 0,0-1 1 0 0,-1 1 0 0 0,0-2 0 0 0,0 1-1 0 0,0-1 1 0 0,0 0 0 0 0,-1 0 0 0 0,0-1-1 0 0,7-10 1 0 0,-1-3-107 0 0,0 0-1 0 0,-1 0 1 0 0,-2-1 0 0 0,0 0-1 0 0,-1-1 1 0 0,-1 0-1 0 0,5-28 1 0 0,-2 2-66 0 0,3-55-1 0 0,-12 83 271 0 0,0-1 0 0 0,-2 1 0 0 0,0-1 0 0 0,-1 1 0 0 0,-7-30 0 0 0,8 47-2 0 0,1 0-1 0 0,-1 0 0 0 0,0 0 1 0 0,0 1-1 0 0,-1-1 1 0 0,1 0-1 0 0,0 1 0 0 0,-1-1 1 0 0,0 1-1 0 0,0-1 0 0 0,1 1 1 0 0,-1 0-1 0 0,-1 0 0 0 0,1-1 1 0 0,0 2-1 0 0,0-1 0 0 0,-1 0 1 0 0,1 0-1 0 0,-1 1 1 0 0,-5-3-1 0 0,5 3 8 0 0,0 1 1 0 0,0-1-1 0 0,1 1 0 0 0,-1 0 1 0 0,0 0-1 0 0,0 0 1 0 0,0 0-1 0 0,0 0 0 0 0,0 1 1 0 0,0-1-1 0 0,1 1 1 0 0,-1 0-1 0 0,0 0 0 0 0,0 0 1 0 0,1 0-1 0 0,-1 0 0 0 0,1 0 1 0 0,-1 1-1 0 0,1 0 1 0 0,-1-1-1 0 0,-3 5 0 0 0,-1 1 10 0 0,0 0-1 0 0,0 1 1 0 0,1 0-1 0 0,0 0 1 0 0,0 1-1 0 0,1-1 1 0 0,0 1-1 0 0,1 1 1 0 0,0-1-1 0 0,0 0 1 0 0,1 1-1 0 0,0 0 1 0 0,1 0-1 0 0,-2 16 1 0 0,1-1-6 0 0,1-1 1 0 0,2 0 0 0 0,1 1 0 0 0,7 47-1 0 0,-1-38-449 0 0,1 1 0 0 0,2-2 0 0 0,16 39 0 0 0,26 38-6836 0 0,-42-88 3033 0 0</inkml:trace>
</inkml:ink>
</file>

<file path=ppt/ink/ink2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5.0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6 27 908 0 0,'-2'-2'1093'0'0,"0"0"-790"0"0,1 0-137 0 0,0 0 0 0 0,0 1 0 0 0,0-1 0 0 0,0 1 0 0 0,-1-1 0 0 0,1 1 0 0 0,0 0 0 0 0,-1-1 0 0 0,1 1 0 0 0,-1 0 0 0 0,0 0 0 0 0,1 0 0 0 0,-1 0 0 0 0,0 0 0 0 0,0 1 0 0 0,1-1 0 0 0,-1 0 0 0 0,-3 0 1 0 0,2 1-52 0 0,0 0 0 0 0,1 1 1 0 0,-1-1-1 0 0,0 1 0 0 0,0-1 1 0 0,1 1-1 0 0,-1 0 0 0 0,1 0 1 0 0,-1 0-1 0 0,0 0 1 0 0,1 0-1 0 0,-1 0 0 0 0,1 1 1 0 0,0-1-1 0 0,0 1 0 0 0,-1 0 1 0 0,1 0-1 0 0,0 0 0 0 0,1 0 1 0 0,-1 0-1 0 0,0 0 1 0 0,0 0-1 0 0,1 1 0 0 0,-1-1 1 0 0,1 1-1 0 0,0-1 0 0 0,0 1 1 0 0,0-1-1 0 0,0 1 1 0 0,-1 3-1 0 0,1 0 51 0 0,0 0 0 0 0,0 0 0 0 0,1 0 0 0 0,0 0 0 0 0,0 1 0 0 0,0-1 0 0 0,1 0 0 0 0,-1 0 0 0 0,1 0 0 0 0,1 0 0 0 0,-1 0 0 0 0,1 0 0 0 0,4 8 0 0 0,9 11 93 0 0,0-1 0 0 0,2 0 0 0 0,0-1 0 0 0,2-1 0 0 0,22 21 0 0 0,-12-12-105 0 0,32 43 0 0 0,-59-70-119 0 0,-1-2-17 0 0,0-1 0 0 0,0 1 0 0 0,0-1-1 0 0,0 0 1 0 0,0 1 0 0 0,0-1 0 0 0,0 0-1 0 0,0 0 1 0 0,0 0 0 0 0,0 0 0 0 0,1 0-1 0 0,1 1 1 0 0,-11-1 26 0 0,7-1-45 0 0,1 0 0 0 0,-1 1 0 0 0,0-1 0 0 0,0 0-1 0 0,1 0 1 0 0,-1 0 0 0 0,0 0 0 0 0,0-1 0 0 0,1 1 0 0 0,-1 0-1 0 0,0 0 1 0 0,1 0 0 0 0,-1-1 0 0 0,0 1 0 0 0,1 0-1 0 0,-2-1 1 0 0,-14-9-87 0 0,1-1-1 0 0,0 0 1 0 0,1-1-1 0 0,1 0 1 0 0,-19-23-1 0 0,-14-11-191 0 0,44 44 277 0 0,0 1 0 0 0,0 0 0 0 0,0-1 0 0 0,-1 1 0 0 0,1 0 0 0 0,0 0 0 0 0,-1 0 0 0 0,1 0 0 0 0,-1 1 0 0 0,1-1 0 0 0,-1 1 0 0 0,0-1 0 0 0,1 1 0 0 0,-1 0 0 0 0,-3 0 0 0 0,-28 6 65 0 0,28-4-115 0 0,0 1-1 0 0,0-1 0 0 0,1 1 0 0 0,-1 0 0 0 0,-9 7 0 0 0,13-8-252 0 0,-1 0 0 0 0,1-1 0 0 0,0 1 0 0 0,0 0 0 0 0,0 0 0 0 0,1 1 0 0 0,-1-1-1 0 0,0 0 1 0 0,1 0 0 0 0,0 1 0 0 0,-1-1 0 0 0,1 1 0 0 0,0-1 0 0 0,-1 4 0 0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3.0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9 1332 0 0,'-4'-8'8280'0'0,"6"30"-7137"0"0,0 5-290 0 0,13 189 1488 0 0,-1-65-2623 0 0,-13-108-1893 0 0,-5 66 1 0 0,1-70-1800 0 0,0-21 1034 0 0</inkml:trace>
</inkml:ink>
</file>

<file path=ppt/ink/ink2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5.5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13 880 0 0,'26'-12'1721'0'0,"0"-1"0"0"0,26-17 0 0 0,-44 24-1474 0 0,0 0-1 0 0,0 0 1 0 0,0-1 0 0 0,-1 0 0 0 0,0 0 0 0 0,0-1 0 0 0,-1 0 0 0 0,0 0 0 0 0,7-14 0 0 0,-12 21-220 0 0,0-1 0 0 0,0 1 0 0 0,-1-1 0 0 0,1 1 0 0 0,0-1 0 0 0,-1 1 0 0 0,0-1 0 0 0,1 1 1 0 0,-1-1-1 0 0,0 0 0 0 0,0 1 0 0 0,1-1 0 0 0,-2 1 0 0 0,1-1 0 0 0,0 0 0 0 0,0 1 0 0 0,0-1 0 0 0,-1-1 0 0 0,0 2-15 0 0,1 0 0 0 0,-1 0 0 0 0,1 0 0 0 0,-1 0 0 0 0,0 0 0 0 0,0 1 1 0 0,1-1-1 0 0,-1 0 0 0 0,0 1 0 0 0,0-1 0 0 0,0 0 0 0 0,0 1 0 0 0,0-1 0 0 0,0 1 0 0 0,0-1 0 0 0,0 1 0 0 0,0 0 0 0 0,0-1 0 0 0,0 1 1 0 0,-2 0-1 0 0,0-1 30 0 0,0 1 0 0 0,-1 0 1 0 0,1 0-1 0 0,-1 0 1 0 0,1 1-1 0 0,0-1 1 0 0,-1 1-1 0 0,1 0 0 0 0,0 0 1 0 0,-1 0-1 0 0,1 0 1 0 0,0 0-1 0 0,0 1 0 0 0,0-1 1 0 0,-5 5-1 0 0,3-2 69 0 0,0 0-1 0 0,1 0 1 0 0,0 1-1 0 0,0 0 1 0 0,0 0-1 0 0,0 0 0 0 0,1 0 1 0 0,0 0-1 0 0,0 1 1 0 0,0-1-1 0 0,1 1 1 0 0,-4 10-1 0 0,5-12-47 0 0,1 0-1 0 0,-1 0 1 0 0,1 0-1 0 0,0 0 0 0 0,0 0 1 0 0,0 0-1 0 0,0 0 1 0 0,0 0-1 0 0,1-1 1 0 0,0 1-1 0 0,0 0 1 0 0,0 0-1 0 0,0 0 1 0 0,1-1-1 0 0,0 1 1 0 0,-1 0-1 0 0,1-1 1 0 0,0 0-1 0 0,1 1 1 0 0,-1-1-1 0 0,3 3 1 0 0,2 1-8 0 0,1-1 1 0 0,-1 0 0 0 0,1 0 0 0 0,0 0 0 0 0,1-1 0 0 0,-1 0 0 0 0,1-1 0 0 0,0 0 0 0 0,0-1 0 0 0,0 1 0 0 0,1-2 0 0 0,-1 1-1 0 0,1-1 1 0 0,0-1 0 0 0,17 1 0 0 0,-11-1-116 0 0,1-1 0 0 0,-1-1-1 0 0,1-1 1 0 0,-1 0 0 0 0,0-1-1 0 0,0-1 1 0 0,0 0 0 0 0,25-12 0 0 0,-31 11-66 0 0,1 0 0 0 0,-1-2 0 0 0,-1 1 0 0 0,1-1 0 0 0,-1 0 1 0 0,0-1-1 0 0,-1 0 0 0 0,0-1 0 0 0,0 0 0 0 0,-1 0 1 0 0,0 0-1 0 0,-1-1 0 0 0,1 0 0 0 0,8-21 0 0 0,0-8 386 0 0,-2 0 0 0 0,16-79 0 0 0,-10 34 2056 0 0,-16 65-1360 0 0,-10 25 970 0 0,-9 31-239 0 0,9 0-1165 0 0,2 1 0 0 0,1 0 0 0 0,2 0 0 0 0,3 55 0 0 0,27 153-520 0 0,-9-102-2711 0 0,-15-117 1308 0 0,1 17-1221 0 0,-6-11-4926 0 0,-1-19 2722 0 0</inkml:trace>
</inkml:ink>
</file>

<file path=ppt/ink/ink2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5.8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96 1444 0 0,'1'-3'1823'0'0,"0"0"-1455"0"0,1-1 0 0 0,0 1 0 0 0,-1-1 0 0 0,2 1 0 0 0,-1 0-1 0 0,0 0 1 0 0,1 0 0 0 0,-1 0 0 0 0,1 0 0 0 0,0 0 0 0 0,0 1 0 0 0,0-1 0 0 0,0 1 0 0 0,0 0 0 0 0,1 0 0 0 0,-1 0-1 0 0,1 0 1 0 0,-1 1 0 0 0,7-2 0 0 0,9-4 93 0 0,1 2-1 0 0,32-5 1 0 0,-32 6 30 0 0,9 0-608 0 0,57-1 0 0 0,-16 3-6576 0 0,-47 0 3526 0 0</inkml:trace>
</inkml:ink>
</file>

<file path=ppt/ink/ink2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6.5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2 39 696 0 0,'-7'-14'3507'0'0,"5"12"-3187"0"0,1 0-1 0 0,-1 0 1 0 0,1 0 0 0 0,-1 0-1 0 0,1 0 1 0 0,-1 1 0 0 0,0-1-1 0 0,0 0 1 0 0,0 1-1 0 0,0 0 1 0 0,0-1 0 0 0,-3 0-1 0 0,2 1-163 0 0,1 1 0 0 0,-1 0 0 0 0,0 0-1 0 0,1 0 1 0 0,-1 0 0 0 0,0 0 0 0 0,1 0-1 0 0,-1 1 1 0 0,0-1 0 0 0,1 1 0 0 0,-1 0-1 0 0,0 0 1 0 0,-2 1 0 0 0,-9 4 216 0 0,1 1 1 0 0,0 0-1 0 0,1 0 1 0 0,-1 1-1 0 0,1 1 0 0 0,1 0 1 0 0,0 1-1 0 0,0 0 1 0 0,-16 21-1 0 0,20-23-239 0 0,0 0 0 0 0,1 1 0 0 0,0 0 0 0 0,1 1 0 0 0,0-1 0 0 0,0 1 0 0 0,1 0 0 0 0,1 0 0 0 0,-1 0 1 0 0,1 0-1 0 0,1 1 0 0 0,0-1 0 0 0,1 1 0 0 0,-1 13 0 0 0,3-17-77 0 0,-1-1 1 0 0,1 0 0 0 0,1 1 0 0 0,-1-1-1 0 0,1 0 1 0 0,0 1 0 0 0,1-1-1 0 0,-1 0 1 0 0,1-1 0 0 0,0 1-1 0 0,1 0 1 0 0,6 9 0 0 0,-3-8-3 0 0,0 0 1 0 0,0 0-1 0 0,1 0 0 0 0,0-1 1 0 0,0 0-1 0 0,0 0 1 0 0,17 7-1 0 0,-11-6-44 0 0,1-1 0 0 0,1 0-1 0 0,-1-1 1 0 0,1-1 0 0 0,0-1-1 0 0,0 0 1 0 0,0-1 0 0 0,0-1-1 0 0,0 0 1 0 0,20-2 0 0 0,-26 0-46 0 0,0-1 0 0 0,0-1 0 0 0,0 1 0 0 0,0-1 0 0 0,0-1 0 0 0,0 0 1 0 0,-1 0-1 0 0,0-1 0 0 0,0 0 0 0 0,0-1 0 0 0,12-9 0 0 0,-16 10 7 0 0,1 0-1 0 0,-1-1 0 0 0,1 1 1 0 0,-1-1-1 0 0,-1 0 0 0 0,1 0 1 0 0,-1-1-1 0 0,0 1 0 0 0,-1-1 1 0 0,0 0-1 0 0,0 0 0 0 0,0 0 1 0 0,-1 0-1 0 0,0 0 0 0 0,0-1 1 0 0,1-10-1 0 0,-3 16 22 0 0,0 0-1 0 0,0 0 1 0 0,0 0-1 0 0,-1 0 1 0 0,1 0 0 0 0,0 0-1 0 0,-1 0 1 0 0,1 0 0 0 0,-1 0-1 0 0,0 0 1 0 0,0 0 0 0 0,1 0-1 0 0,-1 0 1 0 0,-1 1 0 0 0,1-1-1 0 0,0 0 1 0 0,0 1 0 0 0,-1-1-1 0 0,1 1 1 0 0,0-1 0 0 0,-1 1-1 0 0,0-1 1 0 0,1 1-1 0 0,-1 0 1 0 0,0 0 0 0 0,0 0-1 0 0,1 0 1 0 0,-1 0 0 0 0,0 0-1 0 0,0 1 1 0 0,0-1 0 0 0,0 1-1 0 0,0-1 1 0 0,0 1 0 0 0,0 0-1 0 0,-1-1 1 0 0,1 1 0 0 0,0 0-1 0 0,0 1 1 0 0,0-1 0 0 0,0 0-1 0 0,0 1 1 0 0,0-1 0 0 0,0 1-1 0 0,-2 0 1 0 0,2 0 12 0 0,1-1 1 0 0,0 1 0 0 0,0-1-1 0 0,0 1 1 0 0,0 0 0 0 0,0-1-1 0 0,0 1 1 0 0,0 0-1 0 0,0 0 1 0 0,0 0 0 0 0,0 0-1 0 0,0 0 1 0 0,0 0 0 0 0,0 0-1 0 0,1 0 1 0 0,-1 0 0 0 0,0 0-1 0 0,1 0 1 0 0,-1 3-1 0 0,1-3 2 0 0,0 0-1 0 0,0 0 0 0 0,0-1 0 0 0,0 1 0 0 0,0 0 0 0 0,1 0 0 0 0,-1 0 0 0 0,0 0 0 0 0,0 0 1 0 0,1 0-1 0 0,-1 0 0 0 0,1 0 0 0 0,-1-1 0 0 0,1 1 0 0 0,-1 0 0 0 0,1 0 0 0 0,0-1 1 0 0,-1 1-1 0 0,2 1 0 0 0,3 2 16 0 0,0-1 1 0 0,1 1 0 0 0,-1-1 0 0 0,1 0-1 0 0,6 3 1 0 0,-10-5-20 0 0,8 3 19 0 0,-1-1 0 0 0,1 0 0 0 0,1-1 1 0 0,-1 1-1 0 0,0-2 0 0 0,13 1 0 0 0,-16-1 7 0 0,0-1-1 0 0,0 0 1 0 0,0-1 0 0 0,0 0-1 0 0,0 0 1 0 0,0 0-1 0 0,0-1 1 0 0,-1 0-1 0 0,1 0 1 0 0,6-3 0 0 0,-11 4-30 0 0,-1 1 1 0 0,0-1 0 0 0,0 0-1 0 0,0 1 1 0 0,1-1 0 0 0,-1 0-1 0 0,0 0 1 0 0,0 0 0 0 0,0 0-1 0 0,0 0 1 0 0,0 0 0 0 0,-1 0-1 0 0,1 0 1 0 0,0 0 0 0 0,0 0-1 0 0,-1 0 1 0 0,1-1 0 0 0,-1 1-1 0 0,1 0 1 0 0,-1-1 0 0 0,1 1-1 0 0,-1 0 1 0 0,0-1 0 0 0,1 0 0 0 0,-2 0-13 0 0,1-1 1 0 0,0 1 0 0 0,-1 1 0 0 0,0-1 0 0 0,1 0 0 0 0,-1 0 0 0 0,0 0 0 0 0,0 0 0 0 0,0 0 0 0 0,0 1 0 0 0,0-1-1 0 0,0 0 1 0 0,-1 1 0 0 0,-1-3 0 0 0,-3-1-176 0 0,0-1 0 0 0,-1 1 1 0 0,1 0-1 0 0,-1 0 0 0 0,0 1 0 0 0,-13-6 0 0 0,-4 1-1741 0 0,-38-7-1 0 0,12 3-4359 0 0</inkml:trace>
</inkml:ink>
</file>

<file path=ppt/ink/ink2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6.9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1840 0 0,'6'5'604'0'0,"0"1"1"0"0,-1 0-1 0 0,1 0 0 0 0,-1 0 1 0 0,-1 0-1 0 0,1 1 0 0 0,-1 0 1 0 0,0 0-1 0 0,-1 0 0 0 0,1 0 1 0 0,-1 1-1 0 0,2 10 0 0 0,3 12 1102 0 0,5 60-1 0 0,-6-37-82 0 0,-7-53-1577 0 0,0 0 0 0 0,0 0 0 0 0,0 1-1 0 0,0-1 1 0 0,0 0 0 0 0,0 0 0 0 0,1 1 0 0 0,-1-1 0 0 0,0 0-1 0 0,0 0 1 0 0,0 0 0 0 0,0 1 0 0 0,0-1 0 0 0,0 0 0 0 0,0 0 0 0 0,1 0-1 0 0,-1 1 1 0 0,0-1 0 0 0,0 0 0 0 0,0 0 0 0 0,0 0 0 0 0,1 0-1 0 0,-1 1 1 0 0,0-1 0 0 0,0 0 0 0 0,0 0 0 0 0,1 0 0 0 0,-1 0-1 0 0,0 0 1 0 0,0 0 0 0 0,1 0 0 0 0,-1 0 0 0 0,0 0 0 0 0,0 0 0 0 0,0 0-1 0 0,1 0 1 0 0,-1 0 0 0 0,0 0 0 0 0,0 0 0 0 0,1 0 0 0 0,-1 0-1 0 0,0 0 1 0 0,0 0 0 0 0,1 0 0 0 0,-1 0 0 0 0,0 0 0 0 0,17-11 601 0 0,18-27-994 0 0,-27 29 544 0 0,15-15-208 0 0,1 1 0 0 0,51-37 1 0 0,-71 57-2 0 0,0 1 0 0 0,0 0 0 0 0,0 0 0 0 0,1 0 0 0 0,-1 0 0 0 0,0 1 0 0 0,1 0 0 0 0,-1 0 0 0 0,1 0 0 0 0,-1 0 0 0 0,1 1 0 0 0,-1 0 0 0 0,1 0 0 0 0,0 0 0 0 0,4 1 0 0 0,-7-1 2 0 0,0 1-1 0 0,0-1 0 0 0,0 1 0 0 0,0 0 1 0 0,0-1-1 0 0,0 1 0 0 0,0 0 0 0 0,0 1 1 0 0,0-1-1 0 0,0 0 0 0 0,-1 0 1 0 0,1 1-1 0 0,0-1 0 0 0,-1 1 0 0 0,1-1 1 0 0,-1 1-1 0 0,2 3 0 0 0,17 32-1027 0 0,-19-33 784 0 0,11 32-1998 0 0,-10-27 681 0 0,1-1 0 0 0,0 1 1 0 0,1-1-1 0 0,4 9 0 0 0,-4-10-1592 0 0</inkml:trace>
</inkml:ink>
</file>

<file path=ppt/ink/ink2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7.3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660 0 0,'3'0'3656'0'0,"1"1"-3343"0"0,-1 1 1 0 0,0-1-1 0 0,1 0 1 0 0,-1 1-1 0 0,0 0 1 0 0,0 0-1 0 0,0 0 1 0 0,0 0-1 0 0,0 0 1 0 0,-1 0-1 0 0,1 1 1 0 0,-1-1-1 0 0,1 1 1 0 0,-1 0-1 0 0,0 0 0 0 0,0 0 1 0 0,0 0-1 0 0,0 0 1 0 0,2 6-1 0 0,3 9 390 0 0,0 0 0 0 0,7 29 0 0 0,-9-26-266 0 0,17 60 680 0 0,15 115 1 0 0,-30-134-2729 0 0,-1 64-1 0 0,-6-120 953 0 0,0 0 1 0 0,-1-1-1 0 0,1 1 0 0 0,-1-1 0 0 0,0 1 1 0 0,-1-1-1 0 0,1 1 0 0 0,-1-1 1 0 0,-4 8-1 0 0,0-3-2493 0 0</inkml:trace>
</inkml:ink>
</file>

<file path=ppt/ink/ink2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7.9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164 656 0 0,'-1'-1'294'0'0,"0"0"1"0"0,-1-1-1 0 0,1 1 0 0 0,0-1 0 0 0,1 1 1 0 0,-1-1-1 0 0,0 1 0 0 0,0-1 1 0 0,1 0-1 0 0,-1 0 0 0 0,1 1 0 0 0,-1-1 1 0 0,1 0-1 0 0,0 0 0 0 0,0 1 1 0 0,0-1-1 0 0,0 0 0 0 0,0 0 0 0 0,0 1 1 0 0,0-1-1 0 0,1-2 0 0 0,0 2-226 0 0,1 0-1 0 0,-1 1 0 0 0,1-1 1 0 0,0 0-1 0 0,-1 1 0 0 0,1-1 1 0 0,0 1-1 0 0,0-1 0 0 0,0 1 1 0 0,0 0-1 0 0,0 0 1 0 0,0 0-1 0 0,1 0 0 0 0,-1 0 1 0 0,0 1-1 0 0,3-2 0 0 0,27-6 356 0 0,1 1-1 0 0,65-5 0 0 0,-68 9-293 0 0,284-19 700 0 0,-109 9 535 0 0,-111 3 529 0 0,-91 10-1438 0 0,-6 0-408 0 0,-7 2-32 0 0,0 0-1 0 0,0 0 0 0 0,1 1 0 0 0,0 1 0 0 0,-1-1 0 0 0,1 1 1 0 0,0 1-1 0 0,1 0 0 0 0,-9 6 0 0 0,1 1 12 0 0,0 0-1 0 0,1 0 1 0 0,-24 28-1 0 0,37-38-15 0 0,0 0 0 0 0,0 0 1 0 0,0 1-1 0 0,0-1 0 0 0,1 1 0 0 0,-1 0 0 0 0,1 0 0 0 0,-1-1 0 0 0,1 1 0 0 0,0 0 0 0 0,0 0 0 0 0,0 0 0 0 0,1 0 0 0 0,-1 0 0 0 0,1 0 1 0 0,0 0-1 0 0,-1 0 0 0 0,1 0 0 0 0,1 6 0 0 0,0-7-12 0 0,0 0 0 0 0,0 1 0 0 0,0-1 0 0 0,0 0 0 0 0,1 0 0 0 0,-1 0 1 0 0,0 0-1 0 0,1 0 0 0 0,0 0 0 0 0,-1 0 0 0 0,1 0 0 0 0,0-1 0 0 0,0 1 0 0 0,0-1 0 0 0,0 0 0 0 0,0 1 1 0 0,1-1-1 0 0,-1 0 0 0 0,0 0 0 0 0,0 0 0 0 0,1 0 0 0 0,-1-1 0 0 0,1 1 0 0 0,3 0 0 0 0,2 0-124 0 0,0 0 0 0 0,0 0-1 0 0,-1-1 1 0 0,1 0-1 0 0,0 0 1 0 0,0-1 0 0 0,0 0-1 0 0,0 0 1 0 0,-1-1-1 0 0,1 0 1 0 0,-1-1 0 0 0,1 1-1 0 0,-1-1 1 0 0,0-1 0 0 0,10-6-1 0 0,-5 3-74 0 0,-1-1-1 0 0,0-1 1 0 0,-1 0-1 0 0,0 0 1 0 0,0-1 0 0 0,-1-1-1 0 0,15-21 1 0 0,-24 32 195 0 0,1-1 1 0 0,-1 1 0 0 0,0-1 0 0 0,0 1 0 0 0,1-1 0 0 0,-1 1-1 0 0,0-1 1 0 0,0 1 0 0 0,0-1 0 0 0,0 0 0 0 0,1 1 0 0 0,-1-1-1 0 0,0 1 1 0 0,0-1 0 0 0,0 1 0 0 0,0-1 0 0 0,0 0-1 0 0,-1 1 1 0 0,1-1 0 0 0,0 1 0 0 0,0-1 0 0 0,0 0 0 0 0,0 1-1 0 0,-1-1 1 0 0,1 1 0 0 0,0-1 0 0 0,-1 1 0 0 0,1-1 0 0 0,-1 0-1 0 0,1 1 9 0 0,0 0 0 0 0,-1-1-1 0 0,1 1 1 0 0,0 0 0 0 0,-1 0-1 0 0,1 0 1 0 0,0 0 0 0 0,0-1-1 0 0,-1 1 1 0 0,1 0 0 0 0,0 0 0 0 0,-1 0-1 0 0,1 0 1 0 0,0 0 0 0 0,-1 0-1 0 0,1 0 1 0 0,0 0 0 0 0,-1 0-1 0 0,1 0 1 0 0,0 0 0 0 0,-1 0-1 0 0,1 0 1 0 0,0 0 0 0 0,-1 0-1 0 0,1 1 1 0 0,0-1 0 0 0,-1 0-1 0 0,1 0 1 0 0,0 0 0 0 0,-1 0-1 0 0,1 1 1 0 0,0-1 0 0 0,0 0-1 0 0,-1 0 1 0 0,1 1 0 0 0,0-1 0 0 0,0 0-1 0 0,0 0 1 0 0,-1 1 0 0 0,1-1-1 0 0,0 0 1 0 0,0 0 0 0 0,0 1-1 0 0,0-1 1 0 0,0 0 0 0 0,-1 1-1 0 0,1-1 1 0 0,0 1 0 0 0,-1 1 55 0 0,0 0 1 0 0,0 0-1 0 0,1 0 1 0 0,-1 1-1 0 0,0-1 1 0 0,1 0-1 0 0,-1 1 1 0 0,1-1-1 0 0,0 0 1 0 0,0 1-1 0 0,0-1 1 0 0,0 0-1 0 0,0 0 1 0 0,1 1-1 0 0,-1-1 1 0 0,1 0-1 0 0,-1 1 1 0 0,1-1-1 0 0,0 0 1 0 0,0 0-1 0 0,1 3 1 0 0,0-2-8 0 0,1 0 0 0 0,-1 0 0 0 0,1 0 1 0 0,0-1-1 0 0,0 1 0 0 0,0-1 0 0 0,0 1 1 0 0,0-1-1 0 0,0 0 0 0 0,1 0 0 0 0,6 2 1 0 0,0 0-12 0 0,1 0 1 0 0,-1-1 0 0 0,1 0-1 0 0,0-1 1 0 0,0-1 0 0 0,0 0 0 0 0,0 0-1 0 0,15-1 1 0 0,-17-1-113 0 0,-1 0 0 0 0,1-1 1 0 0,-1 0-1 0 0,0-1 0 0 0,0 1 0 0 0,0-2 1 0 0,0 1-1 0 0,0-1 0 0 0,-1 0 0 0 0,0 0 1 0 0,0-1-1 0 0,0 0 0 0 0,0-1 0 0 0,10-9 0 0 0,0-5 338 0 0,-1-1 0 0 0,-1 0 0 0 0,18-33 0 0 0,-20 33 716 0 0,-2 5-48 0 0,-14 25-83 0 0,-5 24-440 0 0,6 88-1692 0 0,3-101-3278 0 0,8 38 0 0 0</inkml:trace>
</inkml:ink>
</file>

<file path=ppt/ink/ink2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8.2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9 157 1404 0 0,'-4'-22'1500'0'0,"0"4"-456"0"0,2 2-96 0 0,-2 0-347 0 0,2 1-37 0 0,0 1-340 0 0,0 1-88 0 0,-2 1-392 0 0,2 3-144 0 0,0-2-389 0 0,2 0-795 0 0</inkml:trace>
</inkml:ink>
</file>

<file path=ppt/ink/ink2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8.6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120 0 0,'13'18'1349'0'0,"-2"1"0"0"0,0 1 0 0 0,0-1 0 0 0,-2 2 0 0 0,8 24 0 0 0,23 108 4547 0 0,-22-77-423 0 0,-19-81-5475 0 0,1 0 0 0 0,0 0-1 0 0,0 0 1 0 0,0 0 0 0 0,0 0 0 0 0,1 1-1 0 0,0-1 1 0 0,0 0 0 0 0,0 0-1 0 0,1 1 1 0 0,3-8 0 0 0,1-3-121 0 0,1 1 0 0 0,11-16 1 0 0,-10 18 37 0 0,0 0 1 0 0,14-14 0 0 0,-19 22 53 0 0,1 0 1 0 0,0 1-1 0 0,0-1 1 0 0,0 1 0 0 0,1 0-1 0 0,-1 0 1 0 0,1 0-1 0 0,-1 1 1 0 0,8-3-1 0 0,-10 4 23 0 0,1 1-1 0 0,0-1 0 0 0,-1 1 0 0 0,1 0 0 0 0,-1 0 1 0 0,1 0-1 0 0,0 0 0 0 0,-1 1 0 0 0,1-1 0 0 0,-1 1 1 0 0,1-1-1 0 0,-1 1 0 0 0,1 0 0 0 0,-1 0 0 0 0,0 0 1 0 0,1 0-1 0 0,-1 1 0 0 0,0-1 0 0 0,0 0 0 0 0,3 4 1 0 0,5 3 7 0 0,-2 0 0 0 0,1 1 1 0 0,8 11-1 0 0,-3-3 16 0 0,95 113 207 0 0,-107-128-207 0 0,30 30-26 0 0,-30-30-48 0 0,0-1 0 0 0,0 0 1 0 0,0 1-1 0 0,1-1 0 0 0,-1 0 0 0 0,0-1 1 0 0,0 1-1 0 0,1 0 0 0 0,-1-1 1 0 0,1 1-1 0 0,-1-1 0 0 0,0 0 0 0 0,1 1 1 0 0,-1-1-1 0 0,4-1 0 0 0,-4 1-16 0 0,1-1-1 0 0,-1 1 0 0 0,0-1 1 0 0,0 0-1 0 0,1 0 0 0 0,-1 0 1 0 0,0 0-1 0 0,0-1 0 0 0,0 1 1 0 0,0 0-1 0 0,0-1 0 0 0,0 0 1 0 0,0 1-1 0 0,-1-1 1 0 0,3-3-1 0 0,20-31-618 0 0,-18 26 538 0 0,41-79 221 0 0,-15 28 1190 0 0,-32 60-1243 0 0,0 1 1 0 0,1-1-1 0 0,-1 1 1 0 0,0-1-1 0 0,0 1 1 0 0,0-1-1 0 0,1 1 1 0 0,-1-1 0 0 0,0 1-1 0 0,0-1 1 0 0,1 1-1 0 0,-1 0 1 0 0,0-1-1 0 0,1 1 1 0 0,-1-1-1 0 0,1 1 1 0 0,-1 0 0 0 0,0 0-1 0 0,1-1 1 0 0,-1 1-1 0 0,1 0 1 0 0,-1 0-1 0 0,1-1 1 0 0,-1 1-1 0 0,1 0 1 0 0,-1 0 0 0 0,1 0-1 0 0,-1 0 1 0 0,1 0-1 0 0,-1 0 1 0 0,1 0-1 0 0,-1 0 1 0 0,1 0-1 0 0,-1 0 1 0 0,1 0 0 0 0,-1 0-1 0 0,2 0 1 0 0,-1 1-12 0 0,0 1 1 0 0,0-1 0 0 0,1 0 0 0 0,-1 0 0 0 0,0 1 0 0 0,0-1-1 0 0,0 1 1 0 0,0-1 0 0 0,-1 1 0 0 0,1-1 0 0 0,0 4 0 0 0,14 47-1365 0 0,-9 3-1845 0 0,-5-17-2989 0 0,-2-25 1866 0 0</inkml:trace>
</inkml:ink>
</file>

<file path=ppt/ink/ink2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2:59.2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174 112 0 0,'-7'-48'4408'0'0,"5"33"-3585"0"0,0 1 0 0 0,-1-1 0 0 0,0 1 0 0 0,-7-19 0 0 0,9 32-872 0 0,0 0 0 0 0,1 1 0 0 0,0-1 0 0 0,-1 0 0 0 0,1 0-1 0 0,-1 0 1 0 0,1 1 0 0 0,0-1 0 0 0,0 0 0 0 0,0 0 0 0 0,-1 0-1 0 0,1 0 1 0 0,0 0 0 0 0,0 0 0 0 0,0 0 0 0 0,0 0 0 0 0,0 1-1 0 0,1-1 1 0 0,-1 0 0 0 0,0 0 0 0 0,0 0 0 0 0,1 0 0 0 0,-1 0-1 0 0,0 0 1 0 0,1 1 0 0 0,-1-1 0 0 0,1 0 0 0 0,-1 0-1 0 0,1 1 1 0 0,-1-1 0 0 0,1 0 0 0 0,-1 1 0 0 0,1-1 0 0 0,0 0-1 0 0,-1 1 1 0 0,1-1 0 0 0,0 1 0 0 0,0-1 0 0 0,-1 1 0 0 0,1-1-1 0 0,0 1 1 0 0,0 0 0 0 0,0-1 0 0 0,0 1 0 0 0,0 0 0 0 0,-1 0-1 0 0,3 0 1 0 0,1-1-94 0 0,0 0 0 0 0,0 1-1 0 0,0 0 1 0 0,1 0 0 0 0,-1 0-1 0 0,0 1 1 0 0,6 1-1 0 0,1 2 432 0 0,1 0-1 0 0,-1 1 1 0 0,0 1-1 0 0,-1 0 1 0 0,1 0-1 0 0,-1 1 0 0 0,-1 0 1 0 0,1 1-1 0 0,-1 0 1 0 0,0 0-1 0 0,-1 1 1 0 0,0 1-1 0 0,10 14 0 0 0,4 10 1397 0 0,-1 0 1 0 0,27 63-1 0 0,-10-7 1460 0 0,-37-88-2675 0 0,1 5 658 0 0,-1-15-1279 0 0,1 1 1 0 0,0-1-1 0 0,0 1 1 0 0,1 0-1 0 0,0-1 0 0 0,0 1 1 0 0,0 1-1 0 0,1-1 0 0 0,0 0 1 0 0,1 1-1 0 0,-1 0 1 0 0,1 0-1 0 0,0 0 0 0 0,1 1 1 0 0,-1 0-1 0 0,1 0 0 0 0,0 0 1 0 0,0 0-1 0 0,1 1 1 0 0,-1 0-1 0 0,1 1 0 0 0,0-1 1 0 0,8-2-1 0 0,-11 6 132 0 0,-1-1 0 0 0,1 1 0 0 0,-1 0 0 0 0,1 0 0 0 0,-1 0 0 0 0,1 1 0 0 0,-1-1 0 0 0,1 1 0 0 0,-1 0 0 0 0,0 0 0 0 0,1 0 0 0 0,-1 0 0 0 0,0 1 0 0 0,0-1 0 0 0,0 1 0 0 0,0 0 0 0 0,0 0 0 0 0,5 3 0 0 0,3 5 55 0 0,0 0 1 0 0,18 21-1 0 0,-27-27-17 0 0,24 26 88 0 0,40 45 79 0 0,-57-67-153 0 0,0 0-1 0 0,0 0 1 0 0,0-1 0 0 0,1 0 0 0 0,0 0 0 0 0,12 4-1 0 0,-19-9-57 0 0,0-1-1 0 0,0 1 1 0 0,1-1-1 0 0,-1 0 1 0 0,1 0-1 0 0,-1-1 1 0 0,0 1-1 0 0,1-1 0 0 0,-1 0 1 0 0,1 0-1 0 0,0 0 1 0 0,-1 0-1 0 0,1 0 1 0 0,-1-1-1 0 0,0 1 1 0 0,1-1-1 0 0,-1 0 0 0 0,1 0 1 0 0,-1-1-1 0 0,0 1 1 0 0,0-1-1 0 0,0 1 1 0 0,0-1-1 0 0,0 0 1 0 0,0 0-1 0 0,0 0 0 0 0,-1-1 1 0 0,1 1-1 0 0,-1-1 1 0 0,1 1-1 0 0,-1-1 1 0 0,0 0-1 0 0,2-4 1 0 0,6-10-311 0 0,0 0 0 0 0,-2 0 1 0 0,0-1-1 0 0,9-34 1 0 0,-9 29 249 0 0,-3 7-3 0 0,-1 3-11 0 0,0 0 0 0 0,1 1 1 0 0,0-1-1 0 0,1 1 1 0 0,13-21-1 0 0,-18 33 91 0 0,-1 0-1 0 0,0-1 1 0 0,0 1-1 0 0,0 0 0 0 0,1-1 1 0 0,-1 1-1 0 0,0 0 1 0 0,0-1-1 0 0,1 1 1 0 0,-1 0-1 0 0,0 0 1 0 0,1 0-1 0 0,-1-1 1 0 0,0 1-1 0 0,1 0 1 0 0,-1 0-1 0 0,0 0 1 0 0,1 0-1 0 0,-1-1 1 0 0,0 1-1 0 0,1 0 1 0 0,-1 0-1 0 0,1 0 1 0 0,-1 0-1 0 0,0 0 1 0 0,1 0-1 0 0,-1 0 0 0 0,0 0 1 0 0,1 0-1 0 0,-1 0 1 0 0,1 0-1 0 0,-1 0 1 0 0,0 1-1 0 0,1-1 1 0 0,-1 0-1 0 0,7 14-40 0 0,-4 19 209 0 0,-4 7 189 0 0,-2 1 0 0 0,-1 0 0 0 0,-2-1-1 0 0,-15 49 1 0 0,18-77-245 0 0,-1 0-1 0 0,-1 0 0 0 0,0 0 0 0 0,0-1 1 0 0,-1 0-1 0 0,-1 0 0 0 0,0 0 0 0 0,0-1 1 0 0,-12 13-1 0 0,19-23-106 0 0,-1 1 1 0 0,0 0-1 0 0,1-1 0 0 0,-1 1 1 0 0,0 0-1 0 0,1-1 0 0 0,-1 1 1 0 0,0-1-1 0 0,1 1 0 0 0,-1-1 0 0 0,0 0 1 0 0,0 1-1 0 0,0-1 0 0 0,0 0 1 0 0,1 1-1 0 0,-1-1 0 0 0,0 0 1 0 0,0 0-1 0 0,0 0 0 0 0,0 0 1 0 0,-1 0-1 0 0,2 0-13 0 0,-1-1-1 0 0,1 1 1 0 0,-1 0-1 0 0,1-1 1 0 0,-1 1 0 0 0,1-1-1 0 0,-1 1 1 0 0,1-1-1 0 0,0 1 1 0 0,-1-1 0 0 0,1 1-1 0 0,0-1 1 0 0,0 0-1 0 0,-1 1 1 0 0,1-1 0 0 0,0 1-1 0 0,0-1 1 0 0,0 0-1 0 0,0 1 1 0 0,0-1 0 0 0,0 1-1 0 0,0-2 1 0 0,3-36-1034 0 0,29-104-1221 0 0,-18 88 2035 0 0,-3 1 1 0 0,-1-2 0 0 0,3-81 0 0 0,-13 131 260 0 0,0-1 0 0 0,-1 0 0 0 0,1 1 1 0 0,-1-1-1 0 0,-1 1 0 0 0,1-1 0 0 0,-1 1 1 0 0,-4-10-1 0 0,5 13 1 0 0,0 0 0 0 0,0 0 0 0 0,0 0 1 0 0,-1 0-1 0 0,1 0 0 0 0,-1 1 0 0 0,0-1 0 0 0,1 1 0 0 0,-1-1 1 0 0,0 1-1 0 0,0-1 0 0 0,0 1 0 0 0,0 0 0 0 0,0 0 1 0 0,0 0-1 0 0,0 0 0 0 0,0 0 0 0 0,-1 1 0 0 0,1-1 0 0 0,0 0 1 0 0,0 1-1 0 0,-1 0 0 0 0,1 0 0 0 0,0-1 0 0 0,-1 2 0 0 0,-2-1 1 0 0,1 0-14 0 0,0 1 0 0 0,0 0 0 0 0,0-1 0 0 0,0 1 0 0 0,0 1 0 0 0,0-1 0 0 0,0 1 0 0 0,0-1 0 0 0,1 1 0 0 0,-1 0 0 0 0,0 1 1 0 0,1-1-1 0 0,0 1 0 0 0,0-1 0 0 0,0 1 0 0 0,0 0 0 0 0,0 0 0 0 0,0 0 0 0 0,1 0 0 0 0,-1 1 0 0 0,1-1 0 0 0,0 1 0 0 0,0 0 0 0 0,0-1 1 0 0,1 1-1 0 0,-1 0 0 0 0,1 0 0 0 0,0 0 0 0 0,0 0 0 0 0,-1 6 0 0 0,2-3-186 0 0,0 1 1 0 0,0-1-1 0 0,0 0 0 0 0,1 1 0 0 0,0-1 1 0 0,1 0-1 0 0,3 11 0 0 0,-3-12-665 0 0,0 0 0 0 0,1 1 0 0 0,0-1 0 0 0,6 9 0 0 0,5 2-2235 0 0</inkml:trace>
</inkml:ink>
</file>

<file path=ppt/ink/ink2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1.6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6 263 1104 0 0,'-1'-2'1000'0'0,"-49"-102"7652"0"0,50 102-8527 0 0,-1 1 0 0 0,0-1 1 0 0,1 0-1 0 0,-1 1 0 0 0,0-1 1 0 0,0 1-1 0 0,0-1 0 0 0,0 1 1 0 0,0 0-1 0 0,0-1 0 0 0,-3-1 1 0 0,4 3-113 0 0,0 0 1 0 0,0 0 0 0 0,-1 0 0 0 0,1 0 0 0 0,0 0 0 0 0,-1 0 0 0 0,1 0 0 0 0,0 0 0 0 0,0 0 0 0 0,-1 0-1 0 0,1 0 1 0 0,0 0 0 0 0,-1 1 0 0 0,1-1 0 0 0,0 0 0 0 0,0 0 0 0 0,-1 0 0 0 0,1 0 0 0 0,0 1 0 0 0,0-1-1 0 0,0 0 1 0 0,-1 0 0 0 0,1 0 0 0 0,0 1 0 0 0,0-1 0 0 0,0 0 0 0 0,0 0 0 0 0,-1 1 0 0 0,1-1-1 0 0,0 0 1 0 0,0 0 0 0 0,0 1 0 0 0,0-1 0 0 0,0 0 0 0 0,0 1 0 0 0,0-1 0 0 0,0 0 0 0 0,0 1 0 0 0,-7 45 6 0 0,7-34 171 0 0,-12 181 635 0 0,-1 10 505 0 0,7-153-1110 0 0,-8 58 1902 0 0,14-107-2064 0 0,0 0 0 0 0,0 0-1 0 0,0 0 1 0 0,-1 0 0 0 0,1 0 0 0 0,0 0-1 0 0,-1 0 1 0 0,1 0 0 0 0,0 0-1 0 0,-1 0 1 0 0,1 0 0 0 0,-1-1 0 0 0,0 1-1 0 0,1 0 1 0 0,-1 0 0 0 0,0-1 0 0 0,1 1-1 0 0,-1 0 1 0 0,0-1 0 0 0,0 1-1 0 0,0-1 1 0 0,1 1 0 0 0,-1-1 0 0 0,0 1-1 0 0,0-1 1 0 0,0 0 0 0 0,0 1-1 0 0,0-1 1 0 0,0 0 0 0 0,0 0 0 0 0,0 0-1 0 0,0 1 1 0 0,0-1 0 0 0,0 0 0 0 0,0 0-1 0 0,0-1 1 0 0,-1 1 0 0 0,-1 0-26 0 0,0-1 0 0 0,0 0 0 0 0,1 0 0 0 0,-1 0 0 0 0,0 0 0 0 0,0 0 0 0 0,1 0 0 0 0,-1-1 0 0 0,-4-2 1 0 0,-2-5-48 0 0,0-1 0 0 0,1 1 0 0 0,0-1 1 0 0,0 0-1 0 0,1-1 0 0 0,1 0 0 0 0,0 0 1 0 0,0-1-1 0 0,1 1 0 0 0,0-1 1 0 0,1 0-1 0 0,-4-23 0 0 0,2 6-173 0 0,2 0-1 0 0,1 0 1 0 0,1 0-1 0 0,3-46 0 0 0,1 47 10 0 0,1 0 0 0 0,2 0-1 0 0,0 0 1 0 0,2 1-1 0 0,1 0 1 0 0,1 0 0 0 0,18-35-1 0 0,-22 51 106 0 0,1 1-1 0 0,0 0 1 0 0,0 0-1 0 0,1 1 0 0 0,1-1 1 0 0,0 2-1 0 0,0-1 1 0 0,0 1-1 0 0,1 0 1 0 0,0 1-1 0 0,1 0 1 0 0,0 1-1 0 0,0 0 1 0 0,0 0-1 0 0,1 1 1 0 0,0 0-1 0 0,0 1 0 0 0,0 0 1 0 0,0 1-1 0 0,16-3 1 0 0,-9 5 36 0 0,0 0-1 0 0,0 1 1 0 0,0 0 0 0 0,0 2 0 0 0,0 0-1 0 0,-1 1 1 0 0,1 1 0 0 0,-1 0 0 0 0,1 2-1 0 0,-1 0 1 0 0,18 9 0 0 0,-14-5 55 0 0,-1 1 0 0 0,0 1 0 0 0,-1 1 0 0 0,-1 0 0 0 0,0 1 0 0 0,0 1 0 0 0,-2 1-1 0 0,21 25 1 0 0,-30-34 15 0 0,-1 1 0 0 0,-1 1 0 0 0,0-1 0 0 0,0 1 0 0 0,0 0 0 0 0,-1 0 0 0 0,-1 1 0 0 0,0-1 0 0 0,0 1 0 0 0,-1 0 0 0 0,0-1 0 0 0,0 1 0 0 0,-1 0 0 0 0,0 15 0 0 0,-2-13 67 0 0,-1 0 0 0 0,0 1 0 0 0,0-1 0 0 0,-1 0-1 0 0,-1-1 1 0 0,0 1 0 0 0,-1-1 0 0 0,0 1 0 0 0,0-1 0 0 0,-2-1 0 0 0,-8 14 0 0 0,4-11 55 0 0,0 0-1 0 0,0 0 1 0 0,-2-2 0 0 0,1 1-1 0 0,-1-2 1 0 0,-1 1 0 0 0,0-2 0 0 0,0 0-1 0 0,-29 13 1 0 0,13-9 4 0 0,0-2-1 0 0,-1 0 1 0 0,0-3-1 0 0,-40 7 0 0 0,37-9-1001 0 0,-52 2 0 0 0,85-8 762 0 0,1 0 0 0 0,0 0 0 0 0,-1 0 0 0 0,1 0 0 0 0,0 0 0 0 0,-1 0 0 0 0,1 0 0 0 0,-1 1 0 0 0,1-1 0 0 0,0 0 0 0 0,-1 0 0 0 0,1 0 0 0 0,0 0 0 0 0,-1-1 0 0 0,1 1 0 0 0,-1 0 0 0 0,1 0 0 0 0,0 0 0 0 0,-1 0 0 0 0,1 0 0 0 0,0 0 0 0 0,-1-1 0 0 0,1 1 0 0 0,0 0 0 0 0,-1 0 0 0 0,1 0 0 0 0,0-1 0 0 0,-1 1 0 0 0,1 0 0 0 0,0 0 0 0 0,0-1 0 0 0,-1 1 1 0 0,1 0-1 0 0,0-1 0 0 0,0 1 0 0 0,0 0 0 0 0,-1-1 0 0 0,1 1 0 0 0,0 0 0 0 0,0-1 0 0 0,0 1 0 0 0,0-1 0 0 0,0 1 0 0 0,0 0 0 0 0,0-1 0 0 0,0 1 0 0 0,0 0 0 0 0,0-1 0 0 0,0 1 0 0 0,0-1 0 0 0,0 1 0 0 0,0 0 0 0 0,0-1 0 0 0,0 1 0 0 0,0 0 0 0 0,0-1 0 0 0,1 1 0 0 0,-1-1 0 0 0,16-18-3379 0 0,-1 10 303 0 0,4-1-1094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0.7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 0 1160 0 0,'11'7'363'0'0,"-1"1"0"0"0,0 0 0 0 0,0 1 1 0 0,-1 0-1 0 0,0 0 0 0 0,-1 1 0 0 0,0 0 0 0 0,0 1 0 0 0,-1-1 0 0 0,0 1 0 0 0,-1 1 0 0 0,-1-1 1 0 0,1 1-1 0 0,5 24 0 0 0,-8-25-149 0 0,-1 0 0 0 0,0 0 0 0 0,-1 1 0 0 0,0-1 0 0 0,-1 1 0 0 0,0-1 0 0 0,-1 0 0 0 0,0 1 0 0 0,-1-1 0 0 0,0 0 0 0 0,-1 0 0 0 0,0 0 0 0 0,-1 0 0 0 0,0 0 0 0 0,-1-1 0 0 0,-11 19 0 0 0,11-20-25 0 0,0 0 0 0 0,-1-1 0 0 0,0 0 1 0 0,0 0-1 0 0,-1 0 0 0 0,0-1 0 0 0,0 0 0 0 0,-1 0 0 0 0,0-1 1 0 0,-9 6-1 0 0,15-11-159 0 0,1-1 1 0 0,0 1 0 0 0,0 0 0 0 0,-1-1-1 0 0,1 0 1 0 0,-1 1 0 0 0,1-1-1 0 0,0 0 1 0 0,-1 0 0 0 0,1 1-1 0 0,-1-1 1 0 0,1 0 0 0 0,-1-1-1 0 0,1 1 1 0 0,0 0 0 0 0,-1 0-1 0 0,1 0 1 0 0,-1-1 0 0 0,1 1-1 0 0,-2-2 1 0 0,2 2-24 0 0,1 0 0 0 0,-1-1 0 0 0,0 1 0 0 0,1-1 0 0 0,-1 1 0 0 0,1-1 0 0 0,-1 0 0 0 0,1 1 0 0 0,-1-1 0 0 0,1 1 0 0 0,-1-1 0 0 0,1 0-1 0 0,-1 0 1 0 0,1 1 0 0 0,0-1 0 0 0,0 0 0 0 0,-1 0 0 0 0,1 1 0 0 0,0-1 0 0 0,0 0 0 0 0,0 0 0 0 0,0 0 0 0 0,0 1 0 0 0,0-1 0 0 0,0 0 0 0 0,0 0 0 0 0,0 0 0 0 0,0 1 0 0 0,0-1 0 0 0,0 0-1 0 0,1 0 1 0 0,-1 0 0 0 0,0 1 0 0 0,1-2 0 0 0,3-6 0 0 0,0 0 1 0 0,0 1-1 0 0,1-1 0 0 0,0 1 0 0 0,1 0 0 0 0,-1 0 1 0 0,1 1-1 0 0,8-7 0 0 0,58-43-16 0 0,-55 44 9 0 0,132-85-69 0 0,-57 40 61 0 0,-72 46 110 0 0,-7 9 108 0 0,-12 2-201 0 0,-1 0 0 0 0,0 0 0 0 0,0 0 0 0 0,1 0 0 0 0,-1 0 0 0 0,0 0 0 0 0,1 1 0 0 0,-1-1 0 0 0,0 0 0 0 0,0 0 0 0 0,1 0 0 0 0,-1 0 0 0 0,0 1 0 0 0,0-1 0 0 0,0 0 0 0 0,1 0 0 0 0,-1 1 0 0 0,0-1 0 0 0,0 0 0 0 0,0 0 0 0 0,0 1 0 0 0,1-1 0 0 0,-1 0 0 0 0,0 0 0 0 0,0 1 0 0 0,0-1 0 0 0,0 0 0 0 0,0 1 0 0 0,0-1 0 0 0,0 0 0 0 0,0 0 0 0 0,0 1 0 0 0,0-1 0 0 0,0 1 0 0 0,-5 57 482 0 0,3-45-352 0 0,1 0 1 0 0,0 0 0 0 0,1 0-1 0 0,0 1 1 0 0,1-1 0 0 0,3 15-1 0 0,-2-20-70 0 0,0-1-1 0 0,0 1 1 0 0,1-1-1 0 0,0 0 1 0 0,0 0-1 0 0,1 0 0 0 0,0-1 1 0 0,0 1-1 0 0,1-1 1 0 0,0 0-1 0 0,0 0 1 0 0,0-1-1 0 0,1 0 0 0 0,-1 1 1 0 0,1-2-1 0 0,1 1 1 0 0,-1-1-1 0 0,1 0 0 0 0,-1 0 1 0 0,1-1-1 0 0,0 1 1 0 0,0-2-1 0 0,1 1 1 0 0,-1-1-1 0 0,0 0 0 0 0,14 1 1 0 0,-18-2-56 0 0,1-1 0 0 0,-1 1 1 0 0,0-1-1 0 0,0 0 0 0 0,0 0 1 0 0,0 0-1 0 0,1-1 0 0 0,-1 1 1 0 0,0-1-1 0 0,0 1 0 0 0,0-1 0 0 0,0 0 1 0 0,0-1-1 0 0,0 1 0 0 0,0 0 1 0 0,-1-1-1 0 0,1 1 0 0 0,0-1 1 0 0,-1 0-1 0 0,1 0 0 0 0,-1 0 0 0 0,1 0 1 0 0,-1-1-1 0 0,0 1 0 0 0,0 0 1 0 0,0-1-1 0 0,-1 0 0 0 0,1 1 1 0 0,0-1-1 0 0,-1 0 0 0 0,0 0 0 0 0,0 0 1 0 0,1-3-1 0 0,0-1-10 0 0,-1 0 1 0 0,0 1-1 0 0,0-1 1 0 0,-1 0-1 0 0,1 0 1 0 0,-2 0-1 0 0,1 1 1 0 0,-1-1-1 0 0,0 0 1 0 0,0 1-1 0 0,-1-1 1 0 0,0 1-1 0 0,-5-13 1 0 0,-1 5-86 0 0,0 0 0 0 0,0 1 0 0 0,-1 0 0 0 0,-1 1-1 0 0,0 0 1 0 0,-1 0 0 0 0,-16-13 0 0 0,18 16-406 0 0,-1 2-1 0 0,-1-1 0 0 0,1 2 0 0 0,-1-1 0 0 0,0 1 0 0 0,0 1 0 0 0,-1 0 0 0 0,0 1 0 0 0,-17-5 0 0 0,24 8 37 0 0,1 1 0 0 0,-1-1 0 0 0,1 1 0 0 0,-1-1 0 0 0,1 1 0 0 0,-6 1 0 0 0,-6 4-3326 0 0,3 2 1034 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3.4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 198 1552 0 0,'-2'-2'152'0'0,"1"1"-1"0"0,0-1 1 0 0,0 1-1 0 0,0 0 1 0 0,0-1 0 0 0,0 0-1 0 0,0 1 1 0 0,1-1-1 0 0,-1 0 1 0 0,0 1-1 0 0,1-1 1 0 0,-1 0 0 0 0,1 1-1 0 0,0-1 1 0 0,0 0-1 0 0,0 0 1 0 0,0 0-1 0 0,0 1 1 0 0,0-1 0 0 0,0 0-1 0 0,0 0 1 0 0,0 0-1 0 0,1 1 1 0 0,-1-1-1 0 0,1 0 1 0 0,0 1 0 0 0,-1-1-1 0 0,1 0 1 0 0,0 1-1 0 0,0-1 1 0 0,0 1-1 0 0,0-1 1 0 0,1-1 0 0 0,4-2 70 0 0,0 0-1 0 0,0 1 1 0 0,0-1 0 0 0,0 1 0 0 0,1 0 0 0 0,13-5 0 0 0,28-10 273 0 0,2 2 0 0 0,0 2 0 0 0,88-13 0 0 0,-70 14 18 0 0,-55 12-411 0 0,-5-1-11 0 0,0 1 0 0 0,0 1 0 0 0,0 0 0 0 0,0 0 0 0 0,0 0 0 0 0,0 1 0 0 0,0 0 0 0 0,0 1 0 0 0,14 2 0 0 0,-21-2-70 0 0,0 0-1 0 0,0 0 0 0 0,0 0 1 0 0,0 0-1 0 0,0 0 0 0 0,0 0 1 0 0,-1 0-1 0 0,1 0 0 0 0,0 1 0 0 0,-1-1 1 0 0,1 0-1 0 0,-1 0 0 0 0,0 0 1 0 0,1 1-1 0 0,-1-1 0 0 0,0 0 1 0 0,1 1-1 0 0,-1-1 0 0 0,0 3 1 0 0,0-1 44 0 0,4 48 423 0 0,-4-41-382 0 0,0 0 0 0 0,1 1 0 0 0,0-1 0 0 0,1 0-1 0 0,3 12 1 0 0,0-11-18 0 0,0 0-1 0 0,1 0 0 0 0,-1-1 1 0 0,2 1-1 0 0,0-1 0 0 0,0-1 1 0 0,1 0-1 0 0,0 0 0 0 0,0 0 0 0 0,1-1 1 0 0,0 0-1 0 0,1-1 0 0 0,0 0 1 0 0,0 0-1 0 0,0-1 0 0 0,13 5 1 0 0,-9-4 19 0 0,1-1 1 0 0,0-1-1 0 0,0 0 0 0 0,0-1 1 0 0,0 0-1 0 0,1-2 1 0 0,-1 0-1 0 0,1 0 1 0 0,0-2-1 0 0,0 0 0 0 0,-1 0 1 0 0,17-4-1 0 0,-25 3-69 0 0,0-1 0 0 0,-1 0 0 0 0,1 0 1 0 0,0 0-1 0 0,-1-1 0 0 0,0 0 0 0 0,0-1 0 0 0,0 1 0 0 0,0-1 0 0 0,0 0 0 0 0,-1 0 1 0 0,0-1-1 0 0,1 0 0 0 0,-2 0 0 0 0,1 0 0 0 0,-1 0 0 0 0,1-1 0 0 0,-2 0 0 0 0,1 0 0 0 0,3-7 1 0 0,-5 8-30 0 0,0-1 0 0 0,0 0-1 0 0,0 0 1 0 0,0 0 0 0 0,-1 0 0 0 0,0 0 0 0 0,-1 0 0 0 0,1 0 0 0 0,-1 0 0 0 0,0-1 0 0 0,-1 1 0 0 0,1 0 0 0 0,-1 0 0 0 0,-1 0 0 0 0,1 0 0 0 0,-1 0 0 0 0,0 0 0 0 0,0 1 0 0 0,-1-1 0 0 0,1 0 0 0 0,-1 1 0 0 0,-1 0 0 0 0,-3-5 0 0 0,1 2-210 0 0,0 0-1 0 0,-1 1 0 0 0,0 0 1 0 0,-1 1-1 0 0,1-1 0 0 0,-1 1 1 0 0,0 1-1 0 0,-1 0 0 0 0,1 0 1 0 0,-1 0-1 0 0,0 1 0 0 0,0 1 1 0 0,0-1-1 0 0,-1 2 0 0 0,-16-4 1 0 0,16 4-840 0 0,-1 1 1 0 0,1 1 0 0 0,-1 0 0 0 0,1 0-1 0 0,0 1 1 0 0,-1 0 0 0 0,1 1-1 0 0,-19 5 1 0 0</inkml:trace>
</inkml:ink>
</file>

<file path=ppt/ink/ink3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2.0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1 271 732 0 0,'4'0'1495'0'0,"0"-1"-1168"0"0,-1 2 1 0 0,0-1-1 0 0,1 0 1 0 0,-1 1-1 0 0,1-1 1 0 0,-1 1-1 0 0,1 0 0 0 0,-1 0 1 0 0,0 1-1 0 0,0-1 1 0 0,0 1-1 0 0,0-1 1 0 0,0 1-1 0 0,3 2 0 0 0,-2 0-47 0 0,0 0-1 0 0,0 0 0 0 0,-1 0 0 0 0,1 1 0 0 0,-1-1 0 0 0,0 1 0 0 0,0 0 0 0 0,3 9 0 0 0,9 24 270 0 0,17 72-1 0 0,-8-23-6161 0 0,-21-73 2883 0 0</inkml:trace>
  <inkml:trace contextRef="#ctx0" brushRef="#br0" timeOffset="1">99 226 1132 0 0,'-15'-25'1516'0'0,"2"5"-328"0"0,3 1-300 0 0,-3-1-91 0 0,4 3-225 0 0,0 1-32 0 0,1 3-200 0 0,-1-1 12 0 0,3 3-148 0 0,1-1-56 0 0,3 2-336 0 0,4-9-980 0 0,5 11 279 0 0,1-2-831 0 0,5-1 412 0 0</inkml:trace>
</inkml:ink>
</file>

<file path=ppt/ink/ink3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2.4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19 328 0 0,'11'12'784'0'0,"0"-1"-1"0"0,-1 2 1 0 0,0 0-1 0 0,-1 0 1 0 0,0 0-1 0 0,-1 1 1 0 0,-1 0-1 0 0,9 24 1 0 0,0 8 987 0 0,15 70 0 0 0,-22-76-1074 0 0,0 1 1 0 0,-3 0 0 0 0,-2 0-1 0 0,0 62 1 0 0,-4-100-537 0 0,0 0 1 0 0,-1 0-1 0 0,1 0 1 0 0,0 0-1 0 0,-1 0 1 0 0,0 0-1 0 0,0 0 1 0 0,0 0-1 0 0,0 0 1 0 0,0 0-1 0 0,-1 0 0 0 0,1 0 1 0 0,-1-1-1 0 0,0 1 1 0 0,0-1-1 0 0,0 1 1 0 0,-4 3-1 0 0,5-6-133 0 0,0 0-1 0 0,0 0 0 0 0,1 1 1 0 0,-1-1-1 0 0,0 0 0 0 0,0 0 1 0 0,0 0-1 0 0,0 0 0 0 0,0 0 1 0 0,0 0-1 0 0,0 0 0 0 0,0-1 1 0 0,0 1-1 0 0,1 0 0 0 0,-1 0 1 0 0,0-1-1 0 0,0 1 0 0 0,0 0 1 0 0,-1-2-1 0 0,2 2 17 0 0,-3-1 0 0 0,0 0-1 0 0,1-1 1 0 0,-1 0-1 0 0,1 1 1 0 0,0-1 0 0 0,-1 0-1 0 0,1 0 1 0 0,0 0-1 0 0,0 0 1 0 0,0 0 0 0 0,1-1-1 0 0,-1 1 1 0 0,-2-5-1 0 0,-15-35 18 0 0,18 40-59 0 0,-7-20-57 0 0,2-1 0 0 0,0 0 0 0 0,2 0 0 0 0,0-1 0 0 0,2 1 0 0 0,0-34 0 0 0,3 26-116 0 0,1 0 0 0 0,2 0-1 0 0,1 0 1 0 0,12-42-1 0 0,-9 48-72 0 0,1 1 0 0 0,1 0 0 0 0,1 0 0 0 0,0 1-1 0 0,18-23 1 0 0,-24 38 41 0 0,1-1 1 0 0,0 2-1 0 0,0-1 0 0 0,1 1 1 0 0,0 0-1 0 0,1 0 0 0 0,-1 1 1 0 0,1 0-1 0 0,1 0 0 0 0,-1 1 1 0 0,1 0-1 0 0,0 0 0 0 0,0 1 1 0 0,0 0-1 0 0,0 1 0 0 0,12-3 1 0 0,-16 5-143 0 0,0 0 0 0 0,0 0 0 0 0,0 1 0 0 0,0-1 0 0 0,0 1 0 0 0,0 1 0 0 0,0-1 1 0 0,-1 1-1 0 0,1-1 0 0 0,0 1 0 0 0,0 1 0 0 0,0-1 0 0 0,-1 1 0 0 0,1 0 0 0 0,0 0 0 0 0,-1 0 0 0 0,0 0 0 0 0,1 1 1 0 0,-1 0-1 0 0,0 0 0 0 0,6 6 0 0 0,1 4-2091 0 0</inkml:trace>
</inkml:ink>
</file>

<file path=ppt/ink/ink3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2.7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1 384 696 0 0,'-1'1'197'0'0,"-17"11"3470"0"0,-32 17-1 0 0,48-28-3381 0 0,5-2-12 0 0,13-6-133 0 0,1 2-1 0 0,0 0 1 0 0,0 2-1 0 0,1-1 1 0 0,-1 2-1 0 0,1 0 1 0 0,0 2-1 0 0,-1-1 0 0 0,1 2 1 0 0,23 4-1 0 0,-28-3-40 0 0,0 1 0 0 0,0 1 0 0 0,-1 0 0 0 0,1 1 0 0 0,-1 0 0 0 0,0 1-1 0 0,0 0 1 0 0,-1 1 0 0 0,1 0 0 0 0,-1 1 0 0 0,-1 0 0 0 0,0 1-1 0 0,0 0 1 0 0,13 15 0 0 0,-13-11 160 0 0,-1 0 1 0 0,0 1-1 0 0,-1 0 1 0 0,0 0-1 0 0,-1 0 0 0 0,0 1 1 0 0,-2 0-1 0 0,1 1 0 0 0,4 27 1 0 0,-10-42-150 0 0,1 1 0 0 0,-1 0 1 0 0,0-1-1 0 0,0 1 0 0 0,0 0 1 0 0,0-1-1 0 0,0 1 0 0 0,0-1 1 0 0,0 1-1 0 0,-1 0 0 0 0,1-1 0 0 0,0 1 1 0 0,-1-1-1 0 0,1 1 0 0 0,-1-1 1 0 0,0 1-1 0 0,0-1 0 0 0,1 1 1 0 0,-1-1-1 0 0,0 0 0 0 0,0 1 1 0 0,0-1-1 0 0,-1 0 0 0 0,1 0 1 0 0,0 0-1 0 0,0 0 0 0 0,-3 2 1 0 0,2-2 339 0 0,-2-2-51 0 0,1 0-344 0 0,0 0 1 0 0,0 0-1 0 0,1-1 0 0 0,-1 1 1 0 0,0-1-1 0 0,0 0 1 0 0,1 0-1 0 0,-1 0 0 0 0,1 0 1 0 0,-1 0-1 0 0,1 0 0 0 0,0-1 1 0 0,0 1-1 0 0,0-1 1 0 0,0 1-1 0 0,1-1 0 0 0,-1 0 1 0 0,1 0-1 0 0,-1 0 0 0 0,1 0 1 0 0,0 0-1 0 0,-1-5 0 0 0,-3-12-5 0 0,1 1-1 0 0,1-1 0 0 0,1 0 0 0 0,1 0 0 0 0,1 0 0 0 0,0 0 1 0 0,6-34-1 0 0,2 9-89 0 0,1 0-1 0 0,20-54 1 0 0,-17 63-137 0 0,2 1-1 0 0,20-36 1 0 0,-27 58-81 0 0,0 0 0 0 0,1 0 0 0 0,1 1-1 0 0,0 1 1 0 0,1-1 0 0 0,0 2 0 0 0,1-1 0 0 0,16-12 0 0 0,-23 20 10 0 0,-1 1 0 0 0,1-1 0 0 0,0 1 0 0 0,1 0 0 0 0,-1 0 0 0 0,0 0 0 0 0,0 0 0 0 0,1 1 1 0 0,-1-1-1 0 0,1 1 0 0 0,0 0 0 0 0,-1 1 0 0 0,1-1 0 0 0,0 1 0 0 0,-1 0 0 0 0,1 0 1 0 0,0 0-1 0 0,-1 1 0 0 0,1 0 0 0 0,-1 0 0 0 0,1 0 0 0 0,-1 0 0 0 0,6 3 0 0 0,-7-2-275 0 0,1 0 0 0 0,-1 0 0 0 0,0 1 1 0 0,1-1-1 0 0,-1 1 0 0 0,0 0 0 0 0,0 0 0 0 0,-1 0 0 0 0,1 0 0 0 0,2 5 0 0 0,3 6-2395 0 0</inkml:trace>
</inkml:ink>
</file>

<file path=ppt/ink/ink3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4.3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8 296 1796 0 0,'-37'15'7283'0'0,"40"-20"-6985"0"0,-3 5-292 0 0,0 0 1 0 0,0-1 0 0 0,0 1-1 0 0,0 0 1 0 0,0-1 0 0 0,0 1 0 0 0,0 0-1 0 0,0-1 1 0 0,0 1 0 0 0,0 0-1 0 0,1-1 1 0 0,-1 1 0 0 0,0 0 0 0 0,0-1-1 0 0,0 1 1 0 0,1 0 0 0 0,-1 0-1 0 0,0-1 1 0 0,0 1 0 0 0,1 0 0 0 0,-1 0-1 0 0,0-1 1 0 0,0 1 0 0 0,1 0-1 0 0,-1 0 1 0 0,0 0 0 0 0,1 0 0 0 0,-1-1-1 0 0,0 1 1 0 0,1 0 0 0 0,-1 0-1 0 0,0 0 1 0 0,1 0 0 0 0,25-9 224 0 0,0 1 0 0 0,0 1-1 0 0,38-5 1 0 0,91-4 370 0 0,-100 11-294 0 0,-43 3-147 0 0,1 0-1 0 0,0 0 0 0 0,-1-2 0 0 0,0 1 1 0 0,1-2-1 0 0,-2 1 0 0 0,1-2 0 0 0,0 1 0 0 0,10-9 1 0 0,-15 10-127 0 0,0-1 1 0 0,-1 0 0 0 0,1 0 0 0 0,-1-1 0 0 0,-1 0 0 0 0,1 0-1 0 0,-1 0 1 0 0,0 0 0 0 0,0-1 0 0 0,-1 0 0 0 0,0 0 0 0 0,0 0-1 0 0,-1-1 1 0 0,0 1 0 0 0,4-13 0 0 0,-7 19-34 0 0,0 0-1 0 0,0 0 1 0 0,1 1-1 0 0,-1-1 1 0 0,0 0-1 0 0,0 0 1 0 0,0 0 0 0 0,0 1-1 0 0,0-1 1 0 0,0 0-1 0 0,0 0 1 0 0,-1 0 0 0 0,1 0-1 0 0,0 1 1 0 0,0-1-1 0 0,-1 0 1 0 0,1 0 0 0 0,0 1-1 0 0,-1-1 1 0 0,1 0-1 0 0,0 1 1 0 0,-1-1-1 0 0,1 0 1 0 0,-1 1 0 0 0,0-1-1 0 0,1 0 1 0 0,-1 1-1 0 0,1-1 1 0 0,-1 1 0 0 0,0-1-1 0 0,1 1 1 0 0,-1 0-1 0 0,0-1 1 0 0,0 1 0 0 0,1 0-1 0 0,-1-1 1 0 0,0 1-1 0 0,0 0 1 0 0,-1-1-1 0 0,-2 1-3 0 0,0 0 0 0 0,1-1 0 0 0,-1 1 0 0 0,0 0 0 0 0,0 1 0 0 0,0-1 0 0 0,-3 2 0 0 0,-7 1-3 0 0,1 1 1 0 0,0 1-1 0 0,0 0 0 0 0,1 1 0 0 0,-1 0 0 0 0,1 1 1 0 0,0 0-1 0 0,1 1 0 0 0,-12 10 0 0 0,14-11 21 0 0,1 1 0 0 0,0 0-1 0 0,0 0 1 0 0,1 1 0 0 0,0 0-1 0 0,0 1 1 0 0,1-1 0 0 0,0 1-1 0 0,1 1 1 0 0,0-1 0 0 0,-4 13-1 0 0,7-17-39 0 0,1 0 0 0 0,0 0 0 0 0,0 1 0 0 0,0-1 0 0 0,1 0 0 0 0,0 1 0 0 0,0-1-1 0 0,1 0 1 0 0,-1 1 0 0 0,2-1 0 0 0,-1 0 0 0 0,0 0 0 0 0,1 1 0 0 0,1-1 0 0 0,-1-1 0 0 0,1 1 0 0 0,-1 0-1 0 0,2-1 1 0 0,-1 1 0 0 0,1-1 0 0 0,-1 0 0 0 0,2 0 0 0 0,-1 0 0 0 0,0-1 0 0 0,10 8 0 0 0,-9-8-205 0 0,1 0-1 0 0,0 0 1 0 0,0-1 0 0 0,0 0 0 0 0,0 0 0 0 0,0 0 0 0 0,1-1-1 0 0,-1 0 1 0 0,1 0 0 0 0,0-1 0 0 0,-1 1 0 0 0,1-1 0 0 0,0-1-1 0 0,0 0 1 0 0,0 0 0 0 0,0 0 0 0 0,-1-1 0 0 0,1 1 0 0 0,0-2-1 0 0,0 1 1 0 0,-1-1 0 0 0,1 0 0 0 0,11-6 0 0 0,-2-1-28 0 0,0-1 0 0 0,-1-1 0 0 0,-1 0 0 0 0,1-1 0 0 0,-2-1 0 0 0,23-27 0 0 0,-16 18 1459 0 0,36-31-1 0 0,-54 51-1158 0 0,-1 1-1 0 0,1-1 0 0 0,0 1 0 0 0,0 0 0 0 0,0 0 0 0 0,0 0 0 0 0,0 0 0 0 0,0 0 0 0 0,0 0 1 0 0,0 1-1 0 0,1-1 0 0 0,-1 1 0 0 0,0-1 0 0 0,0 1 0 0 0,1 0 0 0 0,-1 0 0 0 0,0 0 1 0 0,0 0-1 0 0,1 0 0 0 0,-1 0 0 0 0,0 1 0 0 0,0-1 0 0 0,1 1 0 0 0,-1 0 0 0 0,0-1 0 0 0,0 1 1 0 0,0 0-1 0 0,0 0 0 0 0,0 1 0 0 0,0-1 0 0 0,0 0 0 0 0,-1 1 0 0 0,1-1 0 0 0,0 1 1 0 0,-1-1-1 0 0,3 4 0 0 0,1 1 26 0 0,0 0 1 0 0,0 1-1 0 0,-1 0 0 0 0,0-1 1 0 0,0 1-1 0 0,-1 1 0 0 0,0-1 1 0 0,0 0-1 0 0,2 12 1 0 0,-2 1-10 0 0,-1 1 1 0 0,-1-1-1 0 0,-1 0 1 0 0,-1 1 0 0 0,0-1-1 0 0,-2 1 1 0 0,0-1-1 0 0,-1 0 1 0 0,-1 0-1 0 0,-13 31 1 0 0,25-61-141 0 0,0 1 0 0 0,0 0 0 0 0,1 0-1 0 0,12-10 1 0 0,53-48-99 0 0,-38 39 65 0 0,1 2 0 0 0,1 0 0 0 0,2 3 0 0 0,0 1 0 0 0,71-27 0 0 0,-83 38 132 0 0,-1 0 1 0 0,0-1-1 0 0,-1-2 1 0 0,0 0-1 0 0,36-29 1 0 0,-61 43-16 0 0,1 0 0 0 0,-1-1 0 0 0,1 1 1 0 0,-1 0-1 0 0,1-1 0 0 0,-1 1 0 0 0,1-1 1 0 0,-1 1-1 0 0,1-1 0 0 0,-1 1 0 0 0,0-1 1 0 0,1 1-1 0 0,-1-1 0 0 0,0 1 0 0 0,1-1 1 0 0,-1 1-1 0 0,0-1 0 0 0,0 1 0 0 0,0-1 1 0 0,1 1-1 0 0,-1-1 0 0 0,0 0 0 0 0,0 1 1 0 0,0-1-1 0 0,0 1 0 0 0,0-1 0 0 0,0 0 1 0 0,0 1-1 0 0,-1-2 0 0 0,1 1-1 0 0,-1 1 1 0 0,0-1-1 0 0,0 0 0 0 0,1 1 0 0 0,-1-1 0 0 0,0 1 0 0 0,0 0 0 0 0,0-1 1 0 0,0 1-1 0 0,0 0 0 0 0,0-1 0 0 0,0 1 0 0 0,0 0 0 0 0,0 0 0 0 0,-1 0 1 0 0,-39 0-51 0 0,41 0 51 0 0,-6 2-6 0 0,0-1 1 0 0,-1 1 0 0 0,1 0-1 0 0,0 1 1 0 0,0 0 0 0 0,0-1-1 0 0,1 2 1 0 0,-1-1-1 0 0,-4 5 1 0 0,0-2 20 0 0,9-6-14 0 0,0 1-1 0 0,0-1 0 0 0,0 1 1 0 0,0 0-1 0 0,0-1 0 0 0,0 1 1 0 0,0 0-1 0 0,0-1 1 0 0,0 1-1 0 0,1 0 0 0 0,-1 0 1 0 0,0 0-1 0 0,0 0 0 0 0,1 0 1 0 0,-1 0-1 0 0,1 0 1 0 0,-1 0-1 0 0,1 0 0 0 0,-1 0 1 0 0,1 0-1 0 0,0 0 0 0 0,-1 0 1 0 0,1 0-1 0 0,0 0 1 0 0,0 1-1 0 0,0-1 0 0 0,0 0 1 0 0,0 0-1 0 0,0 0 0 0 0,0 0 1 0 0,0 1-1 0 0,0-1 1 0 0,1 0-1 0 0,-1 0 0 0 0,0 0 1 0 0,1 0-1 0 0,0 2 0 0 0,1-1 5 0 0,-1 0 0 0 0,1 0 0 0 0,0-1-1 0 0,-1 1 1 0 0,1-1 0 0 0,0 1-1 0 0,0-1 1 0 0,0 1 0 0 0,0-1-1 0 0,0 0 1 0 0,1 0 0 0 0,-1 0-1 0 0,0 0 1 0 0,0-1 0 0 0,1 1-1 0 0,-1-1 1 0 0,5 1 0 0 0,-1 0 6 0 0,-1 0 0 0 0,1-1 0 0 0,-1 0 0 0 0,1 0 1 0 0,-1-1-1 0 0,1 1 0 0 0,-1-1 0 0 0,0 0 0 0 0,1-1 0 0 0,-1 1 0 0 0,0-1 0 0 0,9-4 1 0 0,-11 5-12 0 0,0-1 1 0 0,-1 1 0 0 0,1-1 0 0 0,-1 0 0 0 0,1 1-1 0 0,-1-1 1 0 0,0 0 0 0 0,1 0 0 0 0,-1-1 0 0 0,0 1 0 0 0,-1 0-1 0 0,1-1 1 0 0,0 1 0 0 0,-1-1 0 0 0,1 0 0 0 0,0-2-1 0 0,0-1 7 0 0,-1 1 0 0 0,0-1-1 0 0,0 1 1 0 0,-1-1 0 0 0,1 1 0 0 0,-1-7-1 0 0,-1 10-1 0 0,0 0 0 0 0,1 0 0 0 0,-1-1 0 0 0,0 1 0 0 0,0 0 0 0 0,0 0 0 0 0,0 0 0 0 0,0 0-1 0 0,-1 0 1 0 0,1 0 0 0 0,-1 1 0 0 0,1-1 0 0 0,-1 0 0 0 0,1 1 0 0 0,-4-3 0 0 0,2 1 5 0 0,-1 0 1 0 0,1 1-1 0 0,0 0 1 0 0,-1-1-1 0 0,1 1 1 0 0,-1 1-1 0 0,0-1 1 0 0,1 0-1 0 0,-1 1 0 0 0,0 0 1 0 0,0 0-1 0 0,0 0 1 0 0,0 0-1 0 0,0 1 1 0 0,0-1-1 0 0,0 1 1 0 0,0 0-1 0 0,0 1 1 0 0,0-1-1 0 0,0 0 0 0 0,-1 1 1 0 0,-4 2-1 0 0,1-1 2 0 0,0 0 39 0 0,1 0 0 0 0,-1 1 0 0 0,1 0-1 0 0,-1 0 1 0 0,1 1 0 0 0,0 0 0 0 0,0 0 0 0 0,1 1 0 0 0,0 0 0 0 0,-1 0-1 0 0,1 1 1 0 0,1-1 0 0 0,-1 1 0 0 0,1 0 0 0 0,0 1 0 0 0,1-1 0 0 0,-1 1-1 0 0,1 0 1 0 0,1 0 0 0 0,-5 11 0 0 0,7-13-27 0 0,0-1-1 0 0,0 0 1 0 0,1 0-1 0 0,-1 1 1 0 0,1-1-1 0 0,0 0 1 0 0,1 1-1 0 0,-1-1 1 0 0,1 0-1 0 0,-1 0 1 0 0,1 1-1 0 0,1-1 1 0 0,-1 0-1 0 0,0 0 1 0 0,1 0-1 0 0,0 0 1 0 0,0 0-1 0 0,0-1 1 0 0,1 1-1 0 0,-1 0 1 0 0,1-1-1 0 0,0 0 1 0 0,0 0-1 0 0,0 0 1 0 0,0 0-1 0 0,0 0 1 0 0,1 0-1 0 0,5 2 1 0 0,0 1 2 0 0,0-1 0 0 0,0 0 0 0 0,1 0-1 0 0,0-1 1 0 0,0-1 0 0 0,0 1 0 0 0,1-2 0 0 0,-1 1 0 0 0,1-2 0 0 0,-1 1 0 0 0,14-1 0 0 0,-14-1-21 0 0,-1-1 1 0 0,0 0 0 0 0,0-1-1 0 0,0 0 1 0 0,0 0-1 0 0,0-1 1 0 0,-1 0 0 0 0,1 0-1 0 0,8-6 1 0 0,-11 7 5 0 0,-2-1 0 0 0,1 0 0 0 0,0-1 0 0 0,-1 1 0 0 0,1-1 0 0 0,-1 0 0 0 0,0 0 0 0 0,0 0 0 0 0,-1-1 0 0 0,1 1 0 0 0,-1-1 0 0 0,0 0 0 0 0,0 0 0 0 0,0 0 0 0 0,-1 0 0 0 0,0 0 0 0 0,2-8 0 0 0,13-58 396 0 0,-16 69-440 0 0,0-6-67 0 0,0 5-370 0 0,-1 10 136 0 0,1-3 86 0 0,0 0-1 0 0,1 1 0 0 0,-1-1 1 0 0,1 0-1 0 0,0 0 0 0 0,0 0 0 0 0,6 6 1 0 0,-6-6-33 0 0,-1-2 156 0 0,0 0 32 0 0,0 0 0 0 0,0 0 0 0 0,1 0 0 0 0,-1 0 0 0 0,0 0 0 0 0,1 0 0 0 0,-1-1 0 0 0,1 1 0 0 0,0 0 1 0 0,0-1-1 0 0,-1 1 0 0 0,1-1 0 0 0,0 0 0 0 0,0 1 0 0 0,1-1 0 0 0,-1 0 0 0 0,0 0 0 0 0,0-1 0 0 0,0 1 0 0 0,1 0 0 0 0,-1-1 0 0 0,0 1 0 0 0,4-1 0 0 0,-1-1 169 0 0,1-1 1 0 0,0 1-1 0 0,0-1 0 0 0,-1-1 1 0 0,1 1-1 0 0,-1-1 0 0 0,0 0 0 0 0,1 0 1 0 0,-1 0-1 0 0,6-7 0 0 0,7-6 910 0 0,-9 7-326 0 0,1 0 0 0 0,14-9 0 0 0,-22 16-422 0 0,18 7 150 0 0,-19-5-372 0 0,-1 1-1 0 0,1-1 1 0 0,0 0-1 0 0,-1 1 1 0 0,1-1-1 0 0,-1 0 1 0 0,1 1 0 0 0,-1-1-1 0 0,1 1 1 0 0,-1-1-1 0 0,1 1 1 0 0,-1-1-1 0 0,0 1 1 0 0,1 0-1 0 0,-1-1 1 0 0,0 1-1 0 0,1-1 1 0 0,-1 1 0 0 0,0 0-1 0 0,0-1 1 0 0,1 1-1 0 0,-1 0 1 0 0,0-1-1 0 0,0 2 1 0 0,0-1 38 0 0,9 23 505 0 0,-2 0-1 0 0,8 38 1 0 0,-12-44-428 0 0,1 0 0 0 0,1 0 0 0 0,0 0 0 0 0,1 0 0 0 0,1-1 0 0 0,11 18 0 0 0,-18-34-115 0 0,1 0 1 0 0,0 0-1 0 0,0 0 1 0 0,0 1-1 0 0,0-1 1 0 0,0 0-1 0 0,0 0 1 0 0,0 0-1 0 0,0 0 1 0 0,0 0-1 0 0,0-1 1 0 0,1 1-1 0 0,-1 0 1 0 0,0-1-1 0 0,1 1 1 0 0,-1 0-1 0 0,0-1 1 0 0,1 0-1 0 0,-1 1 1 0 0,1-1-1 0 0,-1 0 0 0 0,2 1 1 0 0,0-2-21 0 0,0 1 0 0 0,0 0 0 0 0,0-1-1 0 0,0 0 1 0 0,0 0 0 0 0,0 0 0 0 0,-1 0 0 0 0,1 0 0 0 0,0 0 0 0 0,3-3-1 0 0,4-3-122 0 0,-1 0 0 0 0,-1 0 0 0 0,1-1 0 0 0,12-14 0 0 0,17-30-292 0 0,-29 37 272 0 0,1 1 1 0 0,1 1 0 0 0,15-16 0 0 0,-25 28 138 0 0,0 0 0 0 0,0 0 0 0 0,1 1 0 0 0,-1-1 0 0 0,0 0 0 0 0,1 0 0 0 0,-1 1 0 0 0,1-1 1 0 0,-1 1-1 0 0,1-1 0 0 0,-1 1 0 0 0,1 0 0 0 0,-1 0 0 0 0,1 0 0 0 0,0 0 0 0 0,-1 0 0 0 0,1 0 0 0 0,-1 0 1 0 0,1 0-1 0 0,-1 0 0 0 0,1 1 0 0 0,-1-1 0 0 0,1 1 0 0 0,-1-1 0 0 0,1 1 0 0 0,-1-1 0 0 0,1 1 1 0 0,-1 0-1 0 0,0 0 0 0 0,1 0 0 0 0,-1 0 0 0 0,2 1 0 0 0,5 6 61 0 0,1-1 0 0 0,-1 1 0 0 0,11 15 0 0 0,-3-4 134 0 0,-13-16-147 0 0,0 0 1 0 0,1-1 0 0 0,-1 1 0 0 0,0-1-1 0 0,1 1 1 0 0,0-1 0 0 0,0 0 0 0 0,6 2-1 0 0,-7-3 16 0 0,1-1-15 0 0,0 0-37 0 0,-1-1 1 0 0,0 1-1 0 0,0-1 1 0 0,0 0-1 0 0,0 0 0 0 0,0 0 1 0 0,0 0-1 0 0,0 0 1 0 0,0 0-1 0 0,0-1 1 0 0,0 0-1 0 0,-1 1 0 0 0,1-1 1 0 0,-1 0-1 0 0,1 0 1 0 0,-1-1-1 0 0,0 1 0 0 0,0 0 1 0 0,0-1-1 0 0,0 1 1 0 0,0-1-1 0 0,0 0 1 0 0,2-5-1 0 0,3-15-57 0 0,0-1-1 0 0,-2 0 1 0 0,0 0-1 0 0,-2 0 1 0 0,1-37-1 0 0,8-53 1586 0 0,-6 75 303 0 0,-6 66-758 0 0,3 32-469 0 0,3 1 0 0 0,14 61 1 0 0,-3-21-2731 0 0,-7 0-3688 0 0,-9-81 1871 0 0,3-3-1852 0 0</inkml:trace>
</inkml:ink>
</file>

<file path=ppt/ink/ink3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4.7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105 164 0 0,'-5'-10'2080'0'0,"3"1"-452"0"0,-2-1 509 0 0,4-8-813 0 0,2 1-500 0 0,7 3-276 0 0,6 3-392 0 0,4 3-528 0 0,7 2-1500 0 0,0 4-2341 0 0</inkml:trace>
</inkml:ink>
</file>

<file path=ppt/ink/ink3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5.9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2 61 1220 0 0,'-1'-7'814'0'0,"-7"-23"1457"0"0,8 28-2179 0 0,-1 1 0 0 0,1-1 1 0 0,-1 1-1 0 0,0 0 0 0 0,1 0 0 0 0,-1-1 0 0 0,0 1 0 0 0,0 0 0 0 0,0 0 0 0 0,0 0 0 0 0,0 0 0 0 0,0 0 0 0 0,0 0 0 0 0,0 0 0 0 0,0 1 0 0 0,0-1 0 0 0,-1 0 0 0 0,1 0 0 0 0,0 1 0 0 0,-2-1 0 0 0,-4 0 87 0 0,-1 0 1 0 0,1 1-1 0 0,0 0 0 0 0,-1 1 1 0 0,1-1-1 0 0,0 1 0 0 0,-1 1 1 0 0,1-1-1 0 0,0 1 1 0 0,0 1-1 0 0,0-1 0 0 0,0 1 1 0 0,1 0-1 0 0,-1 1 0 0 0,1-1 1 0 0,-10 9-1 0 0,-3 1 189 0 0,0 2 0 0 0,2 1-1 0 0,-1 0 1 0 0,-15 20 0 0 0,26-28-222 0 0,1 1-1 0 0,0 0 1 0 0,0 1 0 0 0,1-1 0 0 0,0 1 0 0 0,0 0 0 0 0,-5 20 0 0 0,8-26-60 0 0,1 0 1 0 0,0 1 0 0 0,0-1-1 0 0,1 0 1 0 0,-1 1 0 0 0,1-1-1 0 0,0 1 1 0 0,0-1-1 0 0,0 1 1 0 0,1-1 0 0 0,0 1-1 0 0,-1-1 1 0 0,2 1 0 0 0,-1-1-1 0 0,0 0 1 0 0,1 0-1 0 0,0 0 1 0 0,0 0 0 0 0,0 0-1 0 0,6 7 1 0 0,-7-10-58 0 0,0 0 0 0 0,0 0-1 0 0,1 0 1 0 0,-1 0 0 0 0,1 0 0 0 0,-1 0 0 0 0,1-1-1 0 0,-1 1 1 0 0,1-1 0 0 0,0 1 0 0 0,-1-1 0 0 0,1 0 0 0 0,-1 1-1 0 0,1-1 1 0 0,0 0 0 0 0,-1 0 0 0 0,1 0 0 0 0,0 0-1 0 0,-1-1 1 0 0,4 0 0 0 0,-1 1 8 0 0,0-1 0 0 0,0 0 0 0 0,0-1 0 0 0,0 1 1 0 0,0-1-1 0 0,7-4 0 0 0,1-3-15 0 0,-1 0 0 0 0,0-2 1 0 0,-1 1-1 0 0,0-1 0 0 0,0-1 1 0 0,-1 0-1 0 0,-1 0 0 0 0,10-19 1 0 0,-6 11-95 0 0,1 1 0 0 0,15-18 0 0 0,-28 36 64 0 0,0 0 0 0 0,1 1-1 0 0,-1-1 1 0 0,1 1 0 0 0,-1-1 0 0 0,0 1-1 0 0,1 0 1 0 0,-1-1 0 0 0,1 1 0 0 0,-1-1-1 0 0,1 1 1 0 0,-1 0 0 0 0,1-1 0 0 0,0 1 0 0 0,-1 0-1 0 0,1 0 1 0 0,-1-1 0 0 0,1 1 0 0 0,0 0-1 0 0,-1 0 1 0 0,1 0 0 0 0,0 0 0 0 0,-1 0-1 0 0,2 0 1 0 0,-1 0 6 0 0,-1 1 0 0 0,1-1 1 0 0,-1 1-1 0 0,1-1 0 0 0,-1 1 0 0 0,1-1 0 0 0,-1 1 0 0 0,0-1 0 0 0,1 1 0 0 0,-1 0 0 0 0,0-1 0 0 0,1 1 0 0 0,-1-1 1 0 0,0 1-1 0 0,0 0 0 0 0,0-1 0 0 0,0 1 0 0 0,0 0 0 0 0,1 0 0 0 0,-1 46 208 0 0,0-37-109 0 0,13 317 2268 0 0,-4-238-1117 0 0,35 145-1 0 0,-44-232-1169 0 0,1-1 0 0 0,-1 0 0 0 0,0 0 0 0 0,1 0 0 0 0,-1 0 1 0 0,0 0-1 0 0,1 0 0 0 0,0 0 0 0 0,-1 0 0 0 0,1 0 0 0 0,-1 0 0 0 0,1 0 0 0 0,0 0 0 0 0,1 1 0 0 0,-1-2-53 0 0,-1 0 1 0 0,1 0-1 0 0,-1 1 1 0 0,1-1-1 0 0,-1 0 1 0 0,1 0-1 0 0,-1 0 0 0 0,1 0 1 0 0,-1 0-1 0 0,1 0 1 0 0,-1 0-1 0 0,1 0 0 0 0,0 0 1 0 0,-1 0-1 0 0,1 0 1 0 0,-1 0-1 0 0,1 0 0 0 0,-1 0 1 0 0,1 0-1 0 0,-1-1 1 0 0,1 1-1 0 0,0 0 0 0 0,1-2-9 0 0,0 1 0 0 0,0-1-1 0 0,0 1 1 0 0,-1-1 0 0 0,1 0-1 0 0,0 0 1 0 0,-1 0-1 0 0,1 0 1 0 0,-1 0 0 0 0,0 0-1 0 0,3-5 1 0 0,5-16-227 0 0,-1-1 1 0 0,-1 0-1 0 0,7-35 1 0 0,4-80-397 0 0,-10 70 356 0 0,5-46-152 0 0,6-47-458 0 0,-18 159 795 0 0,10 49-4 0 0,-8-36 78 0 0,0-1 0 0 0,0 1 0 0 0,1-1 0 0 0,1 1 1 0 0,-1-1-1 0 0,2 0 0 0 0,-1-1 0 0 0,1 1 0 0 0,0-1 1 0 0,1 0-1 0 0,0-1 0 0 0,14 13 0 0 0,-16-16-3 0 0,0 0 0 0 0,1-1 0 0 0,-1 1 0 0 0,1-1 0 0 0,0 0 0 0 0,0 0 0 0 0,0-1 0 0 0,0 1 0 0 0,1-1 0 0 0,-1-1-1 0 0,1 1 1 0 0,-1-1 0 0 0,1 0 0 0 0,-1-1 0 0 0,1 0 0 0 0,-1 0 0 0 0,1 0 0 0 0,0-1 0 0 0,-1 0 0 0 0,13-3 0 0 0,-6-1-72 0 0,0 0 1 0 0,-1 0-1 0 0,1-1 1 0 0,-1-1 0 0 0,-1 0-1 0 0,1-1 1 0 0,-1 0-1 0 0,-1-1 1 0 0,0 0-1 0 0,0-1 1 0 0,10-11 0 0 0,-9 6-39 0 0,0 0 1 0 0,-1 0 0 0 0,-1-1-1 0 0,0 0 1 0 0,-1-1 0 0 0,-1 0 0 0 0,9-29-1 0 0,-16 45 98 0 0,0 0-1 0 0,0 0 1 0 0,1 0 0 0 0,-1 0-1 0 0,0 0 1 0 0,0 0-1 0 0,0 0 1 0 0,0 0-1 0 0,0 1 1 0 0,0-1-1 0 0,0 0 1 0 0,0 0 0 0 0,-1 0-1 0 0,1 0 1 0 0,-1-1-1 0 0,1-1-13 0 0,-1 2 16 0 0,1 1 0 0 0,0-1 1 0 0,-1 0-1 0 0,1 1 0 0 0,-1-1 0 0 0,1 0 0 0 0,-1 1 0 0 0,1-1 0 0 0,-1 1 0 0 0,1-1 0 0 0,-1 0 1 0 0,1 1-1 0 0,-1 0 0 0 0,0-1 0 0 0,1 1 0 0 0,-1-1 0 0 0,0 1 0 0 0,1 0 0 0 0,-1-1 0 0 0,0 1 1 0 0,0 0-1 0 0,1 0 0 0 0,-1 0 0 0 0,0 0 0 0 0,0-1 0 0 0,1 1 0 0 0,-1 0 0 0 0,0 0 0 0 0,0 0 1 0 0,1 1-1 0 0,-1-1 0 0 0,0 0 0 0 0,0 0 0 0 0,0 0 0 0 0,-26 6-66 0 0,21-3 86 0 0,1-1 0 0 0,-1 1 0 0 0,1 0 0 0 0,0 1 0 0 0,1-1 0 0 0,-1 1 0 0 0,0 0 0 0 0,1 0 0 0 0,0 0 0 0 0,0 1 0 0 0,0-1 0 0 0,1 1 0 0 0,-1 0 0 0 0,1 0 0 0 0,0 0 1 0 0,1 1-1 0 0,-1-1 0 0 0,1 1 0 0 0,0-1 0 0 0,0 1 0 0 0,-1 9 0 0 0,2-9 3 0 0,1-1 0 0 0,-1 0 1 0 0,1 1-1 0 0,0-1 0 0 0,0 1 1 0 0,1-1-1 0 0,-1 1 0 0 0,1-1 0 0 0,0 0 1 0 0,1 1-1 0 0,-1-1 0 0 0,1 0 1 0 0,0 0-1 0 0,1 0 0 0 0,-1 0 1 0 0,1-1-1 0 0,0 1 0 0 0,0-1 1 0 0,0 1-1 0 0,1-1 0 0 0,-1 0 1 0 0,1 0-1 0 0,8 6 0 0 0,-5-5-5 0 0,1-1 0 0 0,1 1 0 0 0,-1-1-1 0 0,1-1 1 0 0,-1 1 0 0 0,1-1 0 0 0,0-1-1 0 0,0 0 1 0 0,1 0 0 0 0,-1-1 0 0 0,0 0 0 0 0,0 0-1 0 0,1-1 1 0 0,-1-1 0 0 0,0 1 0 0 0,1-1-1 0 0,-1-1 1 0 0,0 0 0 0 0,0 0 0 0 0,0-1 0 0 0,17-7-1 0 0,-16 5-46 0 0,1 0 0 0 0,-1 0 0 0 0,0-1 0 0 0,0-1-1 0 0,-1 0 1 0 0,0 0 0 0 0,0 0 0 0 0,-1-1 0 0 0,0-1 0 0 0,0 1-1 0 0,-1-1 1 0 0,0-1 0 0 0,0 1 0 0 0,-1-1 0 0 0,-1 0 0 0 0,1-1-1 0 0,4-14 1 0 0,-4 6-34 0 0,-1 1-1 0 0,3-22 1 0 0,-7 35 46 0 0,-1 0-1 0 0,0-1 1 0 0,1 1 0 0 0,-2 0 0 0 0,1-1-1 0 0,-1 1 1 0 0,1 0 0 0 0,-1 0 0 0 0,-1-1-1 0 0,1 1 1 0 0,-1 0 0 0 0,-3-7 0 0 0,4 11 17 0 0,1 0 0 0 0,-1 0 1 0 0,1 1-1 0 0,-1-1 0 0 0,0 0 0 0 0,1 0 1 0 0,-1 1-1 0 0,0-1 0 0 0,0 0 1 0 0,1 1-1 0 0,-1-1 0 0 0,0 1 1 0 0,0-1-1 0 0,0 1 0 0 0,0-1 1 0 0,0 1-1 0 0,0 0 0 0 0,0 0 1 0 0,0-1-1 0 0,0 1 0 0 0,0 0 1 0 0,0 0-1 0 0,0 0 0 0 0,0 0 1 0 0,0 0-1 0 0,0 0 0 0 0,0 0 1 0 0,0 0-1 0 0,0 0 0 0 0,1 1 0 0 0,-1-1 1 0 0,0 0-1 0 0,0 0 0 0 0,0 1 1 0 0,0-1-1 0 0,-1 2 0 0 0,-1-1-3 0 0,-1 1-1 0 0,2 0 0 0 0,-1 0 1 0 0,0 0-1 0 0,0 0 0 0 0,1 1 1 0 0,-4 2-1 0 0,4-2 9 0 0,1 0-1 0 0,-1 0 1 0 0,1 0 0 0 0,0 1 0 0 0,0-1 0 0 0,0 0-1 0 0,0 0 1 0 0,1 1 0 0 0,-1-1 0 0 0,1 0 0 0 0,0 1-1 0 0,0-1 1 0 0,0 1 0 0 0,0-1 0 0 0,1 0-1 0 0,-1 1 1 0 0,1-1 0 0 0,0 0 0 0 0,0 0 0 0 0,0 1-1 0 0,3 4 1 0 0,1 3 9 0 0,0-1-1 0 0,1 1 1 0 0,0-1-1 0 0,0-1 0 0 0,9 10 1 0 0,147 143 74 0 0,-129-130 418 0 0,-32-30-392 0 0,-3 0-75 0 0,0-1-146 0 0,-1 1 0 0 0,0 0-1 0 0,0-1 1 0 0,0 0 0 0 0,0 0-1 0 0,0 0 1 0 0,0 0 0 0 0,0 0 0 0 0,0 0-1 0 0,0-1 1 0 0,0 0 0 0 0,0 1-1 0 0,0-1 1 0 0,0 0 0 0 0,-4-1 0 0 0,-48-8-3593 0 0,53 8 3411 0 0,0 1 0 0 0,0-1 0 0 0,0 0-1 0 0,0 0 1 0 0,0 0 0 0 0,1 0 0 0 0,-1 0 0 0 0,0 0 0 0 0,1 0 0 0 0,-1 0-1 0 0,1-1 1 0 0,-1 1 0 0 0,1-1 0 0 0,0 1 0 0 0,-1-1 0 0 0,1 1 0 0 0,0-1-1 0 0,0 0 1 0 0,0 0 0 0 0,0 1 0 0 0,-1-5 0 0 0,-1-6-2722 0 0</inkml:trace>
</inkml:ink>
</file>

<file path=ppt/ink/ink3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6.3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5 948 0 0,'10'-10'1957'0'0,"0"-1"0"0"0,15-10 0 0 0,-24 20-1869 0 0,0 1 1 0 0,0 0 0 0 0,0-1 0 0 0,0 1 0 0 0,-1 0-1 0 0,1 0 1 0 0,0 0 0 0 0,0 0 0 0 0,0 0-1 0 0,0 0 1 0 0,0 0 0 0 0,0 0 0 0 0,0 0 0 0 0,-1 0-1 0 0,1 0 1 0 0,0 0 0 0 0,0 1 0 0 0,0-1 0 0 0,0 0-1 0 0,0 0 1 0 0,-1 1 0 0 0,1-1 0 0 0,0 1-1 0 0,0-1 1 0 0,-1 1 0 0 0,1-1 0 0 0,0 1 0 0 0,-1 0-1 0 0,2 0 1 0 0,16 19 897 0 0,0 16-206 0 0,-1 1 1 0 0,19 56 0 0 0,-10-22-465 0 0,-16-42-611 0 0,-1 1 0 0 0,7 37 1 0 0,-2 17-5137 0 0,-12-69 3632 0 0</inkml:trace>
</inkml:ink>
</file>

<file path=ppt/ink/ink3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6.6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552 984 0 0,'-4'-3'552'0'0,"-17"-16"2751"0"0,20 18-3217 0 0,0 1 0 0 0,1-1 0 0 0,-1 0 1 0 0,1 1-1 0 0,-1-1 0 0 0,1 0 0 0 0,0 0 1 0 0,-1 1-1 0 0,1-1 0 0 0,0 0 0 0 0,-1 0 1 0 0,1 0-1 0 0,0 1 0 0 0,0-1 0 0 0,0 0 0 0 0,0 0 1 0 0,-1 0-1 0 0,1 0 0 0 0,1 0 0 0 0,-1 1 1 0 0,0-1-1 0 0,0 0 0 0 0,0 0 0 0 0,0 0 1 0 0,1 0-1 0 0,-1 1 0 0 0,0-1 0 0 0,1 0 1 0 0,-1 0-1 0 0,1-1 0 0 0,6-6 247 0 0,1 0 1 0 0,0 1-1 0 0,0 0 1 0 0,0 0-1 0 0,1 1 0 0 0,0-1 1 0 0,0 2-1 0 0,0 0 0 0 0,1 0 1 0 0,16-6-1 0 0,-1 3 337 0 0,-1 0 0 0 0,2 2 0 0 0,36-5 0 0 0,-51 10-436 0 0,0 0 0 0 0,0 0 1 0 0,0 1-1 0 0,0 1 0 0 0,-1 0 0 0 0,1 1 0 0 0,0 0 0 0 0,0 0 0 0 0,-1 1 0 0 0,17 7 0 0 0,-20-7-190 0 0,-1 0 1 0 0,0 1-1 0 0,0-1 0 0 0,0 1 1 0 0,0 1-1 0 0,-1-1 0 0 0,0 1 0 0 0,0 0 1 0 0,0 0-1 0 0,-1 1 0 0 0,1-1 0 0 0,-1 1 1 0 0,0 0-1 0 0,-1 0 0 0 0,0 0 0 0 0,0 1 1 0 0,3 8-1 0 0,-3-2-781 0 0,0-1-1 0 0,-1 1 1 0 0,1 25-1 0 0,4 18-7567 0 0</inkml:trace>
  <inkml:trace contextRef="#ctx0" brushRef="#br0" timeOffset="1">561 183 800 0 0,'-4'-20'3063'0'0,"-1"0"0"0"0,-12-33 1 0 0,14 46-2690 0 0,-1 1 0 0 0,1-1 0 0 0,-1 1 0 0 0,0-1 0 0 0,0 1 0 0 0,-1 0 0 0 0,0 0 0 0 0,0 1 0 0 0,0 0 0 0 0,-11-8 0 0 0,15 11-452 0 0,-1 1 1 0 0,0-1-1 0 0,0 1 0 0 0,0 0 0 0 0,0-1 1 0 0,0 1-1 0 0,0 0 0 0 0,0 0 0 0 0,-1 0 1 0 0,1 1-1 0 0,0-1 0 0 0,0 0 1 0 0,-1 1-1 0 0,1 0 0 0 0,-1-1 0 0 0,1 1 1 0 0,0 0-1 0 0,-1 0 0 0 0,1 0 1 0 0,0 1-1 0 0,-1-1 0 0 0,1 0 0 0 0,0 1 1 0 0,-1 0-1 0 0,1-1 0 0 0,0 1 0 0 0,-4 2 1 0 0,6-3-36 0 0,-1 1 0 0 0,1-1 0 0 0,-1 0 1 0 0,0 1-1 0 0,1-1 0 0 0,-1 0 0 0 0,1 1 0 0 0,0-1 1 0 0,-1 1-1 0 0,1-1 0 0 0,-1 1 0 0 0,1-1 0 0 0,0 1 1 0 0,-1-1-1 0 0,1 1 0 0 0,0-1 0 0 0,-1 1 0 0 0,1 1 1 0 0,-1 18-7269 0 0</inkml:trace>
</inkml:ink>
</file>

<file path=ppt/ink/ink3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7.0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924 0 0,'3'14'2048'0'0,"-1"-1"0"0"0,2 24 0 0 0,-4-29-1637 0 0,0-1 0 0 0,1 1 0 0 0,0 0 0 0 0,0 0 0 0 0,0-1 0 0 0,1 1 0 0 0,1-1-1 0 0,-1 0 1 0 0,1 1 0 0 0,0-1 0 0 0,1 0 0 0 0,7 11 0 0 0,-5-12-169 0 0,0 0 0 0 0,0 0-1 0 0,0-1 1 0 0,1 0 0 0 0,0-1 0 0 0,0 1 0 0 0,0-1 0 0 0,0-1 0 0 0,10 4 0 0 0,-14-6-144 0 0,-1 0 1 0 0,1 0-1 0 0,0-1 0 0 0,-1 1 1 0 0,1-1-1 0 0,0 0 1 0 0,-1 0-1 0 0,1 0 1 0 0,0 0-1 0 0,0 0 0 0 0,2-1 1 0 0,0 0 32 0 0,-5 1-115 0 0,1 0-1 0 0,0 0 1 0 0,0 0 0 0 0,0-1 0 0 0,0 1 0 0 0,0 0 0 0 0,-1-1-1 0 0,1 1 1 0 0,0-1 0 0 0,0 1 0 0 0,-1-1 0 0 0,1 1-1 0 0,0-1 1 0 0,-1 0 0 0 0,1 1 0 0 0,0-1 0 0 0,-1 0 0 0 0,1 1-1 0 0,-1-1 1 0 0,1 0 0 0 0,-1 0 0 0 0,0 1 0 0 0,1-1-1 0 0,-1 0 1 0 0,0 0 0 0 0,1 0 0 0 0,-1 0 0 0 0,0 1 0 0 0,0-1-1 0 0,0 0 1 0 0,0 0 0 0 0,0 0 0 0 0,0 0 0 0 0,0-1-1 0 0,0-1-42 0 0,0-1-1 0 0,-1 1 1 0 0,1 0-1 0 0,-1 0 1 0 0,1 0-1 0 0,-1 0 1 0 0,-2-5-1 0 0,-4-3-641 0 0,-1 0 0 0 0,0 0-1 0 0,0 1 1 0 0,-1 0 0 0 0,-1 1-1 0 0,-16-14 1 0 0,13 11-550 0 0,-2-9-1687 0 0,14 20 2814 0 0,1 0 1 0 0,0 1 0 0 0,-1-1-1 0 0,1 0 1 0 0,0 0 0 0 0,-1 1-1 0 0,1-1 1 0 0,0 0 0 0 0,0 0 0 0 0,-1 1-1 0 0,1-1 1 0 0,0 0 0 0 0,0 0-1 0 0,0 1 1 0 0,0-1 0 0 0,0 0-1 0 0,0 0 1 0 0,1 1 0 0 0,-1-1 0 0 0,0 0-1 0 0,0 0 1 0 0,0 1 0 0 0,1-1-1 0 0,-1 0 1 0 0,0 0 0 0 0,1 1-1 0 0,-1-1 1 0 0,2-1 0 0 0,3-1 82 0 0,0 0 0 0 0,0 0 1 0 0,1 0-1 0 0,0 1 0 0 0,-1 0 1 0 0,1 0-1 0 0,0 0 0 0 0,0 1 0 0 0,0 0 1 0 0,0 0-1 0 0,1 1 0 0 0,-1-1 1 0 0,0 1-1 0 0,0 1 0 0 0,10 1 0 0 0,-5-1 333 0 0,0 1 0 0 0,0 0 0 0 0,0 1-1 0 0,0 1 1 0 0,-1-1 0 0 0,1 2 0 0 0,-1-1-1 0 0,0 2 1 0 0,-1-1 0 0 0,12 9 0 0 0,-8-4 258 0 0,0 2 1 0 0,0 0 0 0 0,-1 0-1 0 0,0 1 1 0 0,15 24 0 0 0,-26-36-398 0 0,0 0 0 0 0,0 1 0 0 0,-1-1 0 0 0,1 0 0 0 0,-1 1 0 0 0,1-1 0 0 0,-1 1 0 0 0,1-1 0 0 0,-1 1 0 0 0,0-1 0 0 0,2 5 1780 0 0,2-16-1905 0 0,-2 6-75 0 0,1-1-1 0 0,0 1 1 0 0,1-1 0 0 0,-1 1-1 0 0,1 0 1 0 0,-1 0-1 0 0,1 1 1 0 0,1-1 0 0 0,-1 1-1 0 0,0 0 1 0 0,1 0 0 0 0,0 0-1 0 0,-1 0 1 0 0,1 1-1 0 0,0 0 1 0 0,0 0 0 0 0,1 0-1 0 0,-1 1 1 0 0,0 0 0 0 0,0 0-1 0 0,1 0 1 0 0,-1 1-1 0 0,1-1 1 0 0,-1 1 0 0 0,0 1-1 0 0,1-1 1 0 0,-1 1 0 0 0,1 0-1 0 0,9 3 1 0 0,-10-3-308 0 0,0 1 0 0 0,0 1 0 0 0,-1-1 1 0 0,1 1-1 0 0,-1-1 0 0 0,0 1 0 0 0,1 1 0 0 0,-1-1 0 0 0,-1 0 1 0 0,1 1-1 0 0,0 0 0 0 0,-1 0 0 0 0,0 0 0 0 0,0 0 1 0 0,0 1-1 0 0,3 6 0 0 0,6 7-4358 0 0</inkml:trace>
</inkml:ink>
</file>

<file path=ppt/ink/ink3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7.4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55 2424 0 0,'13'-8'3585'0'0,"0"2"-1237"0"0,0-4-740 0 0,6 2-624 0 0,5-1-632 0 0,-9 7-48 0 0,2-2-64 0 0,2 2-164 0 0,-1-2-264 0 0,1 2-272 0 0,3 2-396 0 0,1 0-368 0 0,-5 0-1700 0 0</inkml:trace>
  <inkml:trace contextRef="#ctx0" brushRef="#br0" timeOffset="1">175 218 1188 0 0,'-8'5'3176'0'0,"-3"5"1033"0"0,35-12-4453 0 0,0-6-1084 0 0,-9 3 344 0 0,2-3-909 0 0,0-2 173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3.7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5 10 1124 0 0,'3'-9'6993'0'0,"-3"9"-6929"0"0,-6 1 158 0 0,0 1 0 0 0,1 0 0 0 0,-1 0 0 0 0,1 1 0 0 0,-1-1 0 0 0,1 1 0 0 0,0 0 0 0 0,0 1 0 0 0,0-1 0 0 0,0 1 1 0 0,1 0-1 0 0,0 0 0 0 0,-1 0 0 0 0,1 1 0 0 0,1 0 0 0 0,-1-1 0 0 0,-3 8 0 0 0,5-8-127 0 0,-1 1 0 0 0,1 0-1 0 0,0-1 1 0 0,0 1 0 0 0,1 0 0 0 0,-1 0 0 0 0,1 0 0 0 0,0 1-1 0 0,1-1 1 0 0,-1 0 0 0 0,1 0 0 0 0,0 0 0 0 0,0 1 0 0 0,0-1-1 0 0,1 0 1 0 0,0 0 0 0 0,0 0 0 0 0,1 0 0 0 0,-1 0-1 0 0,4 8 1 0 0,-2-7-11 0 0,1 0 0 0 0,0-1 0 0 0,0 1 0 0 0,0-1 0 0 0,0 1-1 0 0,1-1 1 0 0,0-1 0 0 0,0 1 0 0 0,0-1 0 0 0,1 0 0 0 0,0 0 0 0 0,-1 0-1 0 0,1-1 1 0 0,1 0 0 0 0,-1 0 0 0 0,0 0 0 0 0,10 2 0 0 0,-12-5-45 0 0,0 1 0 0 0,0-1 0 0 0,0 0 0 0 0,1 0 0 0 0,-1-1 0 0 0,0 1 1 0 0,0-1-1 0 0,0 0 0 0 0,0 0 0 0 0,0 0 0 0 0,0-1 0 0 0,0 1 0 0 0,0-1 0 0 0,-1 0 0 0 0,1 0 0 0 0,-1 0 1 0 0,1-1-1 0 0,-1 1 0 0 0,0-1 0 0 0,0 0 0 0 0,0 0 0 0 0,4-5 0 0 0,-2 0-148 0 0,0 0-1 0 0,-1 0 1 0 0,0 0 0 0 0,-1-1-1 0 0,1 1 1 0 0,-2-1 0 0 0,1 0-1 0 0,-1 0 1 0 0,-1 0-1 0 0,0 0 1 0 0,0 0 0 0 0,-1 0-1 0 0,0 0 1 0 0,0 0 0 0 0,-1 0-1 0 0,0 0 1 0 0,-1 0-1 0 0,0 0 1 0 0,-4-11 0 0 0,5 18-123 0 0,0 0 1 0 0,0 0-1 0 0,0 1 1 0 0,-1-1-1 0 0,1 0 0 0 0,-1 1 1 0 0,1-1-1 0 0,-1 1 1 0 0,0 0-1 0 0,1-1 1 0 0,-1 1-1 0 0,0 0 1 0 0,0 0-1 0 0,0 0 1 0 0,0 0-1 0 0,0 1 1 0 0,0-1-1 0 0,-4-1 0 0 0,-32-1-4681 0 0,37 3 4847 0 0</inkml:trace>
</inkml:ink>
</file>

<file path=ppt/ink/ink3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07.8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78 1384 0 0,'0'-3'1518'0'0,"4"-11"817"0"0,1 0 1 0 0,1 0 0 0 0,7-14-1 0 0,-13 27-2312 0 0,1 1 0 0 0,-1-1 0 0 0,1 1 0 0 0,0 0 0 0 0,-1-1 0 0 0,1 1 0 0 0,0 0 0 0 0,-1 0-1 0 0,1-1 1 0 0,0 1 0 0 0,0 0 0 0 0,-1 0 0 0 0,1 0 0 0 0,0 0 0 0 0,0 0 0 0 0,-1 0 0 0 0,1 0-1 0 0,0 0 1 0 0,0 0 0 0 0,-1 0 0 0 0,1 1 0 0 0,0-1 0 0 0,-1 0 0 0 0,1 0 0 0 0,0 1 0 0 0,-1-1-1 0 0,1 1 1 0 0,0-1 0 0 0,-1 0 0 0 0,2 1 0 0 0,18 12 288 0 0,-16-9-274 0 0,0 1 0 0 0,0-1 0 0 0,0 1 0 0 0,0 0 0 0 0,-1 0 0 0 0,1 1 0 0 0,-1-1 1 0 0,-1 1-1 0 0,1-1 0 0 0,-1 1 0 0 0,0 0 0 0 0,0 0 0 0 0,-1 0 0 0 0,0 0 0 0 0,0 0 0 0 0,0 0 0 0 0,-1 1 0 0 0,0 10 0 0 0,-1-4-502 0 0,0-1-1 0 0,-1 0 1 0 0,-4 14-1 0 0,-14 31-6566 0 0</inkml:trace>
</inkml:ink>
</file>

<file path=ppt/ink/ink3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17.3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3 0 1288 0 0,'-3'1'1210'0'0,"-8"1"-352"0"0,0 0 1 0 0,0 1 0 0 0,-18 8 0 0 0,29-11-800 0 0,-1 0 1 0 0,1 1 0 0 0,-1-1 0 0 0,1 0 0 0 0,-1 1 0 0 0,1-1 0 0 0,-1 1 0 0 0,1-1 0 0 0,0 1 0 0 0,-1-1 0 0 0,1 1 0 0 0,0-1 0 0 0,-1 1 0 0 0,1-1 0 0 0,0 1-1 0 0,0-1 1 0 0,-1 1 0 0 0,1-1 0 0 0,0 1 0 0 0,0 0 0 0 0,0-1 0 0 0,0 1 0 0 0,0-1 0 0 0,0 1 0 0 0,0-1 0 0 0,0 1 0 0 0,0 0 0 0 0,0-1 0 0 0,0 1-1 0 0,0-1 1 0 0,0 1 0 0 0,0 0 0 0 0,1-1 0 0 0,-1 1 0 0 0,0-1 0 0 0,0 1 0 0 0,1-1 0 0 0,-1 1 0 0 0,0-1 0 0 0,1 1 0 0 0,-1-1 0 0 0,1 1 0 0 0,-1-1 0 0 0,1 0-1 0 0,-1 1 1 0 0,0-1 0 0 0,1 1 0 0 0,-1-1 0 0 0,1 0 0 0 0,0 0 0 0 0,-1 1 0 0 0,1-1 0 0 0,0 0 0 0 0,21 5 522 0 0,0-1 0 0 0,0-1 1 0 0,45 1-1 0 0,73-11 277 0 0,-81 3-562 0 0,74-7 178 0 0,56-1-774 0 0,-185 12 191 0 0,0 0-1 0 0,0 0 1 0 0,0 1 0 0 0,0 0 0 0 0,0-1 0 0 0,0 2-1 0 0,-1-1 1 0 0,1 0 0 0 0,0 1 0 0 0,3 2 0 0 0,-6-4 22 0 0,0 1 0 0 0,-1 0 1 0 0,1-1-1 0 0,-1 1 1 0 0,1 0-1 0 0,-1 0 0 0 0,1 0 1 0 0,-1 0-1 0 0,1-1 0 0 0,-1 1 1 0 0,1 0-1 0 0,-1 0 1 0 0,0 0-1 0 0,0 0 0 0 0,0 0 1 0 0,1 0-1 0 0,-1 0 0 0 0,0 0 1 0 0,0 0-1 0 0,0 0 0 0 0,-1 2 1 0 0,-2 21-2303 0 0,2-21 1694 0 0,-1 8-1332 0 0,0 1-218 0 0</inkml:trace>
</inkml:ink>
</file>

<file path=ppt/ink/ink3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17.8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 133 380 0 0,'-19'-89'7474'0'0,"14"63"-6080"0"0,1 9-940 0 0,4 17-449 0 0,0 0 0 0 0,0 0 0 0 0,0 0-1 0 0,0 0 1 0 0,0 0 0 0 0,0 0 0 0 0,0 0 0 0 0,0 0 0 0 0,0 0-1 0 0,0 0 1 0 0,0 0 0 0 0,0 0 0 0 0,0 1 0 0 0,0-1-1 0 0,0 0 1 0 0,0 0 0 0 0,0 0 0 0 0,0 0 0 0 0,0 0-1 0 0,0 0 1 0 0,0 0 0 0 0,0 0 0 0 0,0 0 0 0 0,0 0 0 0 0,0 1-1 0 0,0-1 1 0 0,0 0 0 0 0,0 0 0 0 0,0 0 0 0 0,0 0-1 0 0,0 0 1 0 0,0 0 0 0 0,0 0 0 0 0,0 0 0 0 0,0 0-1 0 0,0 0 1 0 0,0 1 0 0 0,0-1 0 0 0,0 0 0 0 0,0 0 0 0 0,0 0-1 0 0,0 0 1 0 0,0 0 0 0 0,-1 0 0 0 0,1 0 0 0 0,0 0-1 0 0,0 0 1 0 0,0 0 0 0 0,0 0 0 0 0,0 0 0 0 0,0 0-1 0 0,0 0 1 0 0,0 0 0 0 0,0 0 0 0 0,-1 0 0 0 0,1 0 0 0 0,0 0-1 0 0,0 0 1 0 0,0 0 0 0 0,0 0 0 0 0,0 0 0 0 0,0 0-1 0 0,0 0 1 0 0,0 0 0 0 0,0 0 0 0 0,0 0 0 0 0,-1 0-1 0 0,0 36 325 0 0,1-17-306 0 0,-2 16 108 0 0,5 49 0 0 0,0-12-272 0 0,1-7-921 0 0,0-10-3084 0 0,-3-49 2600 0 0,2 7 202 0 0</inkml:trace>
</inkml:ink>
</file>

<file path=ppt/ink/ink3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18.3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0 420 1296 0 0,'-22'-67'4684'0'0,"13"43"-4010"0"0,1 0 0 0 0,2 0 0 0 0,0-1 0 0 0,-2-26 0 0 0,7 43-653 0 0,1 1 0 0 0,0-1 1 0 0,1 0-1 0 0,0 0 0 0 0,0 1 1 0 0,0-1-1 0 0,1 1 0 0 0,0-1 1 0 0,0 1-1 0 0,1-1 0 0 0,0 1 1 0 0,1 0-1 0 0,-1 0 0 0 0,1 1 1 0 0,1-1-1 0 0,-1 1 0 0 0,10-10 1 0 0,-8 10-5 0 0,1 0 1 0 0,-1 0 0 0 0,1 0 0 0 0,1 1 0 0 0,-1 0 0 0 0,1 1 0 0 0,0-1 0 0 0,0 1 0 0 0,0 1 0 0 0,1 0 0 0 0,-1 0-1 0 0,1 1 1 0 0,0 0 0 0 0,-1 0 0 0 0,1 1 0 0 0,0 0 0 0 0,0 0 0 0 0,0 1 0 0 0,16 2 0 0 0,-13 0-2 0 0,-1 0 0 0 0,1 1 1 0 0,-1 0-1 0 0,0 0 0 0 0,0 2 1 0 0,0-1-1 0 0,0 1 0 0 0,-1 1 1 0 0,0 0-1 0 0,0 0 1 0 0,-1 1-1 0 0,1 0 0 0 0,-2 1 1 0 0,16 16-1 0 0,-21-20 9 0 0,1 0 1 0 0,-1 0-1 0 0,0 1 1 0 0,-1-1-1 0 0,1 1 1 0 0,-1 0-1 0 0,0 0 1 0 0,0 0-1 0 0,0 0 0 0 0,0 0 1 0 0,-1 0-1 0 0,0 0 1 0 0,0 0-1 0 0,-1 1 1 0 0,1-1-1 0 0,-1 0 1 0 0,-1 10-1 0 0,0-8 4 0 0,-1 0 0 0 0,0 0 0 0 0,0-1 0 0 0,0 1 0 0 0,-1-1 0 0 0,0 1 0 0 0,0-1 0 0 0,-1 0 0 0 0,1 0 0 0 0,-2 0-1 0 0,1-1 1 0 0,0 1 0 0 0,-6 4 0 0 0,-22 20-80 0 0,-61 45 0 0 0,4-14-7371 0 0</inkml:trace>
</inkml:ink>
</file>

<file path=ppt/ink/ink3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18.7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 572 0 0,'12'-1'411'0'0,"1"0"1"0"0,-1 2-1 0 0,1 0 0 0 0,-1 0 1 0 0,1 1-1 0 0,-1 0 1 0 0,0 1-1 0 0,0 1 0 0 0,0 0 1 0 0,0 0-1 0 0,0 2 0 0 0,-1-1 1 0 0,0 1-1 0 0,11 9 0 0 0,-15-11-310 0 0,-1 0-1 0 0,-1 1 0 0 0,1 0 1 0 0,-1 1-1 0 0,1-1 0 0 0,-1 1 1 0 0,-1 0-1 0 0,1 0 0 0 0,-1 0 1 0 0,-1 1-1 0 0,1 0 0 0 0,-1-1 0 0 0,0 1 1 0 0,0 0-1 0 0,-1 1 0 0 0,0-1 1 0 0,0 0-1 0 0,-1 1 0 0 0,0-1 1 0 0,0 1-1 0 0,-1-1 0 0 0,0 1 1 0 0,0-1-1 0 0,-2 12 0 0 0,2-16-45 0 0,-1 0 60 0 0,1 1 1 0 0,-1-1-1 0 0,1 1 1 0 0,-1-1-1 0 0,0 1 1 0 0,-1-1 0 0 0,1 1-1 0 0,0-1 1 0 0,-1 0-1 0 0,0 1 1 0 0,0-1-1 0 0,0 0 1 0 0,-4 4-1 0 0,4-5 148 0 0,2-2-262 0 0,-1 0-1 0 0,1 0 1 0 0,-1 0-1 0 0,1 0 1 0 0,-1 0 0 0 0,1 0-1 0 0,-1 0 1 0 0,1 0-1 0 0,0 0 1 0 0,-1 0-1 0 0,1 0 1 0 0,-1-1 0 0 0,1 1-1 0 0,-1 0 1 0 0,1 0-1 0 0,-1 0 1 0 0,1-1 0 0 0,0 1-1 0 0,-1 0 1 0 0,1-1-1 0 0,-1 1 1 0 0,1 0-1 0 0,0-1 1 0 0,0 1 0 0 0,-1 0-1 0 0,1-1 1 0 0,0 1-1 0 0,-1-1 1 0 0,1 1-1 0 0,0-1 1 0 0,0 1 0 0 0,-1-1-1 0 0,5-18-56 0 0,17-16-54 0 0,-3 13 13 0 0,25-22 1 0 0,-36 37 53 0 0,2 0 0 0 0,-1 1 0 0 0,1 0-1 0 0,0 0 1 0 0,0 1 0 0 0,11-5 0 0 0,-19 9 38 0 0,1 0 0 0 0,0 1 0 0 0,0 0 1 0 0,-1-1-1 0 0,1 1 0 0 0,0 0 0 0 0,0 0 0 0 0,-1 0 0 0 0,1 0 0 0 0,0 0 1 0 0,0 0-1 0 0,0 1 0 0 0,-1-1 0 0 0,1 0 0 0 0,0 1 0 0 0,-1 0 1 0 0,1-1-1 0 0,0 1 0 0 0,-1 0 0 0 0,1 0 0 0 0,-1 0 0 0 0,3 1 0 0 0,2 3 4 0 0,0 1-1 0 0,-1-1 1 0 0,10 13-1 0 0,4 3 185 0 0,-11-13-58 0 0,0-1 0 0 0,1 0 0 0 0,-1 0-1 0 0,2-1 1 0 0,-1 0 0 0 0,1 0 0 0 0,0-1-1 0 0,0-1 1 0 0,0 0 0 0 0,1 0 0 0 0,0-1 0 0 0,0 0-1 0 0,19 2 1 0 0,-27-5-89 0 0,0 1-1 0 0,0-1 0 0 0,0 0 1 0 0,1 0-1 0 0,-1-1 1 0 0,0 1-1 0 0,0 0 0 0 0,0-1 1 0 0,0 0-1 0 0,0 0 1 0 0,0 0-1 0 0,0 0 1 0 0,0 0-1 0 0,0-1 0 0 0,0 1 1 0 0,-1-1-1 0 0,1 0 1 0 0,-1 0-1 0 0,1 0 1 0 0,-1 0-1 0 0,0 0 0 0 0,1 0 1 0 0,-1-1-1 0 0,0 1 1 0 0,-1-1-1 0 0,1 1 0 0 0,0-1 1 0 0,-1 0-1 0 0,1 0 1 0 0,-1 0-1 0 0,0 0 1 0 0,1-3-1 0 0,-1 1-27 0 0,0 0 0 0 0,0-1 0 0 0,-1 1 0 0 0,1 0 0 0 0,-1 0 0 0 0,0 0 0 0 0,-1-1 0 0 0,1 1 0 0 0,-1 0 0 0 0,0 0 0 0 0,-1 0-1 0 0,1 0 1 0 0,-1 0 0 0 0,0 0 0 0 0,0 0 0 0 0,0 0 0 0 0,-6-7 0 0 0,4 7-136 0 0,0 0-1 0 0,0 1 1 0 0,-1 0-1 0 0,0 0 1 0 0,1 0-1 0 0,-1 1 1 0 0,0-1 0 0 0,-1 1-1 0 0,1 0 1 0 0,-1 1-1 0 0,1-1 1 0 0,-1 1-1 0 0,0 0 1 0 0,0 1-1 0 0,-9-2 1 0 0,8 2-281 0 0,0 0 1 0 0,-1 0-1 0 0,1 1 0 0 0,0 1 1 0 0,-1-1-1 0 0,1 1 0 0 0,0 0 1 0 0,0 0-1 0 0,0 1 0 0 0,0 0 1 0 0,0 1-1 0 0,-12 5 0 0 0,11 0-779 0 0,1-3-637 0 0</inkml:trace>
</inkml:ink>
</file>

<file path=ppt/ink/ink3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19.1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0 1096 0 0,'7'-3'545'0'0,"-1"1"0"0"0,0 0 0 0 0,1 1 0 0 0,-1-1 0 0 0,1 1 0 0 0,0 1 0 0 0,-1-1 0 0 0,9 1 0 0 0,-8 1-334 0 0,0 0 1 0 0,0 1-1 0 0,0 0 1 0 0,0 0 0 0 0,0 0-1 0 0,-1 1 1 0 0,1 0-1 0 0,-1 1 1 0 0,0-1-1 0 0,0 1 1 0 0,0 0-1 0 0,5 5 1 0 0,13 13 338 0 0,-1 0 0 0 0,-2 1 0 0 0,31 42-1 0 0,-31-36 1350 0 0,2-2 0 0 0,30 29 0 0 0,-51-55-1277 0 0,2-2 56 0 0,-3 1-656 0 0,0 0-1 0 0,-1 0 0 0 0,1 0 1 0 0,-1 0-1 0 0,1 0 0 0 0,-1 0 0 0 0,1 0 1 0 0,-1-1-1 0 0,1 1 0 0 0,-1 0 1 0 0,1 0-1 0 0,-1 0 0 0 0,1 0 1 0 0,-1-1-1 0 0,1 1 0 0 0,-1 0 1 0 0,1-1-1 0 0,-1 1 0 0 0,1 0 1 0 0,-1-1-1 0 0,0 1 0 0 0,1-1 1 0 0,4-12-61 0 0,0 0 1 0 0,-1-1 0 0 0,0 0 0 0 0,-2 1 0 0 0,1-1-1 0 0,-2 0 1 0 0,1-19 0 0 0,5-36-3143 0 0,-6 60 2371 0 0,1 0 0 0 0,1 1 1 0 0,-1-1-1 0 0,1 1 0 0 0,0-1 1 0 0,1 1-1 0 0,0 0 1 0 0,6-8-1 0 0,-5 10 364 0 0,-1 1 0 0 0,1-1 0 0 0,0 2 0 0 0,1-1 0 0 0,-1 0 0 0 0,1 1 0 0 0,0 0 1 0 0,0 0-1 0 0,0 1 0 0 0,0 0 0 0 0,9-4 0 0 0,-9 5 839 0 0,1 0 1 0 0,-1 0 0 0 0,1 1-1 0 0,-1 0 1 0 0,1 0 0 0 0,0 1-1 0 0,8-1 1 0 0,-10 2-105 0 0,1 0 1 0 0,-1 0-1 0 0,0 0 1 0 0,0 1-1 0 0,0 0 1 0 0,0 0-1 0 0,0 0 1 0 0,0 0-1 0 0,0 1 1 0 0,-1 0-1 0 0,1 0 1 0 0,6 5 0 0 0,-4-1-27 0 0,-1 0 1 0 0,1 0-1 0 0,-1 1 1 0 0,0 0-1 0 0,-1 0 1 0 0,7 13 0 0 0,-1 2-285 0 0,-2 0 0 0 0,-1 1 1 0 0,0 0-1 0 0,7 43 1 0 0,-4 15-6216 0 0,-9-71 3908 0 0</inkml:trace>
</inkml:ink>
</file>

<file path=ppt/ink/ink3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19.5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0 100 1728 0 0,'-4'-20'1404'0'0,"0"7"-240"0"0,-1-3-356 0 0,-1 7-163 0 0,2-1-181 0 0,-1 0 324 0 0,-8-3-300 0 0,0 5-268 0 0,-8 12-972 0 0,17 5-632 0 0,4 1-1785 0 0</inkml:trace>
</inkml:ink>
</file>

<file path=ppt/ink/ink3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20.1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244 0 0,'9'4'494'0'0,"0"1"-1"0"0,0-1 1 0 0,0 1 0 0 0,-1 1-1 0 0,0-1 1 0 0,0 2 0 0 0,0-1-1 0 0,-1 1 1 0 0,0 0 0 0 0,7 9-1 0 0,-5-4-74 0 0,-1 0 0 0 0,0 0-1 0 0,-1 1 1 0 0,0 0 0 0 0,-1 1-1 0 0,6 20 1 0 0,-6-16-153 0 0,-2 1 1 0 0,0-1 0 0 0,-1 1-1 0 0,-1 0 1 0 0,0 0 0 0 0,-2 1-1 0 0,0-1 1 0 0,-1 0 0 0 0,-1 0-1 0 0,-9 35 1 0 0,5-34-45 0 0,-1 0 1 0 0,-1 0-1 0 0,-10 18 0 0 0,14-30-171 0 0,0-1-1 0 0,-1 0 0 0 0,0 0 0 0 0,0 0 0 0 0,-1 0 0 0 0,0-1 0 0 0,0 0 0 0 0,0 0 0 0 0,-14 9 1 0 0,19-14-79 0 0,0 0 0 0 0,0-1 0 0 0,0 1 0 0 0,0 0 0 0 0,0-1-1 0 0,0 1 1 0 0,0-1 0 0 0,0 1 0 0 0,0-1 0 0 0,0 1 0 0 0,-1-1 0 0 0,1 0 0 0 0,0 1 0 0 0,0-1 0 0 0,0 0 0 0 0,-1 0 0 0 0,1 0 0 0 0,0 0 0 0 0,0 0 0 0 0,0 0 0 0 0,-1 0 0 0 0,1-1 0 0 0,0 1 0 0 0,0 0 0 0 0,0-1 0 0 0,0 1 0 0 0,-1-1 0 0 0,1 1 0 0 0,0-1 0 0 0,0 1 0 0 0,0-1 0 0 0,0 0 0 0 0,0 0 0 0 0,0 1 0 0 0,1-1 0 0 0,-1 0 0 0 0,0 0 0 0 0,0 0 0 0 0,0 0 0 0 0,0-1 0 0 0,0-1-35 0 0,0 1 0 0 0,0-1 0 0 0,0 0 0 0 0,0 0 0 0 0,1 0 0 0 0,-1 0 0 0 0,1 0 0 0 0,-1 0 0 0 0,1 1 0 0 0,0-1 0 0 0,0 0-1 0 0,1 0 1 0 0,-1 0 0 0 0,1-4 0 0 0,1 3 34 0 0,0 0-1 0 0,0 0 0 0 0,0 0 0 0 0,0 0 0 0 0,0 0 0 0 0,1 1 1 0 0,0-1-1 0 0,-1 1 0 0 0,1 0 0 0 0,0-1 0 0 0,1 1 0 0 0,-1 1 1 0 0,1-1-1 0 0,-1 0 0 0 0,1 1 0 0 0,0 0 0 0 0,0 0 0 0 0,0 0 1 0 0,0 0-1 0 0,0 1 0 0 0,0 0 0 0 0,8-2 0 0 0,6-1 59 0 0,1 1 0 0 0,-1 1 0 0 0,36 0 0 0 0,49 9 277 0 0,-68-3-100 0 0,1-2 1 0 0,59-4-1 0 0,-85 1-178 0 0,0 0 0 0 0,-1-1 0 0 0,1 0 0 0 0,-1-1 0 0 0,0 0 0 0 0,1 0 0 0 0,-1-1-1 0 0,-1 0 1 0 0,1 0 0 0 0,-1-1 0 0 0,1-1 0 0 0,-2 1 0 0 0,1-1 0 0 0,10-10 0 0 0,-14 10-47 0 0,1 0 1 0 0,-1 0-1 0 0,0-1 1 0 0,0 1 0 0 0,-1-1-1 0 0,1 0 1 0 0,-2 0-1 0 0,5-15 1 0 0,-3 7-35 0 0,-6-3-7 0 0,2 17 56 0 0,0 0 0 0 0,0 0 0 0 0,-1 0 0 0 0,1 1-1 0 0,0-1 1 0 0,-1 0 0 0 0,1 0 0 0 0,-1 0 0 0 0,1 1 0 0 0,-1-1 0 0 0,0 0-1 0 0,1 1 1 0 0,-1-1 0 0 0,0 1 0 0 0,1-1 0 0 0,-1 0 0 0 0,0 1 0 0 0,0 0 0 0 0,1-1-1 0 0,-1 1 1 0 0,0-1 0 0 0,0 1 0 0 0,0 0 0 0 0,0 0 0 0 0,1-1 0 0 0,-1 1-1 0 0,-1 0 1 0 0,-1 0-4 0 0,1 0 0 0 0,-1 0-1 0 0,1 1 1 0 0,-1-1 0 0 0,1 1-1 0 0,-1 0 1 0 0,1-1 0 0 0,-1 1-1 0 0,-3 2 1 0 0,-1 1-1 0 0,0 0 0 0 0,0 1-1 0 0,1-1 1 0 0,0 1 0 0 0,-10 10-1 0 0,12-11 23 0 0,1 0-1 0 0,0-1 0 0 0,1 1 1 0 0,-1 0-1 0 0,1 1 0 0 0,-1-1 1 0 0,1 0-1 0 0,0 1 0 0 0,1-1 0 0 0,-1 1 1 0 0,1-1-1 0 0,0 1 0 0 0,0 0 1 0 0,0 0-1 0 0,1 0 0 0 0,0-1 1 0 0,0 1-1 0 0,0 0 0 0 0,0 0 1 0 0,1 0-1 0 0,0-1 0 0 0,0 1 0 0 0,0 0 1 0 0,0-1-1 0 0,1 1 0 0 0,0-1 1 0 0,0 1-1 0 0,0-1 0 0 0,0 0 1 0 0,1 0-1 0 0,0 0 0 0 0,0 0 0 0 0,0 0 1 0 0,0 0-1 0 0,0-1 0 0 0,1 0 1 0 0,0 0-1 0 0,-1 0 0 0 0,1 0 1 0 0,0 0-1 0 0,1-1 0 0 0,-1 1 1 0 0,8 2-1 0 0,2 1-95 0 0,-1-1 1 0 0,1 0-1 0 0,1-1 0 0 0,-1 0 1 0 0,1-1-1 0 0,22 2 0 0 0,-31-5-10 0 0,0 0-1 0 0,0 0 0 0 0,-1 0 0 0 0,1-1 1 0 0,0 1-1 0 0,-1-1 0 0 0,1-1 0 0 0,-1 1 1 0 0,1-1-1 0 0,-1 0 0 0 0,0 0 1 0 0,0-1-1 0 0,0 0 0 0 0,0 0 0 0 0,0 0 1 0 0,0 0-1 0 0,-1-1 0 0 0,0 1 0 0 0,1-1 1 0 0,3-5-1 0 0,0-3-122 0 0,0 1 0 0 0,-1-1 0 0 0,-1 0-1 0 0,0 0 1 0 0,0-1 0 0 0,6-21 0 0 0,14-84 98 0 0,-17 71 562 0 0,-2 8 139 0 0,-7 29-438 0 0,2-1 0 0 0,-1 1 1 0 0,2 0-1 0 0,-1 0 0 0 0,1 0 0 0 0,1 0 0 0 0,6-13 0 0 0,-10 23-130 0 0,0-1 0 0 0,1 1 0 0 0,-1-1 0 0 0,0 1 0 0 0,0 0 0 0 0,1-1 0 0 0,-1 1 0 0 0,0 0 0 0 0,1-1 1 0 0,-1 1-1 0 0,0 0 0 0 0,1 0 0 0 0,-1-1 0 0 0,0 1 0 0 0,1 0 0 0 0,-1 0 0 0 0,1-1 0 0 0,-1 1 0 0 0,0 0 1 0 0,1 0-1 0 0,-1 0 0 0 0,1 0 0 0 0,-1 0 0 0 0,1 0 0 0 0,-1 0 0 0 0,1 0 0 0 0,-1 0 0 0 0,0 0 0 0 0,1 0 0 0 0,0 0 1 0 0,10 11 263 0 0,2 17 28 0 0,-12-12-176 0 0,0-1 1 0 0,0 1 0 0 0,-2-1 0 0 0,0 1-1 0 0,0-1 1 0 0,-2 1 0 0 0,0-1-1 0 0,0 0 1 0 0,-2 0 0 0 0,-5 14 0 0 0,6-20 12 0 0,1-1-1 0 0,-1 0 1 0 0,-1 0 0 0 0,1-1 0 0 0,-1 1 0 0 0,-1-1 0 0 0,1 0 0 0 0,-1 0-1 0 0,-1-1 1 0 0,1 0 0 0 0,-1 0 0 0 0,0 0 0 0 0,0-1 0 0 0,-1 0 0 0 0,1-1 0 0 0,-1 1-1 0 0,0-1 1 0 0,-12 3 0 0 0,-2-3 129 0 0,18-3-241 0 0,-14-6-609 0 0,22 2 467 0 0,1 0 1 0 0,-1 1-1 0 0,1 0 0 0 0,-1 0 1 0 0,1 0-1 0 0,0 1 0 0 0,-1 0 1 0 0,1 0-1 0 0,0 0 0 0 0,0 0 1 0 0,0 1-1 0 0,0-1 0 0 0,0 1 1 0 0,6 1-1 0 0,13 1-616 0 0,37 7 0 0 0,-30-2-701 0 0,0 1 1 0 0,-1 2-1 0 0,-1 0 0 0 0,1 3 1 0 0,53 30-1 0 0,-64-32-102 0 0</inkml:trace>
</inkml:ink>
</file>

<file path=ppt/ink/ink3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20.4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2 2312 0 0,'5'-11'6524'0'0,"-4"11"-6404"0"0,5 12 2076 0 0,4 39-1457 0 0,-6-31-61 0 0,72 215 1199 0 0,-23-84-3413 0 0,-45-127 598 0 0,6 23-1357 0 0,-10-17-2112 0 0</inkml:trace>
</inkml:ink>
</file>

<file path=ppt/ink/ink3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20.8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3 239 1392 0 0,'-25'-25'2204'0'0,"5"6"3"0"0,1-1 0 0 0,-26-35 1 0 0,45 54-2183 0 0,-1 0 0 0 0,1 0 0 0 0,-1 0 0 0 0,1 0 0 0 0,0 0 0 0 0,-1 0 0 0 0,1-1 0 0 0,0 1 0 0 0,0 0 0 0 0,0 0 0 0 0,0 0 0 0 0,0 0 0 0 0,0 0 0 0 0,0-1 0 0 0,0 1 0 0 0,1 0 0 0 0,-1 0 0 0 0,0 0 0 0 0,1 0 0 0 0,-1 0 0 0 0,0 0 0 0 0,1 0 0 0 0,0 0 0 0 0,-1 0 0 0 0,1 0 0 0 0,0 0 0 0 0,-1 0 0 0 0,1 0 0 0 0,0 0 0 0 0,0 0 0 0 0,0 1 0 0 0,1-2 0 0 0,30-21 218 0 0,-10 13-186 0 0,0 0 1 0 0,1 1 0 0 0,0 1-1 0 0,0 2 1 0 0,1 0-1 0 0,45-5 1 0 0,-61 10-42 0 0,0 0 0 0 0,-1 1 0 0 0,1 0-1 0 0,0 1 1 0 0,0-1 0 0 0,-1 1 0 0 0,1 1 0 0 0,14 4 0 0 0,-17-4 0 0 0,0 0 0 0 0,0 1 1 0 0,-1 0-1 0 0,1 0 1 0 0,-1 1-1 0 0,1-1 1 0 0,-1 1-1 0 0,0 0 1 0 0,-1 0-1 0 0,1 0 0 0 0,-1 1 1 0 0,1-1-1 0 0,2 6 1 0 0,12 20 62 0 0,-9-14 89 0 0,1 0-1 0 0,0 0 0 0 0,1-1 1 0 0,1 0-1 0 0,0-1 0 0 0,29 25 1 0 0,-28-29 112 0 0,1 0 0 0 0,0-1 0 0 0,0-1 0 0 0,28 11 0 0 0,-37-17-170 0 0,0 0 0 0 0,0 0 0 0 0,0-1-1 0 0,0 0 1 0 0,0 0 0 0 0,1 0 0 0 0,-1-1 0 0 0,0 1-1 0 0,1-1 1 0 0,-1-1 0 0 0,0 1 0 0 0,1-1 0 0 0,-1 0-1 0 0,0 0 1 0 0,0 0 0 0 0,0-1 0 0 0,0 0 0 0 0,9-4 0 0 0,-11 4-84 0 0,-1 1 0 0 0,0-1 1 0 0,1 0-1 0 0,-1 0 1 0 0,0 0-1 0 0,0 0 1 0 0,0 0-1 0 0,0 0 1 0 0,-1-1-1 0 0,1 1 1 0 0,-1-1-1 0 0,1 1 0 0 0,-1-1 1 0 0,0 1-1 0 0,0-1 1 0 0,0 0-1 0 0,1-3 1 0 0,-1 1 10 0 0,-1 0-1 0 0,0 1 1 0 0,1-1 0 0 0,-1 0 0 0 0,-1 0 0 0 0,1 0-1 0 0,-1 1 1 0 0,0-1 0 0 0,0 0 0 0 0,-2-4 0 0 0,1 3-152 0 0,0 1 0 0 0,0-1 0 0 0,-1 1 0 0 0,1-1 0 0 0,-1 1 0 0 0,-1 0 0 0 0,1 0 0 0 0,-1 0 0 0 0,0 1 1 0 0,0-1-1 0 0,0 1 0 0 0,0 0 0 0 0,-1 0 0 0 0,0 1 0 0 0,0-1 0 0 0,0 1 0 0 0,-6-3 0 0 0,4 4-349 0 0,-1 0-1 0 0,1 0 1 0 0,-1 1-1 0 0,1 0 1 0 0,-1 0 0 0 0,0 1-1 0 0,0 0 1 0 0,-10 1-1 0 0,7 1-1388 0 0,-1 0-1 0 0,-17 5 1 0 0,10-1-1615 0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4.3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1 51 788 0 0,'-1'-2'1050'0'0,"-1"-2"-679"0"0,0 0 0 0 0,-1 1 0 0 0,1-1 1 0 0,-1 0-1 0 0,0 1 0 0 0,0 0 1 0 0,0 0-1 0 0,0 0 0 0 0,-1 0 1 0 0,1 0-1 0 0,-1 1 0 0 0,0-1 1 0 0,-6-2-1 0 0,8 4-140 0 0,1 1-182 0 0,-1 0 0 0 0,0 0-1 0 0,0 0 1 0 0,0 0 0 0 0,1 0-1 0 0,-1 1 1 0 0,0-1 0 0 0,0 1-1 0 0,1-1 1 0 0,-1 1 0 0 0,0 0-1 0 0,1-1 1 0 0,-1 1 0 0 0,1 0-1 0 0,-1 0 1 0 0,1 0 0 0 0,-1 1-1 0 0,1-1 1 0 0,0 0 0 0 0,-3 3 0 0 0,3-2 3 0 0,0 0 1 0 0,0 1 0 0 0,-1-1 0 0 0,1 1 0 0 0,1-1-1 0 0,-1 1 1 0 0,0 0 0 0 0,1-1 0 0 0,-1 1 0 0 0,1 0-1 0 0,0 0 1 0 0,0 3 0 0 0,1 3 35 0 0,0 0 0 0 0,0 1 0 0 0,1-1 0 0 0,0 0 0 0 0,1 0 0 0 0,0-1 0 0 0,4 9 0 0 0,14 22 504 0 0,36 49 0 0 0,4 8 244 0 0,-56-88-854 0 0,-1-2 160 0 0,-1 0 0 0 0,0 0 0 0 0,0 1 0 0 0,-1-1 0 0 0,4 11 0 0 0,-6-15-85 0 0,0 0 0 0 0,0 0 0 0 0,1 0 0 0 0,-1 0 0 0 0,-1 0 0 0 0,1 0 1 0 0,0 0-1 0 0,0 0 0 0 0,-1 0 0 0 0,1 0 0 0 0,-1 0 0 0 0,0 0 0 0 0,1-1 0 0 0,-1 1 0 0 0,0 0 0 0 0,0 0 1 0 0,0-1-1 0 0,-1 1 0 0 0,1-1 0 0 0,0 1 0 0 0,0-1 0 0 0,-1 1 0 0 0,1-1 0 0 0,-3 2 0 0 0,1-1-34 0 0,1 0 0 0 0,-1 0 0 0 0,0 0-1 0 0,0-1 1 0 0,0 1 0 0 0,0-1 0 0 0,0 0-1 0 0,0 1 1 0 0,0-2 0 0 0,0 1 0 0 0,0 0 0 0 0,-1 0-1 0 0,1-1 1 0 0,0 0 0 0 0,-1 0 0 0 0,1 0-1 0 0,0 0 1 0 0,0 0 0 0 0,-1-1 0 0 0,1 1-1 0 0,0-1 1 0 0,0 0 0 0 0,0 0 0 0 0,-1 0 0 0 0,1 0-1 0 0,0-1 1 0 0,0 1 0 0 0,-3-4 0 0 0,0 1-147 0 0,1 0 0 0 0,-1 0 0 0 0,1-1 0 0 0,0 0 0 0 0,1 0 0 0 0,-1 0 0 0 0,1-1 0 0 0,0 0 0 0 0,1 1 0 0 0,-1-1 0 0 0,1 0 0 0 0,-4-12 1 0 0,-15-46-712 0 0,21 61 759 0 0,1 3 72 0 0,0 0 1 0 0,0-1-1 0 0,-1 1 1 0 0,1 0-1 0 0,0-1 0 0 0,0 1 1 0 0,-1 0-1 0 0,1-1 1 0 0,0 1-1 0 0,-1 0 1 0 0,1 0-1 0 0,0-1 0 0 0,-1 1 1 0 0,1 0-1 0 0,-1 0 1 0 0,1 0-1 0 0,0 0 1 0 0,-1-1-1 0 0,1 1 0 0 0,-1 0 1 0 0,1 0-1 0 0,0 0 1 0 0,-1 0-1 0 0,1 0 1 0 0,-1 0-1 0 0,1 0 0 0 0,0 0 1 0 0,-1 0-1 0 0,1 0 1 0 0,-1 0-1 0 0,1 1 1 0 0,-1-1-1 0 0,1 0 0 0 0,-17 3-36 0 0,17-3 34 0 0,-5 3 0 0 0,0-1-1 0 0,0 1 1 0 0,0 0 0 0 0,0 0 0 0 0,1 0 0 0 0,-1 0-1 0 0,1 1 1 0 0,0 0 0 0 0,0 0 0 0 0,-3 5-1 0 0,-3 2-1 0 0,2 2-1 0 0,-11 16 1 0 0,12-15-665 0 0,0 0 1 0 0,-6 16-1 0 0,12-25-232 0 0,-1 0 1 0 0,1 1-1 0 0,0-1 0 0 0,0 0 0 0 0,0 8 1 0 0</inkml:trace>
</inkml:ink>
</file>

<file path=ppt/ink/ink3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21.3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8 1112 0 0,'0'-7'1194'0'0,"1"-17"2879"0"0,-1 23-4031 0 0,0 1 1 0 0,0 0 0 0 0,0 0-1 0 0,0-1 1 0 0,1 1 0 0 0,-1 0-1 0 0,0 0 1 0 0,0-1 0 0 0,0 1-1 0 0,0 0 1 0 0,0 0 0 0 0,0-1 0 0 0,1 1-1 0 0,-1 0 1 0 0,0 0 0 0 0,0 0-1 0 0,0-1 1 0 0,1 1 0 0 0,-1 0-1 0 0,0 0 1 0 0,0 0 0 0 0,0 0-1 0 0,1 0 1 0 0,-1-1 0 0 0,0 1 0 0 0,0 0-1 0 0,1 0 1 0 0,-1 0 0 0 0,0 0-1 0 0,0 0 1 0 0,1 0 0 0 0,-1 0-1 0 0,0 0 1 0 0,1 0 0 0 0,-1 0 0 0 0,0 0-1 0 0,0 0 1 0 0,1 0 0 0 0,-1 0-1 0 0,0 0 1 0 0,0 0 0 0 0,1 0-1 0 0,-1 0 1 0 0,0 1 0 0 0,0-1-1 0 0,1 0 1 0 0,-1 0 0 0 0,0 0 0 0 0,0 0-1 0 0,0 0 1 0 0,1 1 0 0 0,-1-1-1 0 0,0 0 1 0 0,0 0 0 0 0,0 0-1 0 0,1 1 1 0 0,-1-1 0 0 0,0 0-1 0 0,0 0 1 0 0,0 1 0 0 0,2 1 49 0 0,-1 0 1 0 0,1 0 0 0 0,-1 0-1 0 0,0 0 1 0 0,0 0 0 0 0,0 0-1 0 0,0 1 1 0 0,0-1 0 0 0,0 0-1 0 0,-1 1 1 0 0,1-1 0 0 0,-1 1-1 0 0,1 1 1 0 0,3 13 315 0 0,8 19-16 0 0,0 1 0 0 0,-3 0 0 0 0,7 55 0 0 0,1 118-3230 0 0,-17-146-1744 0 0,0-45 2150 0 0</inkml:trace>
</inkml:ink>
</file>

<file path=ppt/ink/ink3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22.0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9 160 1104 0 0,'-3'-2'1240'0'0,"-3"-1"-511"0"0,5 3-563 0 0,0-1 0 0 0,0 1 0 0 0,-1-1 0 0 0,1 0 0 0 0,0 1 0 0 0,0-1 0 0 0,0 0 0 0 0,0 1 0 0 0,0-1 0 0 0,0 0 0 0 0,0 0 0 0 0,1 0 0 0 0,-1 0 0 0 0,0 0 0 0 0,0 0 0 0 0,1 0 0 0 0,-1 0 0 0 0,1 0 0 0 0,-1 0 0 0 0,1 0 0 0 0,-2-3 0 0 0,3 3-124 0 0,0 1 1 0 0,-1-1 0 0 0,1 0 0 0 0,-1 0 0 0 0,1 1 0 0 0,0-1-1 0 0,-1 0 1 0 0,1 1 0 0 0,0-1 0 0 0,0 1 0 0 0,0-1-1 0 0,-1 1 1 0 0,1-1 0 0 0,0 1 0 0 0,0 0 0 0 0,2-1 0 0 0,-2 1 43 0 0,16-8 218 0 0,1 2 1 0 0,0 0-1 0 0,0 1 1 0 0,26-3 0 0 0,-2-1 54 0 0,303-66 1791 0 0,-338 73-2106 0 0,1 0 0 0 0,-1 1-1 0 0,1 0 1 0 0,0 0 0 0 0,0 1-1 0 0,-1 0 1 0 0,1 1 0 0 0,0-1 0 0 0,0 2-1 0 0,8 1 1 0 0,-11-1 17 0 0,0-1-1 0 0,0 1 1 0 0,0 1-1 0 0,-1-1 1 0 0,1 1 0 0 0,-1 0-1 0 0,1 0 1 0 0,-1 0 0 0 0,0 0-1 0 0,0 1 1 0 0,0 0-1 0 0,-1 0 1 0 0,1 0 0 0 0,-1 0-1 0 0,5 8 1 0 0,3 7 212 0 0,-1 1 0 0 0,0 0 0 0 0,-1 0 1 0 0,-2 1-1 0 0,0 0 0 0 0,-1 1 0 0 0,-1 0 1 0 0,3 26-1 0 0,-2 13 3694 0 0,-7-61-3957 0 0,1 0 0 0 0,0 0 0 0 0,-1 0 0 0 0,1 0 0 0 0,-1-1 0 0 0,1 1 0 0 0,-1 0-1 0 0,1 0 1 0 0,-1 0 0 0 0,1 0 0 0 0,-1 0 0 0 0,1 0 0 0 0,-1-1 0 0 0,1 1 0 0 0,-1 0-1 0 0,1 0 1 0 0,0-1 0 0 0,-1 1 0 0 0,1 0 0 0 0,0-1 0 0 0,-1 1 0 0 0,1 0 0 0 0,0-1-1 0 0,-1 1 1 0 0,1-1 0 0 0,0 1 0 0 0,0-1 0 0 0,-1 1 0 0 0,1-1 0 0 0,1-17-177 0 0,13-17-615 0 0,-11 28 633 0 0,1 0 0 0 0,0 1 0 0 0,0 0 0 0 0,1-1 0 0 0,0 2 0 0 0,0-1 0 0 0,1 0 0 0 0,-1 1 0 0 0,1 0 1 0 0,1 0-1 0 0,-1 1 0 0 0,0 0 0 0 0,1 0 0 0 0,0 0 0 0 0,0 1 0 0 0,0 0 0 0 0,14-4 0 0 0,-8 5 37 0 0,0 0 0 0 0,0 0 0 0 0,0 1-1 0 0,0 1 1 0 0,0 0 0 0 0,0 1 0 0 0,0 0 0 0 0,0 1 0 0 0,21 6-1 0 0,30 10 22 0 0,-29-7 97 0 0,1-1 0 0 0,48 5 0 0 0,-79-13 3 0 0,0-2-1 0 0,1 1 1 0 0,-1 0 0 0 0,0-1-1 0 0,0 0 1 0 0,1 0 0 0 0,-1-1 0 0 0,0 1-1 0 0,7-3 1 0 0,2-1 8 0 0,-7 2-22 0 0,0 0 0 0 0,0-1 1 0 0,-1 0-1 0 0,1 0 0 0 0,-1-1 0 0 0,0 0 0 0 0,0 0 0 0 0,0 0 1 0 0,0-1-1 0 0,-1 0 0 0 0,1 0 0 0 0,-1 0 0 0 0,-1-1 1 0 0,1 0-1 0 0,-1 0 0 0 0,0 0 0 0 0,0 0 0 0 0,-1-1 0 0 0,1 1 1 0 0,-2-1-1 0 0,1 0 0 0 0,-1 0 0 0 0,0 0 0 0 0,0 0 1 0 0,-1 0-1 0 0,0-1 0 0 0,0 1 0 0 0,-1 0 0 0 0,0-1 0 0 0,0 1 1 0 0,0 0-1 0 0,-1-1 0 0 0,-1 1 0 0 0,-2-11 0 0 0,3 16-2 0 0,0 1-1 0 0,-1-1 1 0 0,1 1-1 0 0,0 0 1 0 0,-1-1-1 0 0,1 1 1 0 0,-1 0-1 0 0,0 0 1 0 0,1 0-1 0 0,-1 0 1 0 0,0 0-1 0 0,1 0 1 0 0,-1 0-1 0 0,0 1 1 0 0,0-1-1 0 0,0 1 1 0 0,0-1-1 0 0,0 1 1 0 0,0 0-1 0 0,1 0 0 0 0,-1 0 1 0 0,0 0-1 0 0,0 0 1 0 0,0 0-1 0 0,0 0 1 0 0,0 1-1 0 0,0-1 1 0 0,-3 2-1 0 0,2-1 7 0 0,1 1 0 0 0,-1-1 0 0 0,0 1 0 0 0,1 0 0 0 0,-1 0 0 0 0,1 0 0 0 0,0 0 0 0 0,0 0 0 0 0,0 1 0 0 0,0-1 0 0 0,0 1 0 0 0,0-1 0 0 0,0 1-1 0 0,1 0 1 0 0,0-1 0 0 0,-2 5 0 0 0,2-2 6 0 0,0 0 0 0 0,0 0-1 0 0,0 0 1 0 0,1 0-1 0 0,-1 0 1 0 0,1 0 0 0 0,1 0-1 0 0,-1 0 1 0 0,1 0-1 0 0,1 6 1 0 0,0-2-178 0 0,1 0 1 0 0,0 0-1 0 0,1-1 1 0 0,0 1-1 0 0,0-1 0 0 0,1 0 1 0 0,0 0-1 0 0,1-1 0 0 0,-1 1 1 0 0,1-1-1 0 0,1 0 1 0 0,10 9-1 0 0,-1-3-923 0 0,0 0 0 0 0,1-1 0 0 0,1-1 1 0 0,29 13-1 0 0,-27-14-996 0 0,3-3-359 0 0</inkml:trace>
</inkml:ink>
</file>

<file path=ppt/ink/ink3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22.7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 16 1080 0 0,'-9'-15'6496'0'0,"10"25"-4917"0"0,24 143 2259 0 0,-19-116-3411 0 0,-4-25 317 0 0,0 1 1 0 0,6 20 1237 0 0,-9-34-1971 0 0,0 1 0 0 0,1-1 0 0 0,-1 1 1 0 0,1-1-1 0 0,-1 0 0 0 0,1 1 0 0 0,-1-1 0 0 0,1 0 1 0 0,-1 1-1 0 0,1-1 0 0 0,0 0 0 0 0,-1 1 0 0 0,1-1 1 0 0,0 0-1 0 0,0 0 0 0 0,0 1 0 0 0,-1-1 0 0 0,1 0 1 0 0,0-1-1 0 0,-3-17-217 0 0,3 2-82 0 0,0-1 1 0 0,0 1-1 0 0,2-1 1 0 0,0 1-1 0 0,1 0 0 0 0,1 0 1 0 0,0 0-1 0 0,10-23 1 0 0,-13 39 273 0 0,0 0 1 0 0,-1 0 0 0 0,1 0 0 0 0,0 1 0 0 0,0-1-1 0 0,-1 0 1 0 0,1 1 0 0 0,0-1 0 0 0,0 1 0 0 0,0-1 0 0 0,0 1-1 0 0,0-1 1 0 0,0 1 0 0 0,0-1 0 0 0,0 1 0 0 0,0 0-1 0 0,0 0 1 0 0,0 0 0 0 0,0-1 0 0 0,0 1 0 0 0,0 0-1 0 0,0 0 1 0 0,0 0 0 0 0,0 1 0 0 0,0-1 0 0 0,0 0-1 0 0,1 0 1 0 0,26 8-104 0 0,-10 1 100 0 0,-1 1 1 0 0,25 19-1 0 0,-1-1 150 0 0,-25-18 13 0 0,0 0 0 0 0,0-2 0 0 0,1 0 0 0 0,0-1 1 0 0,1 0-1 0 0,-1-1 0 0 0,34 5 0 0 0,-45-10-111 0 0,1-1-1 0 0,-1 0 1 0 0,0 0-1 0 0,0-1 1 0 0,1 0-1 0 0,-1 0 1 0 0,0-1-1 0 0,0 1 1 0 0,0-1-1 0 0,0-1 1 0 0,0 1-1 0 0,0-1 1 0 0,-1 0-1 0 0,1 0 1 0 0,-1-1-1 0 0,6-4 1 0 0,5-7 227 0 0,-1 1 0 0 0,0-2 0 0 0,17-24 0 0 0,-3 4 988 0 0,-8 10-825 0 0,-20 24-362 0 0,2 3-48 0 0,-1 0-11 0 0,-1 0 0 0 0,1 0 0 0 0,0 0 0 0 0,-1 0 0 0 0,1 0 0 0 0,-1 0 0 0 0,1 0 0 0 0,-1 1 0 0 0,1-1 0 0 0,-1 1 0 0 0,0-1 0 0 0,0 1 0 0 0,0 0 0 0 0,0-1 0 0 0,0 1 0 0 0,0 0 0 0 0,0-1 0 0 0,-1 1 0 0 0,1 0 0 0 0,-1 0 0 0 0,1 0 0 0 0,-1 0 0 0 0,1 3 0 0 0,5 29-4 0 0,3 17-502 0 0,22 72 0 0 0,-29-116 61 0 0,1-1 0 0 0,-1 0 0 0 0,1 0-1 0 0,1 0 1 0 0,-1 0 0 0 0,1 0 0 0 0,0 0-1 0 0,0-1 1 0 0,10 10 0 0 0,-10-13 28 0 0,-1 1 1 0 0,0-1-1 0 0,1 0 1 0 0,0 1 0 0 0,-1-2-1 0 0,1 1 1 0 0,0 0-1 0 0,0-1 1 0 0,0 0-1 0 0,0 0 1 0 0,0 0-1 0 0,0 0 1 0 0,0 0-1 0 0,0-1 1 0 0,0 0-1 0 0,1 0 1 0 0,4-1-1 0 0,9-2-2912 0 0</inkml:trace>
</inkml:ink>
</file>

<file path=ppt/ink/ink3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23.0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10 172 0 0,'49'-50'10532'0'0,"-48"54"-10437"0"0,-1 0-1 0 0,0 0 0 0 0,1 0 1 0 0,-1 0-1 0 0,1 0 1 0 0,0 0-1 0 0,1 0 0 0 0,-1 0 1 0 0,1-1-1 0 0,-1 1 1 0 0,1 0-1 0 0,0-1 0 0 0,0 1 1 0 0,1-1-1 0 0,5 6 0 0 0,-5-5-23 0 0,1-1-1 0 0,1 0 1 0 0,-1 0-1 0 0,0 0 0 0 0,1 0 1 0 0,-1-1-1 0 0,1 1 1 0 0,0-1-1 0 0,0-1 0 0 0,0 1 1 0 0,0-1-1 0 0,0 1 0 0 0,7-1 1 0 0,-4 1 3 0 0,0-2 0 0 0,-1 1 0 0 0,1-1 0 0 0,0-1 0 0 0,0 1 1 0 0,0-1-1 0 0,8-3 0 0 0,-13 4-62 0 0,-1-1 1 0 0,1 0-1 0 0,-1 0 1 0 0,1 0-1 0 0,-1 0 1 0 0,0 0-1 0 0,1 0 1 0 0,-1-1-1 0 0,0 1 1 0 0,0-1 0 0 0,0 0-1 0 0,0 0 1 0 0,0 1-1 0 0,0-1 1 0 0,-1 0-1 0 0,1-1 1 0 0,0 1-1 0 0,-1 0 1 0 0,0 0-1 0 0,0-1 1 0 0,1 1-1 0 0,-1 0 1 0 0,-1-1-1 0 0,1 1 1 0 0,0-1-1 0 0,-1 0 1 0 0,1-3-1 0 0,-1 3-48 0 0,0 0-1 0 0,0 0 0 0 0,0 0 1 0 0,0 0-1 0 0,-1 0 0 0 0,0 0 1 0 0,1 0-1 0 0,-1 0 0 0 0,0 0 1 0 0,-1 0-1 0 0,1 0 0 0 0,0 1 1 0 0,-1-1-1 0 0,0 0 1 0 0,1 1-1 0 0,-1-1 0 0 0,0 1 1 0 0,0 0-1 0 0,0 0 0 0 0,-1-1 1 0 0,1 1-1 0 0,-1 1 0 0 0,1-1 1 0 0,-1 0-1 0 0,1 1 0 0 0,-4-2 1 0 0,-7-3-687 0 0,0 0 0 0 0,-1 1-1 0 0,1 0 1 0 0,-15-2 0 0 0,21 5 227 0 0,-11 0-1299 0 0,2 4-944 0 0,-4-2 635 0 0</inkml:trace>
</inkml:ink>
</file>

<file path=ppt/ink/ink3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23.7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22 4 0 0,'8'-6'569'0'0,"0"1"0"0"0,0 1 0 0 0,1-1 1 0 0,-1 1-1 0 0,1 1 0 0 0,0-1 0 0 0,0 2 0 0 0,0-1 0 0 0,12-1 1 0 0,-14 4-340 0 0,-1 0 1 0 0,1 0-1 0 0,0 0 1 0 0,0 1-1 0 0,-1 0 1 0 0,1 0-1 0 0,-1 1 1 0 0,1-1-1 0 0,-1 2 1 0 0,1-1-1 0 0,-1 1 1 0 0,0 0-1 0 0,0 0 1 0 0,6 4 0 0 0,-4 0-45 0 0,1-1 1 0 0,-1 1 0 0 0,-1 1 0 0 0,1 0 0 0 0,-1 0 0 0 0,0 0-1 0 0,-1 1 1 0 0,0 0 0 0 0,0 0 0 0 0,-1 0 0 0 0,-1 1 0 0 0,1 0 0 0 0,4 14-1 0 0,-6-12-49 0 0,0 0-1 0 0,0-1 1 0 0,-1 1 0 0 0,-1 0-1 0 0,0 0 1 0 0,0 0-1 0 0,-1 0 1 0 0,-1 0-1 0 0,0 0 1 0 0,0 0-1 0 0,-7 21 1 0 0,6-27-62 0 0,0 1 1 0 0,-1-1-1 0 0,0 0 1 0 0,0 0-1 0 0,0-1 1 0 0,-1 1-1 0 0,0-1 1 0 0,0 1-1 0 0,0-1 1 0 0,-1 0-1 0 0,0-1 1 0 0,0 1-1 0 0,0-1 0 0 0,0 0 1 0 0,-1 0-1 0 0,1-1 1 0 0,-1 0-1 0 0,0 0 1 0 0,0 0-1 0 0,-12 4 1 0 0,17-7-102 0 0,0 0 0 0 0,1 0 0 0 0,-1 0 0 0 0,0 1 1 0 0,0-1-1 0 0,0 0 0 0 0,0 0 0 0 0,0 0 0 0 0,0 0 1 0 0,0-1-1 0 0,0 1 0 0 0,0 0 0 0 0,1 0 0 0 0,-1 0 1 0 0,0-1-1 0 0,0 1 0 0 0,0 0 0 0 0,0-1 0 0 0,1 1 1 0 0,-1-1-1 0 0,0 1 0 0 0,0-1 0 0 0,1 1 0 0 0,-1-1 1 0 0,0 0-1 0 0,1 1 0 0 0,-1-1 0 0 0,0 0 0 0 0,1 0 1 0 0,-1 1-1 0 0,1-1 0 0 0,0 0 0 0 0,-1 0 0 0 0,0-1 1 0 0,1 0-44 0 0,-1 0 0 0 0,1 0 0 0 0,0 0 0 0 0,0 0 0 0 0,-1 0 0 0 0,1 0 0 0 0,1-1 0 0 0,-1 1 0 0 0,0 0 0 0 0,0 0 1 0 0,1 0-1 0 0,-1 0 0 0 0,1 0 0 0 0,1-2 0 0 0,0 0 4 0 0,0-1 0 0 0,1 1 0 0 0,-1 0 0 0 0,1 0 1 0 0,0 0-1 0 0,0 0 0 0 0,0 1 0 0 0,1-1 0 0 0,-1 1 0 0 0,1 0 1 0 0,0 0-1 0 0,0 0 0 0 0,0 0 0 0 0,0 1 0 0 0,1 0 0 0 0,-1-1 0 0 0,1 2 1 0 0,-1-1-1 0 0,1 0 0 0 0,0 1 0 0 0,9-1 0 0 0,-4 1 58 0 0,-1 1 0 0 0,1 0 0 0 0,0 0 0 0 0,-1 1 1 0 0,1 0-1 0 0,-1 1 0 0 0,1 0 0 0 0,-1 1 0 0 0,0 0 0 0 0,15 6 0 0 0,-3 2 253 0 0,1-2 0 0 0,1-1 0 0 0,-1 0 0 0 0,1-2 0 0 0,42 6 0 0 0,-58-12-216 0 0,1 1 1 0 0,-1-2 0 0 0,1 1 0 0 0,-1-1 0 0 0,1 0 0 0 0,-1-1 0 0 0,0 0 0 0 0,0 0 0 0 0,0 0 0 0 0,0-1 0 0 0,0 0 0 0 0,0-1-1 0 0,-1 1 1 0 0,1-1 0 0 0,-1 0 0 0 0,0-1 0 0 0,0 0 0 0 0,-1 0 0 0 0,8-8 0 0 0,2-6-13 0 0,-1 0-1 0 0,0-2 1 0 0,-2 1 0 0 0,15-33-1 0 0,-17 32-35 0 0,-3 2-305 0 0,-7 19 318 0 0,0 0 0 0 0,0-1-1 0 0,0 1 1 0 0,0 0 0 0 0,0 0 0 0 0,0 0 0 0 0,-1 0-1 0 0,1-1 1 0 0,0 1 0 0 0,0 0 0 0 0,0 0-1 0 0,0 0 1 0 0,-1 0 0 0 0,1 0 0 0 0,0-1 0 0 0,0 1-1 0 0,0 0 1 0 0,-1 0 0 0 0,1 0 0 0 0,0 0 0 0 0,0 0-1 0 0,0 0 1 0 0,-1 0 0 0 0,1 0 0 0 0,0 0-1 0 0,0 0 1 0 0,0 0 0 0 0,-1 0 0 0 0,1 0 0 0 0,0 0-1 0 0,0 0 1 0 0,-1 0 0 0 0,1 0 0 0 0,0 0 0 0 0,0 0-1 0 0,0 0 1 0 0,-1 1 0 0 0,1-1 0 0 0,0 0-1 0 0,0 0 1 0 0,0 0 0 0 0,0 0 0 0 0,-1 0 0 0 0,1 0-1 0 0,0 1 1 0 0,0-1 0 0 0,0 0 0 0 0,0 0 0 0 0,-3 1-23 0 0,3 2 29 0 0,0-1-1 0 0,0 1 0 0 0,1-1 1 0 0,-1 1-1 0 0,0-1 0 0 0,1 0 1 0 0,0 1-1 0 0,-1-1 0 0 0,1 0 1 0 0,0 1-1 0 0,0-1 0 0 0,0 0 1 0 0,1 0-1 0 0,-1 0 0 0 0,3 3 1 0 0,-1-2 17 0 0,-1-1 0 0 0,1 1 1 0 0,1-1-1 0 0,-1 0 1 0 0,0 0-1 0 0,0 0 0 0 0,1-1 1 0 0,-1 1-1 0 0,8 1 1 0 0,1 0 67 0 0,-1-1 1 0 0,1 0 0 0 0,0-1-1 0 0,0 0 1 0 0,19-2 0 0 0,-22 1-71 0 0,0-2 0 0 0,0 1 0 0 0,0-1 0 0 0,-1 0 0 0 0,1-1 0 0 0,-1 0 0 0 0,0 0 0 0 0,0-1 0 0 0,0 0 0 0 0,0 0 1 0 0,0-1-1 0 0,-1 0 0 0 0,0 0 0 0 0,0-1 0 0 0,-1 0 0 0 0,1 0 0 0 0,-1 0 0 0 0,-1-1 0 0 0,1 0 0 0 0,-1 0 0 0 0,0-1 0 0 0,-1 0 0 0 0,5-9 1 0 0,-2 0-51 0 0,0 0 1 0 0,-1 0 0 0 0,-2 0-1 0 0,1-1 1 0 0,-2 1 0 0 0,0-1-1 0 0,-1 0 1 0 0,-1 0 0 0 0,-1 0-1 0 0,-3-25 1 0 0,3 37 21 0 0,-1 1-1 0 0,0-1 1 0 0,-1 1-1 0 0,1-1 1 0 0,-5-8-1 0 0,6 13 10 0 0,-1-1-1 0 0,0 0 1 0 0,0 1-1 0 0,0-1 1 0 0,0 1-1 0 0,0-1 0 0 0,0 1 1 0 0,0 0-1 0 0,0-1 1 0 0,-1 1-1 0 0,1 0 0 0 0,0 0 1 0 0,-1 0-1 0 0,1 0 1 0 0,-1 0-1 0 0,1 0 1 0 0,-1 0-1 0 0,0 1 0 0 0,1-1 1 0 0,-1 0-1 0 0,0 1 1 0 0,1-1-1 0 0,-1 1 0 0 0,-3 0 1 0 0,0 0 5 0 0,0 0-1 0 0,1 1 1 0 0,-1-1 0 0 0,0 1-1 0 0,0 0 1 0 0,1 1 0 0 0,-1-1-1 0 0,1 1 1 0 0,-1 0 0 0 0,1 0 0 0 0,0 0-1 0 0,0 1 1 0 0,0 0 0 0 0,-4 3-1 0 0,2-1 1 0 0,0 1 0 0 0,1 0 1 0 0,-1 0-1 0 0,1 0 0 0 0,1 1 0 0 0,-1 0 0 0 0,1 0 0 0 0,-3 7 0 0 0,1-2 18 0 0,2 0-1 0 0,0 0 0 0 0,0 0 1 0 0,1 1-1 0 0,0 0 1 0 0,1-1-1 0 0,1 1 1 0 0,0 0-1 0 0,1 0 0 0 0,0 0 1 0 0,2 13-1 0 0,4 3 104 0 0,1 0 0 0 0,2-1 0 0 0,1 0 0 0 0,1-1 0 0 0,16 29 1 0 0,3-1-1897 0 0,52 69 0 0 0,-54-89-2845 0 0,-12-19 494 0 0</inkml:trace>
</inkml:ink>
</file>

<file path=ppt/ink/ink3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4:25.6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7 106 592 0 0,'0'0'4476'0'0,"5"12"-836"0"0,-5-12-3590 0 0,0 1 1 0 0,0-1-1 0 0,0 0 1 0 0,0 0-1 0 0,0 0 1 0 0,0 0-1 0 0,0 0 1 0 0,0 0-1 0 0,0 1 1 0 0,0-1-1 0 0,0 0 1 0 0,0 0-1 0 0,-1 1 557 0 0,1 0-557 0 0,9-16 776 0 0,6-25-661 0 0,-12 30-121 0 0,-2 8-44 0 0,-1 0-1 0 0,1 0 0 0 0,0-1 1 0 0,-1 1-1 0 0,1 0 1 0 0,-1 0-1 0 0,0-1 1 0 0,0 1-1 0 0,0 0 1 0 0,0 0-1 0 0,0-1 1 0 0,0 1-1 0 0,-1 0 1 0 0,1 0-1 0 0,-1-1 1 0 0,1 1-1 0 0,-1 0 1 0 0,0 0-1 0 0,0 0 1 0 0,-1-3-1 0 0,1 5-2 0 0,-1-1-1 0 0,1 0 1 0 0,0 0-1 0 0,0 0 1 0 0,-1 1-1 0 0,1-1 1 0 0,0 0 0 0 0,-1 1-1 0 0,1-1 1 0 0,-1 1-1 0 0,1 0 1 0 0,0-1-1 0 0,-1 1 1 0 0,1 0-1 0 0,-1 0 1 0 0,1 0 0 0 0,-1 0-1 0 0,1 0 1 0 0,-1 0-1 0 0,1 1 1 0 0,-1-1-1 0 0,1 0 1 0 0,0 1 0 0 0,-1-1-1 0 0,-1 2 1 0 0,-3 0 4 0 0,1 0 1 0 0,0 0-1 0 0,0 1 1 0 0,0-1-1 0 0,1 1 1 0 0,-1 0-1 0 0,1 1 1 0 0,-1-1-1 0 0,1 1 1 0 0,-5 5-1 0 0,7-6 5 0 0,0-1 0 0 0,0 0 0 0 0,0 1 0 0 0,1 0 0 0 0,-1-1-1 0 0,1 1 1 0 0,-1 0 0 0 0,1 0 0 0 0,0-1 0 0 0,0 1 0 0 0,0 0 0 0 0,1 0 0 0 0,-1 0 0 0 0,1 0 0 0 0,0 1-1 0 0,-1-1 1 0 0,1 0 0 0 0,1 0 0 0 0,-1 0 0 0 0,0 0 0 0 0,1 0 0 0 0,0 3 0 0 0,3 5-90 0 0,1 0 1 0 0,-1-1 0 0 0,2 1 0 0 0,-1-1 0 0 0,2 0-1 0 0,-1-1 1 0 0,11 13 0 0 0,-6-11-1606 0 0,1 1 1 0 0,18 14-1 0 0,-16-14-1283 0 0</inkml:trace>
</inkml:ink>
</file>

<file path=ppt/ink/ink3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13.4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 77 1192 0 0,'-84'-76'8591'0'0,"85"81"-8474"0"0,0 0 1 0 0,0-1-1 0 0,0 1 1 0 0,1 0-1 0 0,0-1 0 0 0,0 1 1 0 0,3 5-1 0 0,5 10 72 0 0,9 36 503 0 0,-2 1-1 0 0,19 110 1 0 0,-5 122 1491 0 0,-26-207-1608 0 0,6 62 335 0 0,-10-143-882 0 0,-1 1 1 0 0,0 0-1 0 0,0 0 0 0 0,1-1 1 0 0,-1 1-1 0 0,0 0 0 0 0,1 0 0 0 0,0-1 1 0 0,-1 1-1 0 0,1-1 0 0 0,0 1 1 0 0,0-1-1 0 0,0 1 0 0 0,0-1 0 0 0,0 1 1 0 0,0-1-1 0 0,1 0 0 0 0,-1 0 1 0 0,0 1-1 0 0,1-1 0 0 0,-1 0 0 0 0,1 0 1 0 0,-1 0-1 0 0,3 1 0 0 0,-1-2-1 0 0,1 1-1 0 0,-1-1 1 0 0,0 0-1 0 0,0 0 1 0 0,0 0-1 0 0,1 0 1 0 0,-1 0-1 0 0,0-1 1 0 0,0 1-1 0 0,0-1 1 0 0,1 0-1 0 0,-1 0 1 0 0,5-3-1 0 0,42-19 99 0 0,-1-3 0 0 0,69-48 0 0 0,-3 2-832 0 0,-104 66-198 0 0,28-18-2413 0 0,-37 21 2279 0 0,1 1 0 0 0,0 0 0 0 0,-1-1 1 0 0,0 0-1 0 0,0 1 0 0 0,4-6 0 0 0,1-5-2462 0 0</inkml:trace>
</inkml:ink>
</file>

<file path=ppt/ink/ink3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14.0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9 431 1260 0 0,'0'0'3478'0'0,"13"-7"-1970"0"0,-4-2-1146 0 0,-1-1 1 0 0,1 0-1 0 0,-2 0 1 0 0,0 0-1 0 0,0-1 0 0 0,8-16 1 0 0,-4 3-63 0 0,-1 0 0 0 0,8-32 0 0 0,-16 49-256 0 0,-1 0 0 0 0,0 0 0 0 0,0 1 0 0 0,-1-1 1 0 0,0 0-1 0 0,0 0 0 0 0,0 0 0 0 0,-3-10 0 0 0,3 15-42 0 0,-1-1-1 0 0,1 1 1 0 0,-1 0-1 0 0,1-1 1 0 0,-1 1-1 0 0,0 0 1 0 0,0 0-1 0 0,0 0 1 0 0,0 0-1 0 0,-1 0 1 0 0,1 0-1 0 0,0 0 1 0 0,-1 0-1 0 0,0 0 1 0 0,1 0-1 0 0,-1 1 1 0 0,0-1-1 0 0,0 1 1 0 0,0-1-1 0 0,0 1 1 0 0,0 0-1 0 0,0 0 1 0 0,0 0-1 0 0,0 0 1 0 0,0 0-1 0 0,-5-1 1 0 0,3 2-4 0 0,-1 0 1 0 0,0 0 0 0 0,0 1-1 0 0,0-1 1 0 0,1 1-1 0 0,-1 0 1 0 0,0 0-1 0 0,1 0 1 0 0,-1 1-1 0 0,1 0 1 0 0,-1 0-1 0 0,1 0 1 0 0,0 0-1 0 0,0 1 1 0 0,0 0-1 0 0,0 0 1 0 0,0 0 0 0 0,-6 7-1 0 0,-1 1 17 0 0,0 1 0 0 0,1 1 0 0 0,1 0 0 0 0,-10 16 0 0 0,13-18 5 0 0,0 1 1 0 0,1 0 0 0 0,0 0 0 0 0,0 0-1 0 0,2 1 1 0 0,-1-1 0 0 0,2 1 0 0 0,0 0-1 0 0,0 0 1 0 0,1 25 0 0 0,1-32 14 0 0,0 0 0 0 0,1 0 1 0 0,0 0-1 0 0,0 0 0 0 0,0 0 0 0 0,1 0 1 0 0,0 0-1 0 0,0 0 0 0 0,0 0 0 0 0,1-1 0 0 0,0 1 1 0 0,0-1-1 0 0,0 0 0 0 0,1 0 0 0 0,0 0 0 0 0,0 0 1 0 0,0 0-1 0 0,0-1 0 0 0,1 0 0 0 0,0 0 0 0 0,0 0 1 0 0,0-1-1 0 0,0 0 0 0 0,11 5 0 0 0,-3-3-9 0 0,1-1-1 0 0,0 0 0 0 0,1-1 1 0 0,-1-1-1 0 0,1 0 1 0 0,-1-1-1 0 0,1-1 0 0 0,-1 0 1 0 0,1-1-1 0 0,0 0 0 0 0,-1-1 1 0 0,0-1-1 0 0,15-5 1 0 0,10-4 47 0 0,-1-1 0 0 0,-1-2 0 0 0,55-30 0 0 0,-69 31 26 0 0,0 0 1 0 0,-1-1-1 0 0,0-2 1 0 0,-1 0-1 0 0,-1-1 1 0 0,-1-1-1 0 0,32-39 1 0 0,-42 45-43 0 0,0 0 0 0 0,-1 0-1 0 0,0-1 1 0 0,-1 0 0 0 0,0 0 0 0 0,-2-1-1 0 0,1 0 1 0 0,-2 0 0 0 0,0 0 0 0 0,-1 0-1 0 0,0-1 1 0 0,-1 1 0 0 0,-1-1 0 0 0,-1-28-1 0 0,0 43-48 0 0,0 0-1 0 0,0 1 1 0 0,0-1 0 0 0,0 0-1 0 0,0 1 1 0 0,0-1-1 0 0,0 0 1 0 0,0 1 0 0 0,-1-1-1 0 0,1 0 1 0 0,0 1-1 0 0,0-1 1 0 0,-1 1 0 0 0,1-1-1 0 0,0 0 1 0 0,-1 1 0 0 0,1-1-1 0 0,0 1 1 0 0,-1-1-1 0 0,1 1 1 0 0,-1-1 0 0 0,1 1-1 0 0,-1-1 1 0 0,1 1-1 0 0,-1 0 1 0 0,1-1 0 0 0,-2 0-1 0 0,1 1-4 0 0,0 0-1 0 0,0 1 1 0 0,0-1 0 0 0,1 0-1 0 0,-1 0 1 0 0,0 0-1 0 0,0 1 1 0 0,0-1-1 0 0,0 1 1 0 0,0-1 0 0 0,0 0-1 0 0,1 1 1 0 0,-1-1-1 0 0,0 1 1 0 0,0 0 0 0 0,0 1-1 0 0,-4 2-3 0 0,0 1-1 0 0,1 0 1 0 0,0 1 0 0 0,-6 8-1 0 0,4-3 3 0 0,1 1-1 0 0,0 0 1 0 0,0 0-1 0 0,1 1 1 0 0,1-1-1 0 0,0 1 1 0 0,-2 13-1 0 0,5-19 2 0 0,-1 0 1 0 0,1 0-1 0 0,0 1 1 0 0,0-1-1 0 0,1 0 1 0 0,0 0-1 0 0,0 0 0 0 0,1-1 1 0 0,0 1-1 0 0,0 0 1 0 0,0 0-1 0 0,1-1 0 0 0,0 1 1 0 0,6 8-1 0 0,-7-13 5 0 0,-1 0-1 0 0,1 0 0 0 0,-1 0 1 0 0,1 0-1 0 0,0 0 1 0 0,0 0-1 0 0,0-1 0 0 0,0 1 1 0 0,0-1-1 0 0,0 1 1 0 0,0-1-1 0 0,0 0 0 0 0,1 0 1 0 0,-1 0-1 0 0,0 0 0 0 0,1 0 1 0 0,-1-1-1 0 0,6 2 1 0 0,-5-2-5 0 0,0 0 1 0 0,1-1 0 0 0,-1 1-1 0 0,1-1 1 0 0,-1 0 0 0 0,0 1 0 0 0,0-1-1 0 0,1-1 1 0 0,-1 1 0 0 0,0 0 0 0 0,0-1-1 0 0,5-3 1 0 0,0-1-28 0 0,0 0 1 0 0,0-1-1 0 0,0 0 0 0 0,-1-1 1 0 0,0 0-1 0 0,0 0 0 0 0,-1 0 1 0 0,7-13-1 0 0,5-15-44 0 0,17-51-1 0 0,-6 14-67 0 0,-29 72 136 0 0,0 1 0 0 0,0 0 1 0 0,0-1-1 0 0,0 1 0 0 0,1 0 0 0 0,-1-1 0 0 0,0 1 1 0 0,0 0-1 0 0,0-1 0 0 0,0 1 0 0 0,1 0 0 0 0,-1 0 1 0 0,0-1-1 0 0,0 1 0 0 0,1 0 0 0 0,-1-1 0 0 0,0 1 1 0 0,0 0-1 0 0,1 0 0 0 0,-1 0 0 0 0,0-1 0 0 0,1 1 1 0 0,-1 0-1 0 0,0 0 0 0 0,1 0 0 0 0,-1 0 0 0 0,0 0 1 0 0,1 0-1 0 0,-1 0 0 0 0,0-1 0 0 0,1 1 0 0 0,-1 0 1 0 0,0 0-1 0 0,1 0 0 0 0,-1 0 0 0 0,1 1 0 0 0,-1-1 1 0 0,1 0-1 0 0,11 13-51 0 0,6 27-31 0 0,-17-37 81 0 0,19 45-4212 0 0,46 81 0 0 0,-60-120 1694 0 0</inkml:trace>
</inkml:ink>
</file>

<file path=ppt/ink/ink3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14.6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82 968 0 0,'2'-2'267'0'0,"-1"0"-1"0"0,1 0 1 0 0,0 1 0 0 0,0-1-1 0 0,0 0 1 0 0,0 1 0 0 0,1 0-1 0 0,-1-1 1 0 0,0 1 0 0 0,1 0-1 0 0,-1 0 1 0 0,0 0 0 0 0,1 1-1 0 0,-1-1 1 0 0,1 0-1 0 0,0 1 1 0 0,2 0 0 0 0,-1 0-44 0 0,1 0 0 0 0,-1 0 0 0 0,0 1 0 0 0,1 0 0 0 0,-1 0 0 0 0,0 0 0 0 0,0 1 1 0 0,0-1-1 0 0,6 4 0 0 0,1 1 83 0 0,0 2 0 0 0,0-1 0 0 0,-1 1-1 0 0,0 0 1 0 0,17 19 0 0 0,0 8 418 0 0,-1 1 1 0 0,-1 1-1 0 0,-2 1 0 0 0,18 42 0 0 0,-33-67 655 0 0,-5-12-323 0 0,-3-20-5 0 0,-1 0-1199 0 0,2-5-229 0 0,0 0 0 0 0,2 0-1 0 0,0 0 1 0 0,9-28 0 0 0,-6 32-525 0 0,0 1 0 0 0,2 0-1 0 0,0 1 1 0 0,1-1 0 0 0,1 2 0 0 0,1-1-1 0 0,0 2 1 0 0,1-1 0 0 0,15-14 0 0 0,-23 27 713 0 0,50-60-738 0 0,-48 56 1597 0 0,-1-1 0 0 0,1 1 0 0 0,4-13 0 0 0,-10 19-581 0 0,1 0 0 0 0,-1 1 0 0 0,1-1 0 0 0,0 1 0 0 0,0-1 0 0 0,-1 1-1 0 0,1 0 1 0 0,0-1 0 0 0,0 1 0 0 0,0 0 0 0 0,1-1 0 0 0,-1 1 0 0 0,0 0 0 0 0,0 0-1 0 0,1 0 1 0 0,-1 0 0 0 0,0 0 0 0 0,1 1 0 0 0,-1-1 0 0 0,1 0 0 0 0,-1 0 0 0 0,3 0-1 0 0,-1 1-29 0 0,-1 0-1 0 0,0 0 1 0 0,0 1-1 0 0,0-1 1 0 0,0 0-1 0 0,0 1 0 0 0,0 0 1 0 0,0-1-1 0 0,0 1 1 0 0,0 0-1 0 0,0 0 0 0 0,0 0 1 0 0,0 0-1 0 0,-1 0 1 0 0,3 2-1 0 0,6 6 110 0 0,0 0 0 0 0,0 1 0 0 0,-1 0-1 0 0,9 14 1 0 0,-14-19-4 0 0,18 27 830 0 0,-1 0 0 0 0,-1 2 0 0 0,25 59 1541 0 0,-48-109-2193 0 0,1-5-310 0 0,0 1 0 0 0,1-1 0 0 0,1 0 0 0 0,1 0-1 0 0,6-34 1 0 0,-5 46-47 0 0,0 1 0 0 0,0 0 0 0 0,1-1-1 0 0,-1 1 1 0 0,2 0 0 0 0,-1 0 0 0 0,1 1 0 0 0,1-1 0 0 0,-1 1-1 0 0,1 0 1 0 0,1 0 0 0 0,-1 0 0 0 0,1 1 0 0 0,0 0-1 0 0,1 0 1 0 0,9-7 0 0 0,-13 11-98 0 0,1 0 1 0 0,0 0-1 0 0,0 0 1 0 0,0 0-1 0 0,0 0 1 0 0,0 1-1 0 0,0 0 1 0 0,0 0-1 0 0,0 0 1 0 0,1 0 0 0 0,-1 1-1 0 0,0-1 1 0 0,1 1-1 0 0,-1 0 1 0 0,0 1-1 0 0,1-1 1 0 0,-1 1-1 0 0,0 0 1 0 0,1 0-1 0 0,-1 0 1 0 0,0 0-1 0 0,0 1 1 0 0,6 3-1 0 0,1 1-1103 0 0,0 2 0 0 0,-1-1 0 0 0,1 1 1 0 0,-2 1-1 0 0,1 0 0 0 0,10 14 0 0 0,-7-11-2392 0 0</inkml:trace>
</inkml:ink>
</file>

<file path=ppt/ink/ink3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15.6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5 120 1796 0 0,'-40'-41'3503'0'0,"20"22"-935"0"0,-22-30-1 0 0,41 48-2523 0 0,1 1 0 0 0,0-1 0 0 0,-1 0 0 0 0,1 1 0 0 0,0-1 0 0 0,-1 1 0 0 0,1-1 0 0 0,-1 1-1 0 0,1-1 1 0 0,-1 1 0 0 0,1-1 0 0 0,-1 1 0 0 0,0-1 0 0 0,1 1 0 0 0,-1 0 0 0 0,1-1 0 0 0,-1 1 0 0 0,0 0-1 0 0,1-1 1 0 0,-2 1 0 0 0,1 11 784 0 0,10 22 46 0 0,8 13-122 0 0,1 0-1 0 0,3-1 1 0 0,1-1 0 0 0,33 48-1 0 0,-36-65-570 0 0,0-1-1 0 0,1-2 1 0 0,2 0 0 0 0,0-1-1 0 0,1-1 1 0 0,2-1-1 0 0,39 27 1 0 0,-52-41-256 0 0,1 0 0 0 0,-1-1 1 0 0,1-1-1 0 0,1 0 0 0 0,-1 0 0 0 0,1-1 1 0 0,17 2-1 0 0,-23-4-349 0 0,0-1 1 0 0,0-1-1 0 0,1 0 1 0 0,-1 0-1 0 0,0 0 0 0 0,0-1 1 0 0,0 0-1 0 0,0-1 0 0 0,0 0 1 0 0,0 0-1 0 0,0 0 1 0 0,0-1-1 0 0,12-7 0 0 0,-17 8-89 0 0,-1 0 0 0 0,1 0 0 0 0,-1 0 0 0 0,1 0 0 0 0,-1 0 0 0 0,0 0 0 0 0,0-1-1 0 0,0 1 1 0 0,1-4 0 0 0,5-9-3684 0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5.6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84 1352 0 0,'6'-5'469'0'0,"-1"1"-1"0"0,1 0 1 0 0,1 1 0 0 0,-1-1-1 0 0,0 1 1 0 0,1 1-1 0 0,-1-1 1 0 0,1 1-1 0 0,0 0 1 0 0,0 0 0 0 0,0 1-1 0 0,0 0 1 0 0,0 0-1 0 0,0 1 1 0 0,13 0 0 0 0,-12 1-194 0 0,0 1 0 0 0,0 0 1 0 0,0 0-1 0 0,0 1 0 0 0,0-1 1 0 0,0 2-1 0 0,-1-1 0 0 0,0 1 1 0 0,1 0-1 0 0,-2 1 0 0 0,1 0 1 0 0,0 0-1 0 0,7 8 1 0 0,3 6 243 0 0,0 1 1 0 0,-2 1 0 0 0,0 0 0 0 0,-2 1 0 0 0,0 1 0 0 0,13 33 0 0 0,-23-50-471 0 0,21 56 4322 0 0,-25-63-4351 0 0,0 0 0 0 0,0 0 0 0 0,0 0 0 0 0,0 0 0 0 0,0 0 1 0 0,0 0-1 0 0,0 0 0 0 0,0-1 0 0 0,0 1 0 0 0,1 0 0 0 0,-1 0 0 0 0,0-1 0 0 0,1 1 1 0 0,-1-1-1 0 0,1 1 0 0 0,0 0 0 0 0,-1-1 0 0 0,1 1 0 0 0,0-1 0 0 0,0 1 0 0 0,0-3 0 0 0,3-35-307 0 0,-2 32 225 0 0,0-2-23 0 0,1 0 0 0 0,0 0 0 0 0,0 0 0 0 0,1 0 0 0 0,0 1 0 0 0,1-1 0 0 0,0 1 0 0 0,1 0 0 0 0,-1 0 0 0 0,1 0 0 0 0,8-8 0 0 0,-9 11 30 0 0,0 0 1 0 0,1 0 0 0 0,0 0-1 0 0,0 1 1 0 0,0 0-1 0 0,1 0 1 0 0,-1 1 0 0 0,1-1-1 0 0,0 1 1 0 0,0 0-1 0 0,0 1 1 0 0,0-1 0 0 0,1 1-1 0 0,-1 1 1 0 0,11-3-1 0 0,-12 4 34 0 0,0 0 0 0 0,0 1-1 0 0,0-1 1 0 0,0 1 0 0 0,0 0-1 0 0,0 0 1 0 0,0 0-1 0 0,0 1 1 0 0,-1-1 0 0 0,1 1-1 0 0,-1 1 1 0 0,1-1 0 0 0,6 5-1 0 0,-3-1 0 0 0,1 0-1 0 0,-2 1 1 0 0,1 0-1 0 0,-1 0 1 0 0,9 12-1 0 0,-2 1 22 0 0,12 27-1 0 0,-4-9 2795 0 0,-23-41-2672 0 0,0 0-111 0 0,0 0 0 0 0,1 0 0 0 0,-1 0 0 0 0,1-1 0 0 0,0 1 0 0 0,0 0 0 0 0,0 0 0 0 0,0-1 0 0 0,0 1 0 0 0,1 0 0 0 0,-1 0 0 0 0,1 0 0 0 0,0-1 0 0 0,0 1 0 0 0,0 0 0 0 0,1 0 0 0 0,-1 0 0 0 0,1 1 0 0 0,-1-1 0 0 0,1 0 0 0 0,0 0 0 0 0,0 1 0 0 0,0-1 0 0 0,4-2 0 0 0,-1-1-28 0 0,1 0 1 0 0,0 1-1 0 0,0-1 1 0 0,0 1-1 0 0,1 1 1 0 0,0-1-1 0 0,0 1 1 0 0,0 0-1 0 0,11-4 1 0 0,-11 7-66 0 0,-1-1 1 0 0,1 1-1 0 0,0 0 0 0 0,0 1 1 0 0,0-1-1 0 0,-1 1 0 0 0,1 1 1 0 0,0-1-1 0 0,0 1 0 0 0,-1 0 1 0 0,1 1-1 0 0,0 0 0 0 0,-1 0 1 0 0,0 0-1 0 0,1 1 1 0 0,-1 0-1 0 0,0 0 0 0 0,0 0 1 0 0,0 1-1 0 0,7 6 0 0 0,-4-3-265 0 0,0 1-1 0 0,-1 1 1 0 0,1-1 0 0 0,-1 1-1 0 0,-1 1 1 0 0,0-1-1 0 0,0 1 1 0 0,-1 1 0 0 0,-1-1-1 0 0,1 1 1 0 0,3 12-1 0 0,-6-14-107 0 0,0 0-1 0 0,1 0 0 0 0,0-1 1 0 0,1 1-1 0 0,0-1 1 0 0,0 0-1 0 0,12 13 0 0 0,-13-17 291 0 0,0 0 0 0 0,1 0 0 0 0,0 0-1 0 0,0-1 1 0 0,0 1 0 0 0,1-1 0 0 0,-1 0 0 0 0,1-1-1 0 0,-1 1 1 0 0,1-1 0 0 0,0 0 0 0 0,0-1 0 0 0,8 2 0 0 0,-5-2 105 0 0,1 0 0 0 0,-1-1 0 0 0,1 0 0 0 0,0-1 0 0 0,-1 0 0 0 0,1 0 0 0 0,-1-1 0 0 0,1 0 0 0 0,-1-1 0 0 0,0 0 0 0 0,0 0 0 0 0,0-1 0 0 0,0-1 0 0 0,-1 1 0 0 0,16-12 1 0 0,-9 5 254 0 0,-1 0 0 0 0,0-2 0 0 0,-1 1 0 0 0,-1-2 0 0 0,0 0 0 0 0,-1 0 0 0 0,15-25 1 0 0,-24 36-111 0 0,-1 0 1 0 0,1-1 0 0 0,-1 1 0 0 0,0-1 0 0 0,0 1-1 0 0,0-1 1 0 0,0 0 0 0 0,-1 1 0 0 0,1-1 0 0 0,-1 0 0 0 0,0-4-1 0 0,0 7-67 0 0,0 0-1 0 0,-1 0 0 0 0,1 1 0 0 0,0-1 0 0 0,0 0 1 0 0,-1 0-1 0 0,1 0 0 0 0,0 0 0 0 0,-1 0 1 0 0,1 1-1 0 0,-1-1 0 0 0,1 0 0 0 0,-1 0 0 0 0,1 1 1 0 0,-1-1-1 0 0,1 0 0 0 0,-1 1 0 0 0,0-1 1 0 0,0 0-1 0 0,1 1 0 0 0,-2-1 0 0 0,0 0-8 0 0,1 1 0 0 0,-1 0 1 0 0,0-1-1 0 0,1 1 0 0 0,-1 0 0 0 0,0 0 0 0 0,1 0 0 0 0,-1 0 0 0 0,0 0 1 0 0,1 0-1 0 0,-1 1 0 0 0,0-1 0 0 0,1 0 0 0 0,-1 1 0 0 0,0-1 0 0 0,-1 2 0 0 0,-8 2 19 0 0,1 0 0 0 0,0 1-1 0 0,1 0 1 0 0,-13 9-1 0 0,18-11-12 0 0,1-1 1 0 0,0 1-1 0 0,-1 0 0 0 0,1 1 0 0 0,0-1 0 0 0,0 0 0 0 0,0 1 0 0 0,1 0 0 0 0,0-1 0 0 0,-1 1 0 0 0,1 0 0 0 0,0 0 0 0 0,-2 9 0 0 0,4-12-11 0 0,0 0 0 0 0,0 0 0 0 0,0 0 0 0 0,0 0 0 0 0,0 0 0 0 0,0 0 0 0 0,1-1 0 0 0,-1 1-1 0 0,0 0 1 0 0,1 0 0 0 0,-1 0 0 0 0,0 0 0 0 0,1 0 0 0 0,-1 0 0 0 0,1 0 0 0 0,-1-1 0 0 0,1 1-1 0 0,0 0 1 0 0,-1 0 0 0 0,1-1 0 0 0,0 1 0 0 0,0-1 0 0 0,-1 1 0 0 0,1 0 0 0 0,0-1 0 0 0,0 1-1 0 0,0-1 1 0 0,0 0 0 0 0,1 1 0 0 0,1 1 8 0 0,1-1 1 0 0,-1 0-1 0 0,1 0 0 0 0,-1 0 0 0 0,1 0 1 0 0,-1 0-1 0 0,8 0 0 0 0,5-4 111 0 0,-1 0 0 0 0,1 0 0 0 0,-1-2 1 0 0,1 0-1 0 0,-1-1 0 0 0,28-15 0 0 0,-43 21-116 0 0,1 0 1 0 0,0-1-1 0 0,-1 1 0 0 0,1 0 1 0 0,0-1-1 0 0,0 1 0 0 0,-1 0 1 0 0,1 0-1 0 0,0 0 0 0 0,0 0 1 0 0,0 0-1 0 0,-1 0 0 0 0,1 0 1 0 0,0 0-1 0 0,0 0 0 0 0,0 0 1 0 0,-1 0-1 0 0,1 0 0 0 0,0 1 1 0 0,0-1-1 0 0,0 0 0 0 0,-1 0 1 0 0,1 1-1 0 0,0-1 0 0 0,-1 1 1 0 0,1-1-1 0 0,0 1 0 0 0,-1-1 1 0 0,1 1-1 0 0,-1-1 0 0 0,1 1 1 0 0,0-1-1 0 0,-1 1 0 0 0,0 0 1 0 0,1 0-1 0 0,12 29 44 0 0,-9-19-18 0 0,-1-6-23 0 0,0-1 1 0 0,0 1-1 0 0,0-1 1 0 0,0 0-1 0 0,1 0 1 0 0,-1 0 0 0 0,1-1-1 0 0,0 1 1 0 0,0-1-1 0 0,1 0 1 0 0,-1 0-1 0 0,1-1 1 0 0,-1 1-1 0 0,1-1 1 0 0,0 0-1 0 0,0 0 1 0 0,0 0-1 0 0,0-1 1 0 0,0 0-1 0 0,10 1 1 0 0,-4 0 6 0 0,-1-2 0 0 0,1 1 0 0 0,0-2 0 0 0,-1 1 0 0 0,1-1-1 0 0,-1-1 1 0 0,1 0 0 0 0,-1 0 0 0 0,15-6 0 0 0,-18 4-79 0 0,0 1 0 0 0,-1-1 0 0 0,1-1-1 0 0,-1 1 1 0 0,0-1 0 0 0,0 0 0 0 0,0-1-1 0 0,-1 1 1 0 0,0-1 0 0 0,0 0 0 0 0,0 0-1 0 0,-1-1 1 0 0,0 1 0 0 0,0-1 0 0 0,-1 0 0 0 0,0 0-1 0 0,5-15 1 0 0,-2 0-93 0 0,0-1-1 0 0,-1 0 1 0 0,-2 0-1 0 0,2-41 1 0 0,-4 38 424 0 0,-2 0-1 0 0,-1 0 1 0 0,-1 0 0 0 0,-11-44-1 0 0,14 69-237 0 0,0 0-1 0 0,0-1 1 0 0,-1 1-1 0 0,1 0 1 0 0,-1 0 0 0 0,1-1-1 0 0,-1 1 1 0 0,1 0-1 0 0,-1 0 1 0 0,0 0-1 0 0,1 0 1 0 0,-1 0 0 0 0,0 0-1 0 0,0 0 1 0 0,0 0-1 0 0,0 0 1 0 0,0 0-1 0 0,0 0 1 0 0,0 1 0 0 0,0-1-1 0 0,0 0 1 0 0,0 1-1 0 0,-2-2 1 0 0,1 2 14 0 0,1 0 0 0 0,-1 0 0 0 0,1 0 0 0 0,-1 0 0 0 0,1 1 0 0 0,-1-1 0 0 0,1 0 0 0 0,-1 1 0 0 0,1-1 0 0 0,-1 1 0 0 0,1-1 0 0 0,-1 1 0 0 0,1 0 0 0 0,0 0 0 0 0,-1-1 0 0 0,-1 3 0 0 0,-3 2 98 0 0,0 0 0 0 0,1 0 0 0 0,0 1 0 0 0,0 0 0 0 0,0 0 0 0 0,-7 12 0 0 0,6-6-45 0 0,1 1 1 0 0,0-1-1 0 0,0 1 0 0 0,2 1 0 0 0,0-1 0 0 0,0 1 0 0 0,1-1 0 0 0,1 1 0 0 0,0 0 0 0 0,1-1 0 0 0,0 1 0 0 0,1 0 0 0 0,1-1 0 0 0,0 1 0 0 0,1-1 0 0 0,0 1 0 0 0,7 15 1 0 0,-5-14-81 0 0,1 1 1 0 0,1-1-1 0 0,1 0 1 0 0,0-1 0 0 0,1 0-1 0 0,1 0 1 0 0,0-1 0 0 0,0 0-1 0 0,1-1 1 0 0,1 0 0 0 0,0-1-1 0 0,1 0 1 0 0,25 17 0 0 0,-31-24-149 0 0,0-1 0 0 0,0 0 1 0 0,0 0-1 0 0,0 0 0 0 0,1-1 1 0 0,-1 0-1 0 0,1 0 1 0 0,-1-1-1 0 0,1 1 0 0 0,-1-2 1 0 0,1 1-1 0 0,0-1 0 0 0,0-1 1 0 0,-1 1-1 0 0,1-1 1 0 0,12-4-1 0 0,-10 2-71 0 0,1-1 0 0 0,-1 0 0 0 0,0-1 0 0 0,0 0 1 0 0,-1-1-1 0 0,1 0 0 0 0,-1 0 0 0 0,-1-1 0 0 0,1 0 0 0 0,-1-1 0 0 0,8-8 1 0 0,5-9-186 0 0,-1-1 0 0 0,-2-1 0 0 0,20-35 0 0 0,38-92-198 0 0,-29 55 657 0 0,28-64 1762 0 0,-75 163-1800 0 0,0 0 0 0 0,0-1 0 0 0,0 1 0 0 0,1 0 0 0 0,-1 0 0 0 0,0 0 0 0 0,0-1 0 0 0,0 1 0 0 0,0 0 0 0 0,0 0 0 0 0,0-1 0 0 0,0 1 0 0 0,0 0 0 0 0,1 0 0 0 0,-1 0 0 0 0,0-1 0 0 0,0 1 0 0 0,0 0 0 0 0,0 0 0 0 0,0-1 0 0 0,0 1 0 0 0,0 0 0 0 0,0 0 0 0 0,0-1 0 0 0,-1 1 0 0 0,1 0 0 0 0,0 0 0 0 0,0-1 0 0 0,0 1 0 0 0,0 0 0 0 0,0 0 0 0 0,0 0 0 0 0,0-1 0 0 0,-1 1 0 0 0,1 0 0 0 0,0 0 0 0 0,0 0 0 0 0,-1-1 0 0 0,-8 5 342 0 0,-15 17-109 0 0,9 0-112 0 0,1 1 1 0 0,1 0-1 0 0,1 2 0 0 0,1-1 1 0 0,1 1-1 0 0,1 1 1 0 0,-10 45-1 0 0,15-51-90 0 0,2-1 0 0 0,0 1 0 0 0,0-1-1 0 0,2 1 1 0 0,0-1 0 0 0,2 1 0 0 0,0-1-1 0 0,0 1 1 0 0,7 19 0 0 0,-4-23-460 0 0,0 0 0 0 0,1 0-1 0 0,0 0 1 0 0,12 19 0 0 0,-10-22-838 0 0,0-1 0 0 0,1 1-1 0 0,0-2 1 0 0,0 1 0 0 0,15 11 0 0 0,-5-6-3586 0 0</inkml:trace>
</inkml:ink>
</file>

<file path=ppt/ink/ink3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16.0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4 528 600 0 0,'-140'88'7313'0'0,"139"-88"-7278"0"0,1 1 0 0 0,0-1 0 0 0,-1 0-1 0 0,1 1 1 0 0,-1-1 0 0 0,0 0 0 0 0,1 1-1 0 0,-1-1 1 0 0,1 0 0 0 0,-1 0 0 0 0,1 0-1 0 0,-1 1 1 0 0,0-1 0 0 0,1 0 0 0 0,-1 0-1 0 0,0 0 1 0 0,1 0 0 0 0,-1 0 0 0 0,1 0-1 0 0,-1 0 1 0 0,0 0 0 0 0,0 0 0 0 0,2-11 456 0 0,14-16-172 0 0,43-42 337 0 0,113-104 0 0 0,-132 136-487 0 0,1-2 26 0 0,0-1 305 0 0,63-48 0 0 0,-102 87-469 0 0,0 1 1 0 0,0-1-1 0 0,0 0 0 0 0,0 1 0 0 0,0-1 1 0 0,0 1-1 0 0,0-1 0 0 0,1 1 0 0 0,-1 0 1 0 0,0-1-1 0 0,0 1 0 0 0,0 0 0 0 0,1 0 1 0 0,-1 0-1 0 0,0 0 0 0 0,0 0 0 0 0,0 0 0 0 0,1 0 1 0 0,-1 0-1 0 0,0 1 0 0 0,0-1 0 0 0,0 0 1 0 0,1 1-1 0 0,-1-1 0 0 0,0 1 0 0 0,0-1 1 0 0,0 1-1 0 0,0-1 0 0 0,0 1 0 0 0,0 0 1 0 0,0 0-1 0 0,0-1 0 0 0,0 1 0 0 0,0 0 1 0 0,-1 0-1 0 0,1 0 0 0 0,0 0 0 0 0,0 1 1 0 0,5 6 61 0 0,-1 1 0 0 0,0 0 0 0 0,-1 0 0 0 0,4 9 1 0 0,4 8 146 0 0,-9-20-192 0 0,1-1 1 0 0,0 1-1 0 0,0-1 0 0 0,0 0 1 0 0,1 0-1 0 0,0 0 0 0 0,0 0 1 0 0,0-1-1 0 0,0 0 0 0 0,1 0 1 0 0,0 0-1 0 0,0-1 0 0 0,0 0 1 0 0,0 0-1 0 0,0-1 0 0 0,0 1 1 0 0,1-1-1 0 0,-1-1 0 0 0,1 1 0 0 0,0-1 1 0 0,-1 0-1 0 0,1-1 0 0 0,0 1 1 0 0,0-1-1 0 0,-1-1 0 0 0,1 1 1 0 0,0-1-1 0 0,0 0 0 0 0,-1-1 1 0 0,13-4-1 0 0,-10 3-25 0 0,0-1 0 0 0,0 0 0 0 0,0 0 0 0 0,-1 0 0 0 0,0-1 0 0 0,0-1 0 0 0,0 0 0 0 0,-1 0 0 0 0,1 0 0 0 0,-2-1 0 0 0,11-11 0 0 0,-15 14-17 0 0,1 1-1 0 0,-1-1 1 0 0,0 0 0 0 0,0 0-1 0 0,0 0 1 0 0,0 0 0 0 0,-1 0-1 0 0,0-1 1 0 0,1 1 0 0 0,-2 0-1 0 0,1-1 1 0 0,0 1 0 0 0,-1 0-1 0 0,0-1 1 0 0,0 1 0 0 0,0-1-1 0 0,-1 1 1 0 0,1 0-1 0 0,-1-1 1 0 0,0 1 0 0 0,0 0-1 0 0,-1 0 1 0 0,1-1 0 0 0,-1 1-1 0 0,0 0 1 0 0,-5-7 0 0 0,2 3-9 0 0,-1 1 0 0 0,0-1 0 0 0,-1 1 0 0 0,0 0 0 0 0,0 1 0 0 0,0 0 0 0 0,-1 0 0 0 0,0 0 0 0 0,0 1 1 0 0,0 0-1 0 0,-1 1 0 0 0,1 0 0 0 0,-1 0 0 0 0,0 1 0 0 0,-1 0 0 0 0,1 0 0 0 0,0 1 0 0 0,-1 0 0 0 0,1 1 0 0 0,-1 0 0 0 0,-13 1 0 0 0,11 0-225 0 0,0 1-1 0 0,1 0 1 0 0,-1 1-1 0 0,0 0 1 0 0,1 1-1 0 0,0 0 0 0 0,-19 8 1 0 0,22-7-305 0 0,-1 1-1 0 0,1-1 1 0 0,0 1 0 0 0,0 1 0 0 0,0 0-1 0 0,1 0 1 0 0,0 0 0 0 0,0 1 0 0 0,-10 13-1 0 0,7 1-3165 0 0</inkml:trace>
</inkml:ink>
</file>

<file path=ppt/ink/ink3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16.5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 7 1212 0 0,'-19'-6'4207'0'0,"18"6"-4127"0"0,1 0 0 0 0,0 0 0 0 0,-1 0-1 0 0,1 0 1 0 0,0 0 0 0 0,0 0 0 0 0,-1 0 0 0 0,1 0-1 0 0,0 0 1 0 0,0 1 0 0 0,-1-1 0 0 0,1 0-1 0 0,0 0 1 0 0,-1 0 0 0 0,1 0 0 0 0,0 1-1 0 0,0-1 1 0 0,0 0 0 0 0,-1 0 0 0 0,1 1-1 0 0,0-1 1 0 0,0 0 0 0 0,0 0 0 0 0,0 1 0 0 0,-1-1-1 0 0,1 0 1 0 0,0 0 0 0 0,0 1 0 0 0,0-1-1 0 0,0 0 1 0 0,0 1 0 0 0,0-1 0 0 0,0 4 208 0 0,0 0 0 0 0,1 0 0 0 0,0 0 1 0 0,0-1-1 0 0,0 1 0 0 0,0 0 0 0 0,3 5 1 0 0,200 476 6078 0 0,-103-289-6068 0 0,-75-154-1877 0 0,31 39 1 0 0,-53-75 908 0 0,1 0 0 0 0,0 0 0 0 0,0-1 1 0 0,1 0-1 0 0,0 0 0 0 0,-1 0 1 0 0,10 5-1 0 0,7-15-5446 0 0</inkml:trace>
</inkml:ink>
</file>

<file path=ppt/ink/ink3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17.15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71 888 0 0,'3'-1'1132'0'0,"10"-4"-421"0"0,1 0 1 0 0,-2-1 0 0 0,1 0-1 0 0,-1-1 1 0 0,0 0 0 0 0,0-1 0 0 0,-1 0-1 0 0,0-1 1 0 0,-1 0 0 0 0,17-19 0 0 0,-20 20-623 0 0,-1 0 1 0 0,0 0 0 0 0,0-1 0 0 0,-1 0 0 0 0,0 0-1 0 0,0 0 1 0 0,-1 0 0 0 0,-1-1 0 0 0,1 0 0 0 0,-2 1 0 0 0,1-1-1 0 0,-1 0 1 0 0,-1-1 0 0 0,0 1 0 0 0,0-18 0 0 0,-1 26-90 0 0,0 1 0 0 0,0-1 0 0 0,0 1 1 0 0,0-1-1 0 0,0 1 0 0 0,0-1 0 0 0,0 0 0 0 0,-1 1 1 0 0,1-1-1 0 0,-1 1 0 0 0,1 0 0 0 0,-1-1 0 0 0,0 1 1 0 0,1-1-1 0 0,-1 1 0 0 0,0 0 0 0 0,0 0 0 0 0,0-1 1 0 0,0 1-1 0 0,0 0 0 0 0,0 0 0 0 0,0 0 0 0 0,0 0 1 0 0,-1 0-1 0 0,1 0 0 0 0,0 0 0 0 0,-1 1 0 0 0,1-1 1 0 0,0 0-1 0 0,-1 1 0 0 0,1-1 0 0 0,-1 1 0 0 0,1 0 1 0 0,-1-1-1 0 0,1 1 0 0 0,-3 0 0 0 0,0 0-6 0 0,1 1 0 0 0,-1-1 0 0 0,1 1 0 0 0,-1 0 0 0 0,1 0 0 0 0,0 0 0 0 0,0 1 0 0 0,0-1 0 0 0,0 1 0 0 0,0 0 0 0 0,0 0 0 0 0,0 0 0 0 0,0 0-1 0 0,0 0 1 0 0,-3 5 0 0 0,-1 2 45 0 0,0 0 0 0 0,0 1-1 0 0,1-1 1 0 0,0 1 0 0 0,1 1-1 0 0,0-1 1 0 0,1 1 0 0 0,0 0-1 0 0,0 0 1 0 0,-1 12 0 0 0,1-5 41 0 0,2 0 0 0 0,0 0 0 0 0,1 1 0 0 0,1-1 0 0 0,3 29 0 0 0,-1-39-53 0 0,-1 0 0 0 0,1 0-1 0 0,1 0 1 0 0,0-1-1 0 0,0 1 1 0 0,0-1-1 0 0,1 1 1 0 0,0-1-1 0 0,0 0 1 0 0,1-1 0 0 0,0 1-1 0 0,0-1 1 0 0,1 0-1 0 0,0 0 1 0 0,0-1-1 0 0,0 0 1 0 0,0 0-1 0 0,1 0 1 0 0,0 0 0 0 0,0-1-1 0 0,0-1 1 0 0,1 1-1 0 0,-1-1 1 0 0,1 0-1 0 0,-1-1 1 0 0,1 0-1 0 0,0 0 1 0 0,11 1 0 0 0,-4-3-6 0 0,0 0 1 0 0,0-1 0 0 0,0-1 0 0 0,0 0 0 0 0,0-1 0 0 0,-1 0 0 0 0,1-2 0 0 0,-1 0 0 0 0,0 0 0 0 0,0-1 0 0 0,0-1 0 0 0,12-8 0 0 0,-10 5-23 0 0,0 0 1 0 0,-1-2 0 0 0,-1 0 0 0 0,0-1-1 0 0,0 0 1 0 0,-1-1 0 0 0,-1 0 0 0 0,0-1-1 0 0,10-18 1 0 0,-14 19 69 0 0,0-1-1 0 0,-1 0 1 0 0,-1-1 0 0 0,0 1-1 0 0,-1-1 1 0 0,-1 0-1 0 0,0-1 1 0 0,-1 1-1 0 0,-1-1 1 0 0,-1 0 0 0 0,0 1-1 0 0,-1-1 1 0 0,-1 0-1 0 0,-5-32 1 0 0,5 45-13 0 0,-1 1-1 0 0,1-1 1 0 0,-1 0-1 0 0,1 0 1 0 0,-1 1-1 0 0,0-1 1 0 0,-5-6 0 0 0,6 10-49 0 0,0-1 0 0 0,0 1 0 0 0,0 0 0 0 0,0-1 0 0 0,0 1 0 0 0,0 0 0 0 0,0 0 0 0 0,0 0 0 0 0,0 0 0 0 0,0 0 0 0 0,0 0 0 0 0,0 0 0 0 0,-1 0 0 0 0,1 0 0 0 0,0 1 0 0 0,0-1 0 0 0,-1 1 1 0 0,1-1 1 0 0,-2 1-1 0 0,0 0 1 0 0,0 1-1 0 0,1-1 0 0 0,-1 1 1 0 0,0 0-1 0 0,1-1 1 0 0,-1 1-1 0 0,1 0 0 0 0,-1 0 1 0 0,1 1-1 0 0,-3 2 1 0 0,-18 28 56 0 0,16-21-31 0 0,1 1 0 0 0,1-1 0 0 0,0 1 0 0 0,1 0 0 0 0,0 0 0 0 0,1 0 0 0 0,0 1 0 0 0,1-1 0 0 0,0 16-1 0 0,1-23-14 0 0,1 1-1 0 0,0-1 0 0 0,1 1 1 0 0,0-1-1 0 0,0 0 0 0 0,0 1 1 0 0,0-1-1 0 0,1 0 0 0 0,0 0 1 0 0,1 1-1 0 0,-1-1 0 0 0,1-1 1 0 0,0 1-1 0 0,1 0 0 0 0,-1-1 1 0 0,1 0-1 0 0,0 0 0 0 0,0 0 1 0 0,1 0-1 0 0,8 6 0 0 0,-11-9-9 0 0,-1-1 0 0 0,1-1-1 0 0,0 1 1 0 0,0 0-1 0 0,0 0 1 0 0,1-1-1 0 0,-1 1 1 0 0,0-1-1 0 0,0 0 1 0 0,0 0 0 0 0,0 0-1 0 0,0 0 1 0 0,0 0-1 0 0,1 0 1 0 0,-1 0-1 0 0,0-1 1 0 0,0 1 0 0 0,0-1-1 0 0,4-1 1 0 0,-1 0-1 0 0,-1 0 1 0 0,1 0-1 0 0,-1 0 0 0 0,0-1 1 0 0,0 1-1 0 0,1-1 1 0 0,4-6-1 0 0,-3 2-8 0 0,0 0 1 0 0,0-1-1 0 0,-1 0 0 0 0,-1 0 0 0 0,1 0 0 0 0,-1-1 0 0 0,-1 0 1 0 0,4-10-1 0 0,5-12-7 0 0,-1 0-175 0 0,-10 29 135 0 0,3 3-17 0 0,0 1 64 0 0,0 0 0 0 0,0 0 0 0 0,-1 0-1 0 0,1 0 1 0 0,0 1 0 0 0,-1 0 0 0 0,0 0 0 0 0,1 0 0 0 0,-1 0-1 0 0,5 7 1 0 0,-4-6 5 0 0,72 75-3026 0 0,-60-65-736 0 0,24 17-1 0 0</inkml:trace>
</inkml:ink>
</file>

<file path=ppt/ink/ink3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17.6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38 1376 0 0,'1'-9'573'0'0,"1"-1"-1"0"0,0 0 1 0 0,0 0-1 0 0,1 1 1 0 0,0-1-1 0 0,5-9 1 0 0,-6 15-414 0 0,0 0 0 0 0,0 0-1 0 0,1 0 1 0 0,0 0 0 0 0,0 0 0 0 0,0 0 0 0 0,0 1 0 0 0,1-1 0 0 0,-1 1-1 0 0,1 0 1 0 0,0 0 0 0 0,0 1 0 0 0,0-1 0 0 0,5-2 0 0 0,-7 5-100 0 0,0-1 0 0 0,0 0 0 0 0,1 1 0 0 0,-1 0-1 0 0,0-1 1 0 0,1 1 0 0 0,-1 0 0 0 0,0 0 0 0 0,1 0 0 0 0,-1 1 0 0 0,0-1 0 0 0,0 1 0 0 0,1-1 0 0 0,-1 1 0 0 0,0 0 0 0 0,0-1 0 0 0,4 3 0 0 0,-3-1 8 0 0,1 0-1 0 0,-1 0 1 0 0,0 0 0 0 0,0 0 0 0 0,0 0-1 0 0,0 1 1 0 0,-1-1 0 0 0,1 1 0 0 0,-1 0-1 0 0,4 5 1 0 0,-2-1 164 0 0,0 0-1 0 0,-1 0 0 0 0,0 0 1 0 0,0 1-1 0 0,-1-1 0 0 0,0 1 1 0 0,0 0-1 0 0,-1 0 0 0 0,0 0 1 0 0,0 0-1 0 0,-1 0 0 0 0,0 0 1 0 0,-2 12-1 0 0,2-19-184 0 0,0 0 0 0 0,-1 1-1 0 0,1-1 1 0 0,-1 0 0 0 0,0 1-1 0 0,1-1 1 0 0,-1 0 0 0 0,0 0-1 0 0,0 0 1 0 0,0 0 0 0 0,0 0 0 0 0,0 0-1 0 0,0 0 1 0 0,0 0 0 0 0,0 0-1 0 0,-2 1 1 0 0,3-2-41 0 0,-1 1-1 0 0,1-1 1 0 0,0 0 0 0 0,-1 0-1 0 0,1 1 1 0 0,-1-1-1 0 0,1 0 1 0 0,0 0 0 0 0,-1 0-1 0 0,1 1 1 0 0,-1-1-1 0 0,1 0 1 0 0,-1 0 0 0 0,1 0-1 0 0,-1 0 1 0 0,1 0-1 0 0,-1 0 1 0 0,1 0 0 0 0,0 0-1 0 0,-1 0 1 0 0,1 0 0 0 0,-1 0-1 0 0,1 0 1 0 0,-1-1-1 0 0,1 1 1 0 0,-1 0 0 0 0,1 0-1 0 0,0 0 1 0 0,-1-1-1 0 0,1 1 1 0 0,-1 0 0 0 0,1 0-1 0 0,0-1 1 0 0,-1 1-1 0 0,1 0 1 0 0,0-1 0 0 0,-1 1-1 0 0,1 0 1 0 0,0-1 0 0 0,0 1-1 0 0,-1-1 1 0 0,1 1-1 0 0,0 0 1 0 0,0-1 0 0 0,0 1-1 0 0,-1-1 1 0 0,1 1-1 0 0,0-1 1 0 0,0 0 0 0 0,-3-14-157 0 0,1 0 0 0 0,1-1 0 0 0,0 1 0 0 0,1-1 1 0 0,0 1-1 0 0,6-28 0 0 0,26-94-851 0 0,-23 102 911 0 0,3 1 1 0 0,19-43-1 0 0,-30 76 115 0 0,0-1 1 0 0,0 0 0 0 0,0 1-1 0 0,0-1 1 0 0,0 1-1 0 0,0-1 1 0 0,0 1 0 0 0,0 0-1 0 0,1-1 1 0 0,-1 1-1 0 0,1 0 1 0 0,-1 0 0 0 0,1 0-1 0 0,-1 0 1 0 0,1 0-1 0 0,-1 0 1 0 0,1 0 0 0 0,0 1-1 0 0,-1-1 1 0 0,1 1 0 0 0,0-1-1 0 0,2 1 1 0 0,-1 0 37 0 0,-1 0 1 0 0,0 0-1 0 0,1 0 1 0 0,-1 1 0 0 0,0-1-1 0 0,1 1 1 0 0,-1 0-1 0 0,0-1 1 0 0,0 1-1 0 0,0 0 1 0 0,0 0-1 0 0,1 1 1 0 0,-1-1 0 0 0,-1 0-1 0 0,1 1 1 0 0,2 2-1 0 0,16 16 383 0 0,-1 1-1 0 0,-1 1 0 0 0,-1 0 1 0 0,17 30-1 0 0,1 2 526 0 0,-23-42 1354 0 0,-12-12-2302 0 0,0 0 1 0 0,0 0 0 0 0,1 0-1 0 0,-1 0 1 0 0,0 0 0 0 0,0 0-1 0 0,0 0 1 0 0,0 0 0 0 0,1 0-1 0 0,-1 0 1 0 0,0 0-1 0 0,0 0 1 0 0,0 0 0 0 0,0 0-1 0 0,1 0 1 0 0,-1-1 0 0 0,0 1-1 0 0,0 0 1 0 0,0 0 0 0 0,0 0-1 0 0,0 0 1 0 0,0 0-1 0 0,1-1 1 0 0,-1 1 0 0 0,0 0-1 0 0,0 0 1 0 0,0 0 0 0 0,0 0-1 0 0,0-1 1 0 0,0 1 0 0 0,0 0-1 0 0,0 0 1 0 0,0 0 0 0 0,0 0-1 0 0,0-1 1 0 0,0 1-1 0 0,0 0 1 0 0,0 0 0 0 0,0 0-1 0 0,0-1 1 0 0,0 1 0 0 0,0 0-1 0 0,-3-37-126 0 0,0 15 351 0 0,3 5-218 0 0,0-2-4 0 0,0 0 0 0 0,1 0 0 0 0,4-21 0 0 0,-4 37-46 0 0,-1-1 1 0 0,1 0 0 0 0,0 1 0 0 0,0-1 0 0 0,1 1-1 0 0,-1-1 1 0 0,1 1 0 0 0,-1 0 0 0 0,1 0 0 0 0,0-1-1 0 0,0 1 1 0 0,1 0 0 0 0,-1 1 0 0 0,1-1 0 0 0,-1 0 0 0 0,1 1-1 0 0,0-1 1 0 0,0 1 0 0 0,0 0 0 0 0,0 0 0 0 0,7-3-1 0 0,-7 4-98 0 0,0 0-1 0 0,0 1 0 0 0,1-1 0 0 0,-1 1 0 0 0,0 0 0 0 0,1 0 0 0 0,-1 0 0 0 0,0 0 0 0 0,1 0 0 0 0,-1 1 0 0 0,0-1 1 0 0,4 2-1 0 0,37 17-2133 0 0,-35-14 1362 0 0,-1 1-1 0 0,1 0 0 0 0,-2 0 1 0 0,1 1-1 0 0,-1 0 0 0 0,0 0 1 0 0,0 1-1 0 0,-1 0 0 0 0,9 14 1 0 0,-3-1-3233 0 0</inkml:trace>
</inkml:ink>
</file>

<file path=ppt/ink/ink3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18.0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9 509 4332 0 0,'-20'25'3693'0'0,"3"-4"-905"0"0,-5-1 3625 0 0,31-38-5601 0 0,8-7-332 0 0,11-8-228 0 0,18-15-256 0 0,3-1-432 0 0,18-13-352 0 0,2-2-364 0 0,9-2-493 0 0,-1-2-611 0 0,3-2-1652 0 0,-6-2-2269 0 0</inkml:trace>
</inkml:ink>
</file>

<file path=ppt/ink/ink3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28.2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0 0 1832 0 0,'-11'8'1331'0'0,"2"-2"-366"0"0,1 0 1 0 0,-1 0-1 0 0,-9 11 1 0 0,16-16-820 0 0,1 1 0 0 0,0-1 0 0 0,0 0 0 0 0,0 0 0 0 0,0 1 0 0 0,0-1 0 0 0,0 1 0 0 0,0-1 0 0 0,0 1 0 0 0,0 0 0 0 0,1-1 0 0 0,-1 1 0 0 0,1 0 0 0 0,-1-1 0 0 0,1 1 0 0 0,0 0 0 0 0,0 0 0 0 0,-1-1 0 0 0,1 1 1 0 0,0 0-1 0 0,1 0 0 0 0,-1-1 0 0 0,0 1 0 0 0,0 0 0 0 0,1 0 0 0 0,1 2 0 0 0,-2-2-59 0 0,1-1 1 0 0,0 0 0 0 0,0 0-1 0 0,0 0 1 0 0,0 0-1 0 0,1 0 1 0 0,-1 0 0 0 0,0 0-1 0 0,0 0 1 0 0,0 0-1 0 0,1-1 1 0 0,-1 1 0 0 0,1 0-1 0 0,-1-1 1 0 0,0 1 0 0 0,1-1-1 0 0,2 1 1 0 0,30 3 792 0 0,-27-4-680 0 0,81 2 1026 0 0,107-12-1 0 0,-117 5-952 0 0,30 0-48 0 0,10-1-1695 0 0,-40-1-2400 0 0,-70 6 3073 0 0,8-1-433 0 0,-1-2-2583 0 0,4-2 823 0 0</inkml:trace>
</inkml:ink>
</file>

<file path=ppt/ink/ink3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28.67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2 24 376 0 0,'5'-7'7037'0'0,"-13"18"-6505"0"0,0 1 1 0 0,0-1-1 0 0,1 2 0 0 0,1-1 0 0 0,0 1 0 0 0,0 0 0 0 0,-3 17 0 0 0,8-26-451 0 0,0 0 1 0 0,0 0-1 0 0,0 0 0 0 0,1 0 0 0 0,0 0 0 0 0,0 0 0 0 0,0 0 0 0 0,0 0 0 0 0,1 0 0 0 0,0 0 0 0 0,0 0 1 0 0,0 0-1 0 0,0 0 0 0 0,0 0 0 0 0,1 0 0 0 0,0-1 0 0 0,-1 1 0 0 0,2 0 0 0 0,-1-1 0 0 0,0 0 0 0 0,1 1 1 0 0,-1-1-1 0 0,1 0 0 0 0,0 0 0 0 0,0-1 0 0 0,0 1 0 0 0,0 0 0 0 0,1-1 0 0 0,5 4 0 0 0,1-2 20 0 0,0 0-1 0 0,0 0 0 0 0,0-1 1 0 0,1 0-1 0 0,-1-1 1 0 0,1 0-1 0 0,-1 0 0 0 0,1-1 1 0 0,0-1-1 0 0,-1 0 0 0 0,1 0 1 0 0,0-1-1 0 0,-1 0 1 0 0,1-1-1 0 0,-1-1 0 0 0,14-4 1 0 0,-17 5-32 0 0,0-1-1 0 0,0 1 1 0 0,-1-2 0 0 0,1 1 0 0 0,-1-1 0 0 0,0 0 0 0 0,0 0 0 0 0,0-1 0 0 0,0 0-1 0 0,8-10 1 0 0,-10 10-39 0 0,-1 1 0 0 0,0 0 0 0 0,-1-1 0 0 0,1 0 1 0 0,-1 0-1 0 0,0 1 0 0 0,0-1 0 0 0,-1 0 0 0 0,0-1 0 0 0,1 1 0 0 0,-2 0 0 0 0,1 0 0 0 0,0-1 0 0 0,-1 1 0 0 0,0 0 0 0 0,-1-8 0 0 0,0 8-25 0 0,1 1-1 0 0,-1-1 0 0 0,0 0 0 0 0,0 0 1 0 0,-1 1-1 0 0,1-1 0 0 0,-1 1 0 0 0,0-1 1 0 0,-1 1-1 0 0,1 0 0 0 0,-1 0 1 0 0,1 0-1 0 0,-1 0 0 0 0,0 0 0 0 0,-1 1 1 0 0,1-1-1 0 0,-1 1 0 0 0,1 0 1 0 0,-9-5-1 0 0,6 4-58 0 0,-1 1 0 0 0,0 0 0 0 0,0 1 0 0 0,-1-1 1 0 0,1 1-1 0 0,0 0 0 0 0,-1 1 0 0 0,1 0 0 0 0,-1 0 0 0 0,0 1 0 0 0,-14 1 1 0 0,-1 0-692 0 0,1 2 1 0 0,-1 1 0 0 0,1 1 0 0 0,0 0 0 0 0,0 2 0 0 0,1 0 0 0 0,0 2-1 0 0,0 0 1 0 0,-21 14 0 0 0,27-13-2129 0 0,4 1-926 0 0</inkml:trace>
</inkml:ink>
</file>

<file path=ppt/ink/ink3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29.0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 1476 0 0,'5'-1'394'0'0,"0"-1"1"0"0,0 1-1 0 0,1 0 0 0 0,-1 0 1 0 0,0 0-1 0 0,0 1 1 0 0,1 0-1 0 0,-1 0 0 0 0,0 0 1 0 0,0 1-1 0 0,1-1 0 0 0,-1 1 1 0 0,0 1-1 0 0,0-1 0 0 0,0 1 1 0 0,0 0-1 0 0,0 0 0 0 0,0 0 1 0 0,0 0-1 0 0,-1 1 0 0 0,6 4 1 0 0,1 1 63 0 0,-1 1 1 0 0,0 1-1 0 0,-1 0 1 0 0,0 0-1 0 0,-1 1 1 0 0,0 0-1 0 0,0 0 1 0 0,6 13-1 0 0,44 100 3342 0 0,-56-118-3410 0 0,-2-5-337 0 0,0-1 1 0 0,0 0-1 0 0,0 0 1 0 0,0 1 0 0 0,1-1-1 0 0,-1 0 1 0 0,0 1-1 0 0,0-1 1 0 0,0 0-1 0 0,0 0 1 0 0,0 1 0 0 0,0-1-1 0 0,0 0 1 0 0,1 0-1 0 0,-1 1 1 0 0,0-1 0 0 0,0 0-1 0 0,0 0 1 0 0,1 1-1 0 0,-1-1 1 0 0,0 0-1 0 0,0 0 1 0 0,1 0 0 0 0,-1 1-1 0 0,0-1 1 0 0,0 0-1 0 0,1 0 1 0 0,-1 0-1 0 0,0 0 1 0 0,1 0 0 0 0,-1 0-1 0 0,0 0 1 0 0,1 0-1 0 0,-1 0 1 0 0,5-10 353 0 0,0-18-350 0 0,-2 8-2 0 0,0 0 0 0 0,2 0-1 0 0,0 1 1 0 0,16-37 0 0 0,-21 54-59 0 0,1 0 1 0 0,0 0-1 0 0,0 0 1 0 0,0 0-1 0 0,0 0 1 0 0,0 1-1 0 0,0-1 1 0 0,1 0-1 0 0,-1 0 0 0 0,1 1 1 0 0,-1-1-1 0 0,1 1 1 0 0,-1-1-1 0 0,1 1 1 0 0,0 0-1 0 0,0 0 1 0 0,0 0-1 0 0,0 0 1 0 0,-1 0-1 0 0,1 0 1 0 0,1 0-1 0 0,-1 1 1 0 0,0-1-1 0 0,0 1 1 0 0,0-1-1 0 0,0 1 1 0 0,0 0-1 0 0,0 0 1 0 0,4 0-1 0 0,-3 0 14 0 0,0 1 0 0 0,0 0 0 0 0,0-1-1 0 0,0 1 1 0 0,0 0 0 0 0,0 0 0 0 0,-1 1-1 0 0,1-1 1 0 0,0 1 0 0 0,-1-1 0 0 0,1 1-1 0 0,2 3 1 0 0,27 25-3 0 0,-29-27-16 0 0,17 19-744 0 0,-2 0-1 0 0,28 44 1 0 0,-1 12-6410 0 0,-34-67 3164 0 0,-9-9 2929 0 0</inkml:trace>
</inkml:ink>
</file>

<file path=ppt/ink/ink3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29.4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1 145 2288 0 0,'5'-8'5293'0'0,"-6"7"-5150"0"0,-10 8 1863 0 0,-18 17-535 0 0,21-16-1180 0 0,0 0 0 0 0,1 1-1 0 0,0 1 1 0 0,0-1 0 0 0,1 1 0 0 0,0 0-1 0 0,1 0 1 0 0,0 1 0 0 0,-6 17 0 0 0,10-24-256 0 0,0 0 1 0 0,0 0-1 0 0,0 0 1 0 0,1 0-1 0 0,-1 0 1 0 0,1 0-1 0 0,0 1 1 0 0,0-1-1 0 0,1 0 1 0 0,-1 0-1 0 0,1 0 1 0 0,0 0 0 0 0,0 0-1 0 0,0 0 1 0 0,0 0-1 0 0,1-1 1 0 0,0 1-1 0 0,-1 0 1 0 0,1-1-1 0 0,1 1 1 0 0,-1-1-1 0 0,0 1 1 0 0,1-1-1 0 0,0 0 1 0 0,0 0-1 0 0,0 0 1 0 0,0-1-1 0 0,0 1 1 0 0,0-1 0 0 0,5 3-1 0 0,-1-1-135 0 0,0-1 0 0 0,0 0 0 0 0,1 0 0 0 0,-1 0 0 0 0,1-1 0 0 0,-1 0 0 0 0,1 0 0 0 0,0-1 0 0 0,-1 0 0 0 0,13 0 1 0 0,-8-1-216 0 0,1-1 0 0 0,0-1 1 0 0,0 0-1 0 0,-1-1 0 0 0,23-7 1 0 0,-8-2-271 0 0,0 0 0 0 0,0-1 0 0 0,-2-2 0 0 0,43-31 0 0 0,74-75 2106 0 0,-106 88-910 0 0,-34 31-597 0 0,1 0 25 0 0,0-1 0 0 0,1 1 0 0 0,-1 0 0 0 0,1 0-1 0 0,-1 1 1 0 0,1-1 0 0 0,6-1 0 0 0,-1-1 50 0 0,-3 0 1 0 0,0 0 1 0 0,-1 0 0 0 0,0 0 0 0 0,0-1-1 0 0,0 0 1 0 0,0 0 0 0 0,4-6-1 0 0,-7 8-19 0 0,0 0 0 0 0,0-1 0 0 0,0 1 0 0 0,0 0 0 0 0,-1-1 0 0 0,1 1 0 0 0,-1-1 0 0 0,0 1 0 0 0,0-1 1 0 0,0 1-1 0 0,-1-1 0 0 0,1 0 0 0 0,-1 0 0 0 0,0-4 0 0 0,0 7-54 0 0,0 0 0 0 0,-1 0-1 0 0,1-1 1 0 0,0 1 0 0 0,-1 0 0 0 0,1 0 0 0 0,-1 0 0 0 0,0 0 0 0 0,1 0 0 0 0,-1 0 0 0 0,0 0 0 0 0,1 0 0 0 0,-1 0 0 0 0,0 0 0 0 0,0 0 0 0 0,0 1 0 0 0,0-1 0 0 0,0 0 0 0 0,0 1 0 0 0,0-1 0 0 0,0 0 0 0 0,0 1 0 0 0,0-1 0 0 0,-3 0 0 0 0,1 0 30 0 0,-1 0 1 0 0,0 0 0 0 0,1 1 0 0 0,-1-1-1 0 0,0 1 1 0 0,-5 0 0 0 0,0 1 52 0 0,0 0 0 0 0,0 1 0 0 0,0 0 0 0 0,0 1 0 0 0,0 0 0 0 0,1 0 0 0 0,0 1 0 0 0,-1 0 0 0 0,1 0 0 0 0,0 1 0 0 0,-12 9 0 0 0,11-7-23 0 0,1 0 0 0 0,0 1 0 0 0,0 0 0 0 0,1 0 0 0 0,0 0 0 0 0,0 1 0 0 0,1 0 0 0 0,0 0 0 0 0,-5 13 0 0 0,9-17-55 0 0,0 0 0 0 0,0-1 0 0 0,1 1 0 0 0,0 0 0 0 0,0 0 0 0 0,0-1 0 0 0,1 1-1 0 0,-1 0 1 0 0,1 0 0 0 0,0 0 0 0 0,1 0 0 0 0,-1 0 0 0 0,1 0 0 0 0,0 0 0 0 0,3 8-1 0 0,-1-6-13 0 0,0 0-1 0 0,0-1 1 0 0,1 0-1 0 0,0 0 0 0 0,0 0 1 0 0,1 0-1 0 0,0 0 0 0 0,0-1 1 0 0,10 9-1 0 0,-4-5-494 0 0,1-1 0 0 0,0 0 0 0 0,0-1 0 0 0,21 9 0 0 0,-20-10-1307 0 0,1-1 0 0 0,0-1 0 0 0,26 6 0 0 0,-14-7-2978 0 0</inkml:trace>
</inkml:ink>
</file>

<file path=ppt/ink/ink3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1.5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3 4 1564 0 0,'-4'-1'1106'0'0,"-4"0"-822"0"0,1 0-1 0 0,-1 1 1 0 0,1-1-1 0 0,-1 1 1 0 0,1 1-1 0 0,-1 0 1 0 0,1 0-1 0 0,-1 0 1 0 0,1 1-1 0 0,-1 0 0 0 0,1 0 1 0 0,0 1-1 0 0,0 0 1 0 0,0 0-1 0 0,-7 6 1 0 0,10-7-215 0 0,1 0-1 0 0,0 0 1 0 0,0 1 0 0 0,0-1 0 0 0,0 1 0 0 0,0 0-1 0 0,0 0 1 0 0,0 0 0 0 0,1 0 0 0 0,0 1 0 0 0,0-1 0 0 0,0 1-1 0 0,0-1 1 0 0,0 1 0 0 0,1 0 0 0 0,-1 0 0 0 0,1 0-1 0 0,0 0 1 0 0,0 0 0 0 0,1 0 0 0 0,-1 0 0 0 0,1 0-1 0 0,0 0 1 0 0,0 0 0 0 0,0 0 0 0 0,0 0 0 0 0,1 0-1 0 0,0 0 1 0 0,0 0 0 0 0,2 7 0 0 0,2 0 49 0 0,0 0 1 0 0,0-1-1 0 0,1 1 1 0 0,0-1-1 0 0,1-1 1 0 0,7 10-1 0 0,53 52 376 0 0,-46-51-377 0 0,-1 1 0 0 0,24 32-1 0 0,-43-51-104 0 0,1 1-1 0 0,0 0 1 0 0,-1-1-1 0 0,0 1 1 0 0,1 0-1 0 0,-1 0 1 0 0,0 0-1 0 0,0 0 1 0 0,-1 0-1 0 0,1 0 1 0 0,-1 0-1 0 0,1 0 1 0 0,-1 0-1 0 0,0 4 1 0 0,-1-5-3 0 0,1 0 0 0 0,-1 0 1 0 0,1 0-1 0 0,-1 0 0 0 0,0 0 1 0 0,0 0-1 0 0,0 0 1 0 0,0 0-1 0 0,0 0 0 0 0,0 0 1 0 0,-1 0-1 0 0,1-1 0 0 0,0 1 1 0 0,-1-1-1 0 0,1 1 0 0 0,-1-1 1 0 0,0 1-1 0 0,0-1 0 0 0,1 0 1 0 0,-5 2-1 0 0,3-1-19 0 0,0-1 1 0 0,0 0-1 0 0,-1 1 0 0 0,1-1 0 0 0,0-1 0 0 0,-1 1 1 0 0,1 0-1 0 0,-1-1 0 0 0,1 0 0 0 0,-1 1 1 0 0,1-1-1 0 0,-1-1 0 0 0,1 1 0 0 0,-1-1 1 0 0,1 1-1 0 0,0-1 0 0 0,-1 0 0 0 0,1 0 1 0 0,0 0-1 0 0,-1-1 0 0 0,1 1 0 0 0,0-1 1 0 0,0 0-1 0 0,0 1 0 0 0,-5-5 0 0 0,3 1-73 0 0,0 0 0 0 0,0 0 0 0 0,0 0-1 0 0,0 0 1 0 0,1-1 0 0 0,0 0 0 0 0,0 0-1 0 0,1 0 1 0 0,-1 0 0 0 0,1 0 0 0 0,-3-12-1 0 0,-10-39-150 0 0,16 57 253 0 0,0 0 0 0 0,0-1 0 0 0,0 1 0 0 0,-1 0 0 0 0,1-1 0 0 0,0 1 0 0 0,0 0 0 0 0,0 0 1 0 0,0-1-1 0 0,-1 1 0 0 0,1 0 0 0 0,0-1 0 0 0,0 1 0 0 0,-1 0 0 0 0,1 0 0 0 0,0 0 0 0 0,0-1 1 0 0,-1 1-1 0 0,1 0 0 0 0,0 0 0 0 0,-1 0 0 0 0,1 0 0 0 0,0-1 0 0 0,-1 1 0 0 0,1 0 0 0 0,0 0 1 0 0,-1 0-1 0 0,1 0 0 0 0,0 0 0 0 0,-1 0 0 0 0,1 0 0 0 0,-1 0 0 0 0,-12 8 587 0 0,-16 25 369 0 0,17-17-648 0 0,-71 79 238 0 0,52-54-5050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7.4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2 2 536 0 0,'-15'-1'822'0'0,"0"1"0"0"0,0 0 0 0 0,0 1 0 0 0,-24 5 1 0 0,34-5-661 0 0,0 0 1 0 0,0 0 0 0 0,0 1 0 0 0,0 0 0 0 0,0 0 0 0 0,0 0-1 0 0,1 1 1 0 0,-1-1 0 0 0,1 1 0 0 0,-1 0 0 0 0,1 0 0 0 0,0 1-1 0 0,0-1 1 0 0,1 1 0 0 0,-1 0 0 0 0,-4 6 0 0 0,7-7-113 0 0,0-1 0 0 0,0 1 0 0 0,0-1 0 0 0,1 1 0 0 0,-1-1 0 0 0,1 1 0 0 0,-1 0-1 0 0,1-1 1 0 0,0 1 0 0 0,0 0 0 0 0,0-1 0 0 0,1 1 0 0 0,-1 0 0 0 0,1-1 0 0 0,-1 1 0 0 0,1 0 0 0 0,0-1 0 0 0,0 1 0 0 0,0-1 0 0 0,0 0 0 0 0,0 1 0 0 0,1-1 0 0 0,-1 0 0 0 0,1 0 0 0 0,0 0 0 0 0,2 3 0 0 0,6 6 44 0 0,0 0 0 0 0,1-1 0 0 0,16 13 0 0 0,49 33 140 0 0,-41-32-93 0 0,-2 2 0 0 0,0 1 0 0 0,56 61 0 0 0,-88-88-113 0 0,0 1 0 0 0,0 0 0 0 0,0 0 0 0 0,0 0 0 0 0,0 0 0 0 0,-1 0 0 0 0,1 0 0 0 0,0 0 0 0 0,-1 0 0 0 0,1 0 1 0 0,-1 0-1 0 0,1 0 0 0 0,-1 0 0 0 0,0 0 0 0 0,1 0 0 0 0,-1 0 0 0 0,0 0 0 0 0,0 1 0 0 0,0-1 0 0 0,0 0 0 0 0,0 0 0 0 0,0 0 0 0 0,0 1 0 0 0,0-1 0 0 0,0 0 0 0 0,0 0 0 0 0,-1 0 0 0 0,1 0 0 0 0,-1 0 0 0 0,1 0 0 0 0,0 1 0 0 0,-1-1 0 0 0,0 0 0 0 0,1 0 0 0 0,-1 0 0 0 0,0-1 0 0 0,1 1 0 0 0,-1 0 0 0 0,0 0 0 0 0,0 0 0 0 0,0 0 0 0 0,0-1 0 0 0,0 1 0 0 0,0 0 0 0 0,0-1 0 0 0,0 1 0 0 0,0-1 0 0 0,0 1 0 0 0,0-1 0 0 0,-2 1 0 0 0,-4 2 69 0 0,-1-1-1 0 0,0 0 1 0 0,0 0-1 0 0,0-1 1 0 0,-10 1-1 0 0,13-2-116 0 0,0 1 0 0 0,1-1 0 0 0,-1-1 0 0 0,1 1 0 0 0,-1 0 0 0 0,1-1 0 0 0,-1 0 0 0 0,1 0-1 0 0,-1-1 1 0 0,1 1 0 0 0,0-1 0 0 0,-1 0 0 0 0,1 0 0 0 0,0 0 0 0 0,0-1 0 0 0,1 1 0 0 0,-1-1 0 0 0,0 0-1 0 0,1 0 1 0 0,0 0 0 0 0,0-1 0 0 0,0 1 0 0 0,0-1 0 0 0,0 1 0 0 0,-2-6 0 0 0,1 1-72 0 0,0 0 1 0 0,1 1 0 0 0,1-1-1 0 0,-1-1 1 0 0,1 1 0 0 0,0 0-1 0 0,1 0 1 0 0,0-1 0 0 0,1 1-1 0 0,-1-1 1 0 0,1 1 0 0 0,2-11-1 0 0,-1 6 8 0 0,1 1-1 0 0,1-1 1 0 0,0 0 0 0 0,7-17-1 0 0,-8 18 59 0 0,-10 16 462 0 0,-9 12 76 0 0,-71 91 452 0 0,75-88-1165 0 0,0 0 0 0 0,2 0 1 0 0,-19 42-1 0 0,29-58 28 0 0,0-1-1 0 0,0 1 1 0 0,0-1-1 0 0,0 1 1 0 0,0 0 0 0 0,1 0-1 0 0,-1-1 1 0 0,1 1-1 0 0,0 0 1 0 0,0 0 0 0 0,0 0-1 0 0,0-1 1 0 0,0 1-1 0 0,1 0 1 0 0,-1 0 0 0 0,1-1-1 0 0,0 1 1 0 0,-1 0-1 0 0,1-1 1 0 0,1 1 0 0 0,-1-1-1 0 0,0 1 1 0 0,1-1-1 0 0,-1 1 1 0 0,1-1 0 0 0,0 0-1 0 0,-1 0 1 0 0,1 0-1 0 0,0 0 1 0 0,0 0 0 0 0,1 0-1 0 0,-1 0 1 0 0,0-1-1 0 0,1 1 1 0 0,-1-1 0 0 0,0 0-1 0 0,1 0 1 0 0,0 0-1 0 0,5 2 1 0 0,9 1-1384 0 0</inkml:trace>
</inkml:ink>
</file>

<file path=ppt/ink/ink3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2.3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08 408 0 0,'35'-17'3512'0'0,"-16"8"-2075"0"0,0 0 0 0 0,-1-1 1 0 0,17-13-1 0 0,-30 20-1221 0 0,-1-1 0 0 0,0 0 0 0 0,0 0 0 0 0,0 0 0 0 0,0 0 0 0 0,-1-1 0 0 0,1 1 0 0 0,-1-1 0 0 0,0 0 0 0 0,-1 0 0 0 0,1 0 0 0 0,-1 0 0 0 0,0 0 0 0 0,0-1 0 0 0,1-9 0 0 0,-2-16 601 0 0,-2 30-800 0 0,1 0-1 0 0,0 0 1 0 0,-1 0 0 0 0,1 1-1 0 0,0-1 1 0 0,-1 0 0 0 0,1 0-1 0 0,-1 1 1 0 0,1-1 0 0 0,-1 0-1 0 0,0 1 1 0 0,1-1 0 0 0,-1 1-1 0 0,0-1 1 0 0,1 1 0 0 0,-1-1-1 0 0,0 1 1 0 0,0-1 0 0 0,1 1 0 0 0,-1-1-1 0 0,-2 1 1 0 0,-10-5 81 0 0,11 5-89 0 0,0 0 1 0 0,0 0 0 0 0,0 0-1 0 0,-1 0 1 0 0,1 0 0 0 0,0 1-1 0 0,0-1 1 0 0,0 1 0 0 0,0 0 0 0 0,-1-1-1 0 0,1 1 1 0 0,0 0 0 0 0,0 0-1 0 0,-2 2 1 0 0,-1-1 14 0 0,-3 3 6 0 0,-1 0 1 0 0,2 0-1 0 0,-1 1 1 0 0,1-1-1 0 0,0 2 0 0 0,0-1 1 0 0,0 1-1 0 0,1 0 0 0 0,0 0 1 0 0,1 1-1 0 0,-1 0 0 0 0,1 0 1 0 0,-4 10-1 0 0,7-14-9 0 0,0 1 0 0 0,1-1 0 0 0,-1 1 0 0 0,1 0 0 0 0,0 0-1 0 0,0-1 1 0 0,0 1 0 0 0,1 0 0 0 0,0 0 0 0 0,0 0 0 0 0,1 9 0 0 0,-1-11-12 0 0,1 0 1 0 0,0 1-1 0 0,1-1 1 0 0,-1 0 0 0 0,0 0-1 0 0,1 1 1 0 0,0-1-1 0 0,0 0 1 0 0,0-1 0 0 0,0 1-1 0 0,0 0 1 0 0,0-1-1 0 0,1 1 1 0 0,-1-1 0 0 0,1 1-1 0 0,0-1 1 0 0,0 0-1 0 0,3 2 1 0 0,3 0-260 0 0,-1-1 1 0 0,1 1-1 0 0,-1-1 0 0 0,1 0 1 0 0,0-1-1 0 0,0 0 1 0 0,0-1-1 0 0,0 0 0 0 0,1 0 1 0 0,-1-1-1 0 0,0 0 0 0 0,18-3 1 0 0,3-1-890 0 0,0-2 1 0 0,46-16-1 0 0,-35 7 237 0 0,60-32-1 0 0,-9-1 3151 0 0,-55 27-86 0 0,-29 17-1637 0 0,0-1 1 0 0,0 0-1 0 0,0 0 1 0 0,-1-1 0 0 0,1 0-1 0 0,11-13 1 0 0,-18 17-507 0 0,-1 1-1 0 0,1-1 1 0 0,0 0 0 0 0,-1 1 0 0 0,1-1 0 0 0,-1 1-1 0 0,1-1 1 0 0,-1 0 0 0 0,0 1 0 0 0,0-1 0 0 0,0 0-1 0 0,0 0 1 0 0,0 1 0 0 0,0-1 0 0 0,0 0 0 0 0,-1 1-1 0 0,1-1 1 0 0,-1 0 0 0 0,0-2 0 0 0,-3 2-27 0 0,1 0 0 0 0,-1 1 0 0 0,1-1 0 0 0,-1 1 0 0 0,0 0 0 0 0,0 0 0 0 0,1 0 0 0 0,-1 1 0 0 0,0-1 0 0 0,0 1 0 0 0,0 0 0 0 0,0 0 0 0 0,0 0 0 0 0,0 1 0 0 0,1-1 0 0 0,-1 1 0 0 0,0 0 0 0 0,0 0 0 0 0,1 0 0 0 0,-7 3 0 0 0,1 0-3 0 0,1 1 0 0 0,-1 0 0 0 0,1 0-1 0 0,0 1 1 0 0,1 0 0 0 0,-1 0 0 0 0,1 1-1 0 0,0 0 1 0 0,1 0 0 0 0,-1 0 0 0 0,1 1-1 0 0,-8 15 1 0 0,11-18 20 0 0,1 0-1 0 0,0 0 1 0 0,0 0-1 0 0,0 0 1 0 0,0 0-1 0 0,1 0 1 0 0,0 0-1 0 0,0 1 1 0 0,0-1 0 0 0,1 11-1 0 0,0-13 10 0 0,1 1-1 0 0,0 0 0 0 0,-1-1 1 0 0,1 1-1 0 0,1-1 1 0 0,-1 1-1 0 0,0-1 1 0 0,1 1-1 0 0,0-1 0 0 0,0 0 1 0 0,0 0-1 0 0,0 0 1 0 0,0 0-1 0 0,0 0 0 0 0,1-1 1 0 0,0 1-1 0 0,3 2 1 0 0,-1-1-3 0 0,0-1-1 0 0,1 0 1 0 0,-1 0 0 0 0,1 0 0 0 0,0-1-1 0 0,0 0 1 0 0,0 0 0 0 0,0 0 0 0 0,0-1-1 0 0,0 0 1 0 0,0 0 0 0 0,1-1 0 0 0,-1 1-1 0 0,0-1 1 0 0,0-1 0 0 0,0 1 0 0 0,11-3-1 0 0,-8 1-22 0 0,0 0 0 0 0,0-1-1 0 0,0 1 1 0 0,-1-2-1 0 0,1 1 1 0 0,-1-1 0 0 0,0-1-1 0 0,0 0 1 0 0,0 0-1 0 0,-1 0 1 0 0,10-10-1 0 0,8-11 328 0 0,37-52 0 0 0,-51 63 88 0 0,9-14 185 0 0,-20 29-587 0 0,0-1 0 0 0,0 1 0 0 0,1-1 0 0 0,-1 1 0 0 0,0-1-1 0 0,0 1 1 0 0,0-1 0 0 0,1 1 0 0 0,-1-1 0 0 0,0 1 0 0 0,1 0-1 0 0,-1-1 1 0 0,0 1 0 0 0,1-1 0 0 0,-1 1 0 0 0,0 0 0 0 0,1-1 0 0 0,-1 1-1 0 0,1 0 1 0 0,-1-1 0 0 0,1 1 0 0 0,-1 0 0 0 0,1 0 0 0 0,-1-1-1 0 0,1 1 1 0 0,-1 0 0 0 0,1 0 0 0 0,-1 0 0 0 0,1 0 0 0 0,-1 0 0 0 0,1 0-1 0 0,-1 0 1 0 0,1 0 0 0 0,-1 0 0 0 0,1 0 0 0 0,0 0 0 0 0,-1 0-1 0 0,1 0 1 0 0,-1 0 0 0 0,1 0 0 0 0,-1 1 0 0 0,1-1 0 0 0,-1 0 0 0 0,1 0-1 0 0,-1 1 1 0 0,0-1 0 0 0,1 0 0 0 0,-1 1 0 0 0,1 0 0 0 0,1 0 1 0 0,-1 1 0 0 0,1-1 0 0 0,-1 1-1 0 0,1-1 1 0 0,-1 1 0 0 0,0 0 0 0 0,0-1 0 0 0,0 1 0 0 0,1 3 0 0 0,2 12 55 0 0,5 18 301 0 0,16 42-1 0 0,-24-76-316 0 0,-1 0 0 0 0,0 0 0 0 0,1 0 0 0 0,0 0 0 0 0,-1 0 0 0 0,1 0 0 0 0,-1-1 0 0 0,1 1-1 0 0,0 0 1 0 0,0 0 0 0 0,0 0 0 0 0,-1-1 0 0 0,1 1 0 0 0,0 0 0 0 0,0-1 0 0 0,0 1 0 0 0,0-1-1 0 0,0 1 1 0 0,0-1 0 0 0,0 0 0 0 0,0 1 0 0 0,0-1 0 0 0,0 0 0 0 0,2 1 0 0 0,0-1 2 0 0,0 0 0 0 0,0-1 0 0 0,0 1 0 0 0,0 0 0 0 0,0-1-1 0 0,0 0 1 0 0,-1 0 0 0 0,7-2 0 0 0,3-3 10 0 0,0 0 0 0 0,22-16 0 0 0,-33 21-36 0 0,172-112 64 0 0,-172 112-85 0 0,1 0 0 0 0,0 0 0 0 0,-1 1 0 0 0,1-1 0 0 0,-1 0 0 0 0,1 1 0 0 0,0 0 1 0 0,0-1-1 0 0,-1 1 0 0 0,1 0 0 0 0,0-1 0 0 0,-1 1 0 0 0,1 0 0 0 0,0 1 0 0 0,0-1 0 0 0,-1 0 0 0 0,1 0 0 0 0,0 1 1 0 0,3 0-1 0 0,-2 1-64 0 0,0-1 0 0 0,0 1 0 0 0,0 0 0 0 0,0 0 1 0 0,0 0-1 0 0,-1 0 0 0 0,1 1 0 0 0,-1-1 1 0 0,4 5-1 0 0,2 4-1165 0 0,-1 0 1 0 0,0 0 0 0 0,11 25 0 0 0,-3-7-4968 0 0,-9-13 109 0 0</inkml:trace>
</inkml:ink>
</file>

<file path=ppt/ink/ink3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3.5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56 0 448 0 0,'-13'1'484'0'0,"0"0"1"0"0,0 1-1 0 0,0 1 1 0 0,1 0-1 0 0,-1 1 0 0 0,1 0 1 0 0,0 1-1 0 0,-17 9 1 0 0,-86 56 1401 0 0,114-70-1884 0 0,-39 28 775 0 0,1 1-1 0 0,-60 60 1 0 0,83-73-545 0 0,1 1-1 0 0,1 0 1 0 0,0 1-1 0 0,2 1 1 0 0,0 0-1 0 0,1 0 1 0 0,1 1-1 0 0,-9 26 1 0 0,17-41-173 0 0,0 1 1 0 0,1-1 0 0 0,0 1-1 0 0,0-1 1 0 0,0 1 0 0 0,1-1 0 0 0,0 1-1 0 0,0-1 1 0 0,0 1 0 0 0,0 0-1 0 0,1-1 1 0 0,0 1 0 0 0,1-1-1 0 0,-1 0 1 0 0,1 1 0 0 0,0-1 0 0 0,0 0-1 0 0,0 0 1 0 0,1 0 0 0 0,5 8-1 0 0,-3-7-23 0 0,0 0 0 0 0,1-1 1 0 0,-1 0-1 0 0,1 0 0 0 0,0 0 0 0 0,0-1 0 0 0,0 0 0 0 0,1 0 0 0 0,0 0 0 0 0,0-1 0 0 0,0 0 0 0 0,0 0 0 0 0,0-1 0 0 0,12 3 1 0 0,4-2 23 0 0,0 0 1 0 0,0-2-1 0 0,0 0 1 0 0,0-2-1 0 0,0 0 1 0 0,0-2-1 0 0,0 0 1 0 0,0-1 0 0 0,0-2-1 0 0,31-12 1 0 0,-26 8-24 0 0,-1-2 0 0 0,0-1 0 0 0,-1-1 1 0 0,-1-2-1 0 0,0 0 0 0 0,-1-1 0 0 0,37-36 1 0 0,-45 37-75 0 0,-1 0 0 0 0,-1-1 0 0 0,-1 0 0 0 0,0-1 0 0 0,-1-1 0 0 0,-1 0 1 0 0,-1 0-1 0 0,-1-1 0 0 0,10-29 0 0 0,-19 48 31 0 0,1-1-1 0 0,-1 1 1 0 0,1-1 0 0 0,-1 1-1 0 0,1-1 1 0 0,-1 1 0 0 0,0-1-1 0 0,0 0 1 0 0,0 1 0 0 0,0-1 0 0 0,0 1-1 0 0,0-1 1 0 0,-1 0 0 0 0,1 1-1 0 0,0-1 1 0 0,-1 1 0 0 0,1-1-1 0 0,-1 1 1 0 0,-1-3 0 0 0,1 3 1 0 0,1 1 0 0 0,-1-1 0 0 0,0 0 0 0 0,0 1 0 0 0,0-1 0 0 0,0 1 0 0 0,0-1 0 0 0,0 1 0 0 0,0-1 0 0 0,0 1 0 0 0,0 0 0 0 0,-1 0 0 0 0,1 0 0 0 0,0-1 0 0 0,0 1 0 0 0,0 0 0 0 0,0 0 0 0 0,0 0 0 0 0,0 0 0 0 0,-2 1 0 0 0,-5 1 0 0 0,1 0 0 0 0,0 0 0 0 0,0 0 0 0 0,1 1 0 0 0,-1 0 0 0 0,-11 8 0 0 0,1 0 56 0 0,1 1-1 0 0,0 1 1 0 0,-22 22 0 0 0,33-30-30 0 0,1 0-1 0 0,0 0 1 0 0,0 0 0 0 0,0 1 0 0 0,0 0-1 0 0,1-1 1 0 0,0 1 0 0 0,0 0 0 0 0,0 1-1 0 0,1-1 1 0 0,0 0 0 0 0,0 1-1 0 0,1-1 1 0 0,-1 12 0 0 0,1-16-13 0 0,1 0 1 0 0,1 0-1 0 0,-1 1 0 0 0,0-1 0 0 0,0 0 1 0 0,1 0-1 0 0,-1 0 0 0 0,1 0 1 0 0,0 0-1 0 0,0 0 0 0 0,-1 0 1 0 0,1-1-1 0 0,1 1 0 0 0,-1 0 0 0 0,0 0 1 0 0,0-1-1 0 0,1 1 0 0 0,-1-1 1 0 0,3 4-1 0 0,-1-4 2 0 0,0 1-1 0 0,0 0 1 0 0,0-1-1 0 0,1 1 1 0 0,-1-1 0 0 0,0 0-1 0 0,1 0 1 0 0,-1 0-1 0 0,0 0 1 0 0,1-1-1 0 0,3 1 1 0 0,4-1 7 0 0,0 0 0 0 0,0-1 0 0 0,0 0 0 0 0,0-1 0 0 0,-1 0-1 0 0,20-7 1 0 0,0-4-99 0 0,-1-2-1 0 0,-1-1 0 0 0,0-1 0 0 0,48-40 0 0 0,-22 16-101 0 0,-49 39 155 0 0,-4 1 34 0 0,0 1 0 0 0,0 0 0 0 0,0-1 0 0 0,0 1 0 0 0,0 0 1 0 0,0-1-1 0 0,0 1 0 0 0,0 0 0 0 0,0 0 0 0 0,0 0 0 0 0,0 0 0 0 0,0 0 0 0 0,0 0 0 0 0,0 0 0 0 0,0 1 1 0 0,0-1-1 0 0,0 0 0 0 0,0 0 0 0 0,0 1 0 0 0,0-1 0 0 0,-1 1 0 0 0,1-1 0 0 0,0 0 0 0 0,0 1 0 0 0,0 0 1 0 0,0-1-1 0 0,-1 1 0 0 0,1 0 0 0 0,0-1 0 0 0,1 2 0 0 0,-1 0 8 0 0,0 0 1 0 0,0 0-1 0 0,0 1 1 0 0,-1-1-1 0 0,1 0 0 0 0,0 0 1 0 0,-1 1-1 0 0,1 2 1 0 0,-1-1-6 0 0,15 64 131 0 0,-11-43-1045 0 0,2 1 1 0 0,9 25-1 0 0,-14-49 711 0 0,-1 0-1 0 0,1 0 1 0 0,0 0-1 0 0,-1 0 1 0 0,1 0-1 0 0,0 0 1 0 0,1-1-1 0 0,-1 1 1 0 0,0 0-1 0 0,0 0 1 0 0,1-1-1 0 0,-1 1 1 0 0,1-1-1 0 0,-1 1 1 0 0,1-1-1 0 0,0 0 1 0 0,0 0-1 0 0,-1 1 1 0 0,4 0-1 0 0,-3-1-744 0 0,2-2 60 0 0,-2 0 721 0 0,0 1-32 0 0,1-1 0 0 0,-1 0 0 0 0,0 1 0 0 0,1-1 0 0 0,-1 0-1 0 0,0 0 1 0 0,0-1 0 0 0,0 1 0 0 0,0 0 0 0 0,3-3 0 0 0,5-9-643 0 0</inkml:trace>
</inkml:ink>
</file>

<file path=ppt/ink/ink3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3.8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86 2928 0 0,'16'-23'847'0'0,"-8"12"69"0"0,0 0 0 0 0,1 0 0 0 0,11-11 0 0 0,-19 21-826 0 0,0 0 0 0 0,0 0 0 0 0,0 1 0 0 0,0-1-1 0 0,0 0 1 0 0,1 1 0 0 0,-1-1 0 0 0,0 1 0 0 0,0-1 0 0 0,0 1 0 0 0,1 0 0 0 0,-1 0 0 0 0,0-1 0 0 0,0 1 0 0 0,1 0 0 0 0,-1 0 0 0 0,0 0 0 0 0,1 0 0 0 0,-1 1 0 0 0,0-1 0 0 0,0 0 0 0 0,1 0 0 0 0,-1 1 0 0 0,0-1 0 0 0,0 1 0 0 0,0-1 0 0 0,1 1 0 0 0,-1-1 0 0 0,1 2 0 0 0,2 1 176 0 0,0-1 0 0 0,-1 1 0 0 0,0 0 0 0 0,1 0 0 0 0,-1 0 0 0 0,5 8 0 0 0,-1 1 123 0 0,-1 1 0 0 0,0 1 0 0 0,0-1 0 0 0,-2 1 0 0 0,0 0 0 0 0,0 0 0 0 0,1 20 0 0 0,0-10-40 0 0,6 30 1874 0 0,-11-51-1278 0 0,14-8-346 0 0,-11 4-559 0 0,-1 0 0 0 0,0 1 0 0 0,0-1 0 0 0,0 0 1 0 0,0 0-1 0 0,0-1 0 0 0,0 1 0 0 0,0 0 0 0 0,0-1 1 0 0,2-1-1 0 0,17-18 169 0 0,-8 7-367 0 0,0 0 1 0 0,1 1-1 0 0,0 1 1 0 0,1 0 0 0 0,1 1-1 0 0,18-10 1 0 0,-31 20 38 0 0,0 1 0 0 0,-1-1 0 0 0,1 0-1 0 0,0 1 1 0 0,-1-1 0 0 0,1 1 0 0 0,0 0 0 0 0,0 0-1 0 0,-1 0 1 0 0,1 0 0 0 0,0 1 0 0 0,-1-1 0 0 0,1 1-1 0 0,0 0 1 0 0,2 0 0 0 0,1 2-228 0 0,0-1-1 0 0,0 1 1 0 0,0 0-1 0 0,-1 0 1 0 0,7 6-1 0 0,2 2-1159 0 0,-1 1 0 0 0,20 23 0 0 0,4 6-3455 0 0,-20-26 2064 0 0</inkml:trace>
</inkml:ink>
</file>

<file path=ppt/ink/ink3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4.2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1036 0 0,'1'2'1676'0'0,"7"15"-434"0"0,0 0 0 0 0,-1 1 0 0 0,-1 1 0 0 0,0-1-1 0 0,-2 1 1 0 0,5 34 0 0 0,-1 123 1335 0 0,-7-85-1014 0 0,1 56 1238 0 0,-2-146-2785 0 0,0 0-1 0 0,0 1 1 0 0,0-1-1 0 0,0 1 1 0 0,-1-1-1 0 0,1 0 1 0 0,0 1 0 0 0,-1-1-1 0 0,1 0 1 0 0,-1 1-1 0 0,1-1 1 0 0,-1 0-1 0 0,0 0 1 0 0,0 0-1 0 0,1 1 1 0 0,-1-1-1 0 0,0 0 1 0 0,0 0-1 0 0,0 0 1 0 0,0 0-1 0 0,0-1 1 0 0,0 1-1 0 0,0 0 1 0 0,-1 0-1 0 0,1-1 1 0 0,0 1 0 0 0,-2 0-1 0 0,0 0-158 0 0,-16 1-1973 0 0,6 0 880 0 0</inkml:trace>
</inkml:ink>
</file>

<file path=ppt/ink/ink3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4.5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 193 1556 0 0,'-5'-19'1168'0'0,"3"1"-296"0"0,2 1-172 0 0,2-1-136 0 0,5 1-144 0 0,-1-3-95 0 0,7 1-57 0 0,0 1-68 0 0,4 3-40 0 0,1 1-16 0 0,3 5-36 0 0,-1 3-4 0 0,1 4-56 0 0,-1 6-292 0 0,1 1-340 0 0,1 5-417 0 0,-5 6-527 0 0,0 1 652 0 0</inkml:trace>
</inkml:ink>
</file>

<file path=ppt/ink/ink3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4.8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4 544 1084 0 0,'-6'10'1013'0'0,"0"-2"-220"0"0,1 0 0 0 0,0 0 0 0 0,1 0 0 0 0,0 1 0 0 0,0 0 0 0 0,1 0 0 0 0,-3 11 0 0 0,6-19-716 0 0,0 0 1 0 0,1 0-1 0 0,-1-1 0 0 0,0 1 0 0 0,0 0 0 0 0,1 0 0 0 0,-1-1 0 0 0,1 1 0 0 0,-1 0 0 0 0,1-1 0 0 0,-1 1 0 0 0,1-1 0 0 0,-1 1 0 0 0,1 0 0 0 0,-1-1 0 0 0,1 1 0 0 0,0-1 0 0 0,-1 0 0 0 0,1 1 0 0 0,0-1 0 0 0,0 1 0 0 0,-1-1 0 0 0,1 0 1 0 0,0 0-1 0 0,0 1 0 0 0,-1-1 0 0 0,1 0 0 0 0,0 0 0 0 0,0 0 0 0 0,0 0 0 0 0,-1 0 0 0 0,1 0 0 0 0,0 0 0 0 0,0 0 0 0 0,1-1 0 0 0,-2 1-66 0 0,15-1 195 0 0,0-1 1 0 0,0-1-1 0 0,0-1 0 0 0,-1 0 1 0 0,0-1-1 0 0,1 0 1 0 0,19-12-1 0 0,-7 5-120 0 0,28-12-311 0 0,-2-3 0 0 0,100-66 1 0 0,-129 75 56 0 0,0-1 1 0 0,-2-1 0 0 0,0-1 0 0 0,-2 0-1 0 0,0-2 1 0 0,-1 0 0 0 0,-1-1-1 0 0,14-28 1 0 0,80-165 1056 0 0,-112 216-880 0 0,0 0 0 0 0,0 1 1 0 0,1-1-1 0 0,-1 1 0 0 0,0-1 0 0 0,1 1 1 0 0,-1-1-1 0 0,0 1 0 0 0,1-1 0 0 0,-1 1 1 0 0,1-1-1 0 0,-1 1 0 0 0,1-1 0 0 0,-1 1 1 0 0,1 0-1 0 0,-1-1 0 0 0,1 1 1 0 0,-1 0-1 0 0,1-1 0 0 0,-1 1 0 0 0,1 0 1 0 0,0 0-1 0 0,-1-1 0 0 0,1 1 0 0 0,0 0 1 0 0,-1 0-1 0 0,1 0 0 0 0,0 0 1 0 0,-1 0-1 0 0,1 0 0 0 0,-1 0 0 0 0,1 0 1 0 0,0 0-1 0 0,-1 0 0 0 0,1 1 0 0 0,0-1 1 0 0,-1 0-1 0 0,1 0 0 0 0,-1 0 0 0 0,1 1 1 0 0,-1-1-1 0 0,1 0 0 0 0,1 2 1 0 0,0-1 23 0 0,0 1 1 0 0,0-1-1 0 0,0 1 1 0 0,0 0-1 0 0,0 0 0 0 0,-1 0 1 0 0,1 0-1 0 0,0 0 1 0 0,1 3-1 0 0,14 35 239 0 0,-1 1 0 0 0,-2 1 0 0 0,14 70 0 0 0,-23-89-187 0 0,0-2 22 0 0,19 74-4560 0 0</inkml:trace>
</inkml:ink>
</file>

<file path=ppt/ink/ink3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5.9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2 337 1668 0 0,'0'0'5272'0'0,"0"3"-4473"0"0,10 35 282 0 0,-2 0 0 0 0,-2 1 0 0 0,-2 0-1 0 0,0 58 1 0 0,-5-67-641 0 0,-2 0 1 0 0,-8 44-1 0 0,9-66-368 0 0,0 1 1 0 0,0-1-1 0 0,-1 1 1 0 0,-1-1-1 0 0,1 0 0 0 0,-1 0 1 0 0,-1-1-1 0 0,1 1 1 0 0,-1-1-1 0 0,-1 0 1 0 0,1 0-1 0 0,-1 0 1 0 0,-8 6-1 0 0,-8-3-128 0 0,22-10 40 0 0,-1 1-1 0 0,0-1 0 0 0,0 0 0 0 0,0 1 1 0 0,0-1-1 0 0,0 0 0 0 0,0 0 0 0 0,0 0 1 0 0,1 0-1 0 0,-1 0 0 0 0,0 0 0 0 0,0 0 1 0 0,0 0-1 0 0,0 0 0 0 0,0 0 0 0 0,0 0 1 0 0,0-1-1 0 0,0 1 0 0 0,1 0 0 0 0,-1-1 1 0 0,0 1-1 0 0,0 0 0 0 0,0-1 0 0 0,1 1 1 0 0,-1-1-1 0 0,0 0 0 0 0,0 0 0 0 0,-1-1-10 0 0,1 0-1 0 0,1 0 1 0 0,-1 0-1 0 0,0 0 1 0 0,0 0-1 0 0,1 0 0 0 0,-1 0 1 0 0,1 0-1 0 0,0 0 1 0 0,-1-1-1 0 0,1 1 0 0 0,0 0 1 0 0,0 0-1 0 0,1 0 1 0 0,-1 0-1 0 0,0-1 1 0 0,1 1-1 0 0,-1 0 0 0 0,1 0 1 0 0,0 0-1 0 0,0 0 1 0 0,0 0-1 0 0,0 0 1 0 0,0 0-1 0 0,0 1 0 0 0,0-1 1 0 0,0 0-1 0 0,1 0 1 0 0,-1 1-1 0 0,1-1 1 0 0,-1 1-1 0 0,1-1 0 0 0,0 1 1 0 0,2-1-1 0 0,0-2 18 0 0,1 1 0 0 0,0 0 0 0 0,0 0 0 0 0,0 0 0 0 0,0 0 0 0 0,0 1-1 0 0,1 0 1 0 0,-1 0 0 0 0,1 1 0 0 0,0 0 0 0 0,-1 0 0 0 0,9-1 0 0 0,19 4 225 0 0,-1 2 1 0 0,0 2 0 0 0,0 0 0 0 0,60 22 0 0 0,8 1 328 0 0,-85-25-475 0 0,-1-1 0 0 0,2 0 0 0 0,-1-2 0 0 0,0 1 0 0 0,0-2 0 0 0,0 0 0 0 0,1-1 0 0 0,14-3 0 0 0,-24 3-104 0 0,0 0 0 0 0,0-1-1 0 0,0 0 1 0 0,-1 0 0 0 0,1 0 0 0 0,-1-1-1 0 0,0 0 1 0 0,1 0 0 0 0,-1 0 0 0 0,0-1-1 0 0,-1 0 1 0 0,1 0 0 0 0,-1 0 0 0 0,0 0 0 0 0,0-1-1 0 0,0 1 1 0 0,0-1 0 0 0,-1 0 0 0 0,0 0-1 0 0,0-1 1 0 0,0 1 0 0 0,-1-1 0 0 0,3-6-1 0 0,1-6-164 0 0,-1 0 0 0 0,3-22 0 0 0,-7 35 166 0 0,0 0 0 0 0,-1-1 0 0 0,1 1 0 0 0,-1 0 0 0 0,-1 0 1 0 0,1-1-1 0 0,-1 1 0 0 0,0 0 0 0 0,0 0 0 0 0,0 0 0 0 0,-1 0 0 0 0,-3-7 0 0 0,5 10 27 0 0,-1 1 1 0 0,-1 0-1 0 0,1 0 1 0 0,0 0-1 0 0,0 0 1 0 0,0 0-1 0 0,-1 0 1 0 0,1 1-1 0 0,0-1 1 0 0,-1 0-1 0 0,1 0 1 0 0,0 1-1 0 0,-1-1 1 0 0,1 1-1 0 0,-1 0 1 0 0,1-1-1 0 0,-1 1 1 0 0,1 0-1 0 0,-1 0 1 0 0,1 0-1 0 0,-1 0 1 0 0,1 0-1 0 0,-1 0 1 0 0,0 0-1 0 0,1 1 1 0 0,-1-1-1 0 0,1 0 1 0 0,0 1-1 0 0,-1-1 1 0 0,1 1-1 0 0,-2 1 1 0 0,-4 0 17 0 0,1 1 0 0 0,0 0 0 0 0,1 0 0 0 0,-1 0 0 0 0,1 1 0 0 0,-7 4 0 0 0,10-5 19 0 0,-1-1 0 0 0,0 1 0 0 0,1 0 0 0 0,-1 0 0 0 0,1 0-1 0 0,0 0 1 0 0,0 0 0 0 0,0 0 0 0 0,1 1 0 0 0,-1-1 0 0 0,1 0 0 0 0,-1 1-1 0 0,1 0 1 0 0,0-1 0 0 0,1 1 0 0 0,-1 0 0 0 0,1-1 0 0 0,-1 1 0 0 0,1 0-1 0 0,0-1 1 0 0,1 1 0 0 0,-1 0 0 0 0,0 0 0 0 0,1-1 0 0 0,0 1 0 0 0,0 0-1 0 0,0-1 1 0 0,0 1 0 0 0,1-1 0 0 0,0 0 0 0 0,-1 1 0 0 0,1-1-1 0 0,0 0 1 0 0,0 0 0 0 0,1 0 0 0 0,-1 0 0 0 0,1 0 0 0 0,-1-1 0 0 0,1 1-1 0 0,0-1 1 0 0,0 0 0 0 0,0 0 0 0 0,0 0 0 0 0,1 0 0 0 0,-1 0 0 0 0,0-1-1 0 0,1 1 1 0 0,-1-1 0 0 0,1 0 0 0 0,0 0 0 0 0,-1 0 0 0 0,1-1 0 0 0,5 1-1 0 0,2 0-27 0 0,-1-1-1 0 0,1 0 0 0 0,-1-1 0 0 0,0 0 0 0 0,1-1 1 0 0,-1 0-1 0 0,0 0 0 0 0,0-1 0 0 0,0-1 0 0 0,0 1 1 0 0,0-2-1 0 0,-1 1 0 0 0,0-1 0 0 0,0-1 0 0 0,11-8 1 0 0,6-8-137 0 0,0-1 1 0 0,-2-2 0 0 0,27-33 0 0 0,-50 57 133 0 0,6-7-35 0 0,0 0 0 0 0,1 1 0 0 0,9-8 0 0 0,-15 14 17 0 0,9 11 7 0 0,-9-2 38 0 0,1-1 1 0 0,0 1-1 0 0,0-1 0 0 0,1 1 1 0 0,0-1-1 0 0,7 10 0 0 0,-9-14-11 0 0,0-1 1 0 0,0 0-1 0 0,0 0 1 0 0,0 0-1 0 0,1 0 0 0 0,-1-1 1 0 0,1 1-1 0 0,-1-1 1 0 0,1 1-1 0 0,-1-1 0 0 0,1 0 1 0 0,0 0-1 0 0,0 0 1 0 0,0 0-1 0 0,-1 0 0 0 0,1-1 1 0 0,0 1-1 0 0,0-1 1 0 0,0 0-1 0 0,5 0 0 0 0,-1-1 1 0 0,0 0 0 0 0,1 0-1 0 0,-1-1 1 0 0,0 0 0 0 0,0 0-1 0 0,0-1 1 0 0,0 1 0 0 0,8-6-1 0 0,6-5-75 0 0,22-17-1 0 0,9-5-308 0 0,-51 34 361 0 0,1 0 0 0 0,-1 1-1 0 0,0-1 1 0 0,1 1 0 0 0,-1-1 0 0 0,1 1-1 0 0,-1 0 1 0 0,1 0 0 0 0,-1 0 0 0 0,1 0-1 0 0,-1 0 1 0 0,1 0 0 0 0,-1 0 0 0 0,1 0-1 0 0,-1 0 1 0 0,1 1 0 0 0,-1-1 0 0 0,0 1-1 0 0,1-1 1 0 0,-1 1 0 0 0,0 0 0 0 0,1-1-1 0 0,0 2 1 0 0,30 24-50 0 0,-16-11 30 0 0,-12-12 25 0 0,1 1 48 0 0,0 0 1 0 0,1 0 0 0 0,0 0-1 0 0,-1 0 1 0 0,1-1 0 0 0,1 0-1 0 0,-1-1 1 0 0,0 1 0 0 0,1-1-1 0 0,-1 0 1 0 0,1 0-1 0 0,8 0 1 0 0,-12-2-35 0 0,0 0 1 0 0,0 0-1 0 0,0-1 0 0 0,0 1 0 0 0,0-1 0 0 0,0 0 1 0 0,0 0-1 0 0,0 0 0 0 0,0 0 0 0 0,0 0 0 0 0,0-1 1 0 0,-1 1-1 0 0,1-1 0 0 0,0 0 0 0 0,-1 0 0 0 0,1 0 1 0 0,1-2-1 0 0,2-2 2 0 0,0 0-1 0 0,-1 0 1 0 0,0-1 0 0 0,8-12-1 0 0,-6 6-20 0 0,-1-1-1 0 0,0 0 0 0 0,-1 0 1 0 0,0 0-1 0 0,3-19 0 0 0,8-79-107 0 0,-5 32 80 0 0,32-169 2290 0 0,-43 248-2236 0 0,0 1 1 0 0,0 0-1 0 0,0-1 1 0 0,0 1-1 0 0,0 0 1 0 0,0-1-1 0 0,0 1 1 0 0,0 0-1 0 0,1-1 1 0 0,-1 1-1 0 0,0 0 1 0 0,0-1-1 0 0,0 1 1 0 0,0 0-1 0 0,0-1 1 0 0,1 1-1 0 0,-1 0 1 0 0,0 0-1 0 0,0-1 1 0 0,1 1-1 0 0,-1 0 1 0 0,0 0-1 0 0,0-1 0 0 0,1 1 1 0 0,-1 0-1 0 0,0 0 1 0 0,1 0-1 0 0,-1 0 1 0 0,0 0-1 0 0,1-1 1 0 0,-1 1-1 0 0,0 0 1 0 0,1 0-1 0 0,-1 0 1 0 0,0 0-1 0 0,1 0 1 0 0,-1 0-1 0 0,0 0 1 0 0,1 0-1 0 0,-1 0 1 0 0,0 0-1 0 0,1 0 1 0 0,-1 0-1 0 0,0 0 1 0 0,1 0-1 0 0,-1 1 1 0 0,0-1-1 0 0,1 0 0 0 0,-1 0 1 0 0,0 0-1 0 0,0 0 1 0 0,1 1-1 0 0,12 12 389 0 0,6 31-526 0 0,-2 0 0 0 0,17 71 0 0 0,-9 26-7195 0 0,-25-109 2292 0 0,-2-18 952 0 0</inkml:trace>
</inkml:ink>
</file>

<file path=ppt/ink/ink3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6.4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188 1480 0 0,'-3'10'6027'0'0,"3"-9"-5710"0"0,2 0-127 0 0,-1 0 1 0 0,1 0-1 0 0,0 0 0 0 0,0-1 1 0 0,0 1-1 0 0,-1 0 0 0 0,1-1 1 0 0,0 1-1 0 0,0-1 0 0 0,0 0 0 0 0,0 0 1 0 0,0 0-1 0 0,0 0 0 0 0,0 0 1 0 0,0 0-1 0 0,0 0 0 0 0,3-1 1 0 0,43-10 309 0 0,-37 8-157 0 0,122-35 582 0 0,147-65-1 0 0,-186 67 121 0 0,-93 35-1016 0 0,5-2 89 0 0,1 1 0 0 0,-1 0 0 0 0,0 0 0 0 0,1 1 0 0 0,8-1 0 0 0,-14 1-79 0 0,1 1-1 0 0,0 0 0 0 0,0 1 0 0 0,0-1 0 0 0,-1 0 0 0 0,1 0 0 0 0,0 1 0 0 0,0-1 0 0 0,-1 1 0 0 0,1-1 0 0 0,0 1 0 0 0,-1 0 0 0 0,1 0 0 0 0,-1 0 0 0 0,1 0 1 0 0,-1 0-1 0 0,1 0 0 0 0,-1 0 0 0 0,1 0 0 0 0,-1 1 0 0 0,0-1 0 0 0,0 0 0 0 0,0 1 0 0 0,0-1 0 0 0,1 3 0 0 0,9 19 214 0 0,-2 0 0 0 0,-1 1 1 0 0,-1 0-1 0 0,-1 0 0 0 0,4 36 0 0 0,-1-11-95 0 0,11 85-2275 0 0,-11-60-7829 0 0,-7-61 6032 0 0</inkml:trace>
</inkml:ink>
</file>

<file path=ppt/ink/ink3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6.8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1 367 1476 0 0,'-11'-25'2056'0'0,"3"4"-408"0"0,-1 1-371 0 0,-2 1-213 0 0,5 5-224 0 0,-3-3-156 0 0,3 5-180 0 0,-1-2-232 0 0,1 3-188 0 0,1 1-408 0 0,-1 0-284 0 0,-1-3-1156 0 0,14 1-1317 0 0</inkml:trace>
  <inkml:trace contextRef="#ctx0" brushRef="#br0" timeOffset="1">322 167 1072 0 0,'12'7'832'0'0,"1"1"-1"0"0,-2 1 1 0 0,1 0-1 0 0,-1 0 1 0 0,0 1-1 0 0,-1 0 1 0 0,0 1-1 0 0,-1 0 1 0 0,0 0-1 0 0,14 26 1 0 0,-4 1 64 0 0,-1 1 1 0 0,-2 1-1 0 0,-2 0 1 0 0,-2 1-1 0 0,12 69 0 0 0,-23-108-774 0 0,-1 0 0 0 0,0 0-1 0 0,0 0 1 0 0,0 0-1 0 0,0 0 1 0 0,0-1 0 0 0,0 1-1 0 0,0 0 1 0 0,-1 0-1 0 0,1 0 1 0 0,-1 0 0 0 0,1 0-1 0 0,-1 0 1 0 0,0 0-1 0 0,0-1 1 0 0,1 1 0 0 0,-1 0-1 0 0,0-1 1 0 0,-1 1-1 0 0,1-1 1 0 0,0 1-1 0 0,0-1 1 0 0,-3 2 0 0 0,3-3-66 0 0,-1 0-1 0 0,1-1 1 0 0,0 1 0 0 0,-1-1 0 0 0,1 1 0 0 0,-1-1-1 0 0,1 0 1 0 0,0 0 0 0 0,-1 0 0 0 0,1 1 0 0 0,0-1-1 0 0,0 0 1 0 0,0 0 0 0 0,-1-1 0 0 0,1 1 0 0 0,-1-2-1 0 0,-2-3-7 0 0,0 0 0 0 0,0-1 0 0 0,1 1-1 0 0,0-1 1 0 0,0 0 0 0 0,0 0-1 0 0,1 0 1 0 0,0 0 0 0 0,1 0 0 0 0,-2-9-1 0 0,0-11-30 0 0,1-37 0 0 0,3 30-71 0 0,0 1 1 0 0,2-1-1 0 0,2 1 1 0 0,1 0-1 0 0,14-44 1 0 0,-14 60-417 0 0,0 1-1 0 0,1 0 1 0 0,0 0-1 0 0,2 1 1 0 0,-1 0 0 0 0,2 1-1 0 0,0 0 1 0 0,1 0-1 0 0,0 1 1 0 0,1 0-1 0 0,1 1 1 0 0,16-12 0 0 0,-25 21-266 0 0,1 1 1 0 0,-1-1-1 0 0,0 1 1 0 0,1 0-1 0 0,0 1 1 0 0,-1-1-1 0 0,1 1 1 0 0,0 0-1 0 0,6 0 1 0 0</inkml:trace>
</inkml:ink>
</file>

<file path=ppt/ink/ink3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7.2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 21 556 0 0,'-2'3'359'0'0,"-4"3"675"0"0,1 1 0 0 0,0-1 0 0 0,1 1-1 0 0,-1 1 1 0 0,-4 11 0 0 0,8-17-342 0 0,2-1-613 0 0,0 0-1 0 0,1 0 1 0 0,-1-1 0 0 0,0 1 0 0 0,0-1-1 0 0,1 1 1 0 0,-1-1 0 0 0,0 1 0 0 0,1-1-1 0 0,-1 0 1 0 0,0 1 0 0 0,1-1-1 0 0,-1 0 1 0 0,1 0 0 0 0,-1 0 0 0 0,0 0-1 0 0,1-1 1 0 0,2 1 0 0 0,33-5 371 0 0,-32 4-362 0 0,33-7 279 0 0,58-22-1 0 0,-8 3-88 0 0,-74 23-254 0 0,-7 2 71 0 0,1 0 0 0 0,0 0 0 0 0,0 1 0 0 0,0 0-1 0 0,13 0 1 0 0,-19 1-38 0 0,1 0-1 0 0,-1 0 0 0 0,0 1 1 0 0,0-1-1 0 0,0 1 0 0 0,0-1 1 0 0,0 1-1 0 0,-1 0 0 0 0,1 0 1 0 0,0 0-1 0 0,0 0 0 0 0,0 0 1 0 0,-1 1-1 0 0,1-1 0 0 0,-1 0 1 0 0,1 1-1 0 0,-1-1 0 0 0,1 1 1 0 0,-1-1-1 0 0,0 1 0 0 0,0 0 1 0 0,1 0-1 0 0,-1-1 0 0 0,-1 1 1 0 0,1 0-1 0 0,1 3 0 0 0,11 37 795 0 0,-8-24-417 0 0,13 33 0 0 0,-16-46-374 0 0,0-1 0 0 0,0 0 1 0 0,1 0-1 0 0,-1 0 0 0 0,1-1 0 0 0,0 1 1 0 0,0 0-1 0 0,0-1 0 0 0,0 0 1 0 0,1 0-1 0 0,0 0 0 0 0,6 4 0 0 0,-6-5-58 0 0,0-1-1 0 0,0 0 0 0 0,1 0 0 0 0,-1 0 1 0 0,0 0-1 0 0,0-1 0 0 0,1 1 0 0 0,-1-1 1 0 0,1 0-1 0 0,-1-1 0 0 0,0 1 0 0 0,1-1 0 0 0,-1 0 1 0 0,0 0-1 0 0,0 0 0 0 0,1 0 0 0 0,-1-1 1 0 0,0 0-1 0 0,4-2 0 0 0,6-4-323 0 0,0-2-1 0 0,-1 0 1 0 0,19-16-1 0 0,-19 14 41 0 0,1 0 0 0 0,24-15 1 0 0,-34 25 256 0 0,-1 0 0 0 0,1 0 1 0 0,0 0-1 0 0,0 1 0 0 0,0-1 1 0 0,0 1-1 0 0,0 0 1 0 0,0 0-1 0 0,0 1 0 0 0,0-1 1 0 0,0 1-1 0 0,0 0 0 0 0,5 0 1 0 0,-7 1 47 0 0,1-1 0 0 0,0 1 0 0 0,-1 0 0 0 0,1 0 0 0 0,-1 0 0 0 0,1 0 0 0 0,-1 0 0 0 0,1 1 0 0 0,-1-1 0 0 0,0 1 0 0 0,1 0 0 0 0,-1-1 0 0 0,0 1 1 0 0,0 0-1 0 0,0 0 0 0 0,-1 0 0 0 0,1 1 0 0 0,0-1 0 0 0,-1 0 0 0 0,2 4 0 0 0,4 9 155 0 0,0 0-1 0 0,-1 1 1 0 0,0-1 0 0 0,-2 1 0 0 0,0 1-1 0 0,0-1 1 0 0,-2 1 0 0 0,2 31-1 0 0,-4-34-49 0 0,0 0 1 0 0,-1 0-1 0 0,-1-1 0 0 0,0 1 0 0 0,0 0 0 0 0,-2-1 0 0 0,1 0 0 0 0,-2 0 0 0 0,0 0 0 0 0,0 0 0 0 0,-9 13 0 0 0,10-21-61 0 0,1 0-1 0 0,-1-1 0 0 0,0 0 1 0 0,0 1-1 0 0,0-1 1 0 0,0-1-1 0 0,-1 1 0 0 0,1-1 1 0 0,-1 0-1 0 0,0 0 1 0 0,0 0-1 0 0,0 0 0 0 0,-10 2 1 0 0,12-4-66 0 0,1 0-1 0 0,-1-1 1 0 0,1 1 0 0 0,-1-1-1 0 0,1 0 1 0 0,-1 0 0 0 0,0 0 0 0 0,1 0-1 0 0,-1 0 1 0 0,1-1 0 0 0,-1 1-1 0 0,1-1 1 0 0,-1 0 0 0 0,1 1 0 0 0,-1-1-1 0 0,1 0 1 0 0,0-1 0 0 0,-1 1 0 0 0,1 0-1 0 0,0-1 1 0 0,0 1 0 0 0,0-1-1 0 0,0 1 1 0 0,0-1 0 0 0,1 0 0 0 0,-1 0-1 0 0,0 0 1 0 0,1 0 0 0 0,-1 0-1 0 0,1 0 1 0 0,0-1 0 0 0,0 1 0 0 0,-2-4-1 0 0,1-1-233 0 0,0 1 0 0 0,0 0 0 0 0,0 0 0 0 0,1-1 0 0 0,0 1 0 0 0,0-1 0 0 0,1 1 0 0 0,0-1 0 0 0,0 1 0 0 0,0-1 0 0 0,1 1 0 0 0,0-1 0 0 0,2-6-1 0 0,0 1-891 0 0,1 1 0 0 0,0-1 0 0 0,0 1 0 0 0,2 0 0 0 0,-1 1 0 0 0,10-14 0 0 0,-3 7-2923 0 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7.9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5 28 4 0 0,'0'-1'212'0'0,"1"0"0"0"0,-1 0 1 0 0,1 0-1 0 0,-1 0 0 0 0,1 0 0 0 0,-1 0 1 0 0,0 0-1 0 0,1 0 0 0 0,-1 0 0 0 0,0 0 1 0 0,0 0-1 0 0,0 0 0 0 0,0 0 0 0 0,0 0 1 0 0,0 0-1 0 0,0-2 0 0 0,0 2-104 0 0,0 1 0 0 0,-1-1 0 0 0,1 1-1 0 0,0-1 1 0 0,-1 1 0 0 0,1-1 0 0 0,0 1 0 0 0,-1 0 0 0 0,1-1-1 0 0,-1 1 1 0 0,1 0 0 0 0,-1-1 0 0 0,1 1 0 0 0,-1 0-1 0 0,1-1 1 0 0,-1 1 0 0 0,1 0 0 0 0,-1 0 0 0 0,1 0 0 0 0,-1 0-1 0 0,1-1 1 0 0,-2 1 0 0 0,-2 0 209 0 0,-1 0-1 0 0,1 0 1 0 0,0 0-1 0 0,-1 1 1 0 0,-7 2-1 0 0,-6 1 141 0 0,0 1-1 0 0,0 1 0 0 0,1 1 0 0 0,-19 9 0 0 0,28-11-330 0 0,-1 0-1 0 0,0 1 0 0 0,1-1 1 0 0,0 2-1 0 0,0-1 0 0 0,1 1 1 0 0,0 0-1 0 0,-12 16 0 0 0,18-21-101 0 0,-1 0-1 0 0,1 0 0 0 0,-1 0 0 0 0,1 0 0 0 0,0 1 0 0 0,0-1 1 0 0,0 0-1 0 0,0 1 0 0 0,0-1 0 0 0,1 1 0 0 0,-1-1 0 0 0,1 1 1 0 0,-1-1-1 0 0,1 1 0 0 0,0-1 0 0 0,0 1 0 0 0,0 0 0 0 0,1 4 1 0 0,0-5-12 0 0,0 0 1 0 0,0 0-1 0 0,0 0 1 0 0,0 0-1 0 0,1 0 1 0 0,-1 0-1 0 0,1 0 0 0 0,-1-1 1 0 0,1 1-1 0 0,0-1 1 0 0,-1 1-1 0 0,1-1 1 0 0,0 1-1 0 0,0-1 1 0 0,0 0-1 0 0,0 0 1 0 0,2 1-1 0 0,5 1 22 0 0,0 0 1 0 0,0 0-1 0 0,1-1 0 0 0,-1 0 1 0 0,0-1-1 0 0,1 0 0 0 0,-1-1 1 0 0,19-1-1 0 0,-17 0-4 0 0,0-1 0 0 0,-1 0 0 0 0,1-1-1 0 0,0 0 1 0 0,-1-1 0 0 0,19-9 0 0 0,53-39 430 0 0,-27 15 578 0 0,-54 36-1022 0 0,0 1 1 0 0,1-1 0 0 0,-1 0 0 0 0,0 1-1 0 0,0-1 1 0 0,1 1 0 0 0,-1-1-1 0 0,0 1 1 0 0,1-1 0 0 0,-1 1 0 0 0,0 0-1 0 0,1 0 1 0 0,-1 0 0 0 0,0 0 0 0 0,1 0-1 0 0,-1 0 1 0 0,1 0 0 0 0,-1 0-1 0 0,0 0 1 0 0,2 1 0 0 0,-1 0-10 0 0,-1 0-1 0 0,1 0 1 0 0,-1 0 0 0 0,0 0 0 0 0,0 0-1 0 0,1 0 1 0 0,-1 1 0 0 0,0-1 0 0 0,0 0-1 0 0,0 1 1 0 0,0-1 0 0 0,-1 1 0 0 0,1-1-1 0 0,0 1 1 0 0,-1-1 0 0 0,2 3 0 0 0,8 28-214 0 0,-2 1 1 0 0,7 48 0 0 0,0 3-2676 0 0,-10-65 802 0 0,0 1-1 0 0,10 21 0 0 0,-9-27-319 0 0</inkml:trace>
</inkml:ink>
</file>

<file path=ppt/ink/ink3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8.1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1 209 184 0 0,'0'3'1428'0'0,"16"186"7030"0"0,0-3-6202 0 0,-7-115-1567 0 0,25 165 895 0 0,-27-181-519 0 0,-7-55-1050 0 0,0 1-1 0 0,0-1 1 0 0,0 1 0 0 0,0-1 0 0 0,0 1-1 0 0,0-1 1 0 0,0 1 0 0 0,0-1-1 0 0,0 0 1 0 0,-1 1 0 0 0,1-1-1 0 0,0 1 1 0 0,0-1 0 0 0,0 1 0 0 0,0-1-1 0 0,-1 0 1 0 0,1 1 0 0 0,0-1-1 0 0,0 0 1 0 0,-1 1 0 0 0,1-1-1 0 0,0 0 1 0 0,-1 1 0 0 0,1-1 0 0 0,0 0-1 0 0,-1 1 1 0 0,1-1 0 0 0,0 0-1 0 0,-1 0 1 0 0,1 0 0 0 0,-1 1-1 0 0,1-1 1 0 0,0 0 0 0 0,-1 0-1 0 0,1 0 1 0 0,-1 0 0 0 0,1 0 0 0 0,-1 0-1 0 0,1 0 1 0 0,0 0 0 0 0,-1 0-1 0 0,1 0 1 0 0,-1 0 0 0 0,1 0-1 0 0,-1 0 1 0 0,1 0 0 0 0,-1 0 0 0 0,1 0-1 0 0,0 0 1 0 0,-1-1 0 0 0,1 1-1 0 0,-1 0 1 0 0,1 0 0 0 0,0 0-1 0 0,-1-1 1 0 0,-1 0-4 0 0,-1 0-1 0 0,1-1 1 0 0,0 1-1 0 0,0-1 1 0 0,0 1-1 0 0,0-1 1 0 0,0 0 0 0 0,-3-3-1 0 0,-5-11-27 0 0,0-1 0 0 0,1 0 0 0 0,1 0 0 0 0,-10-33 0 0 0,-14-77-54 0 0,31 123 69 0 0,-11-53-80 0 0,2-1 1 0 0,-4-115-1 0 0,14 144-11 0 0,1 1-1 0 0,2-1 0 0 0,1 1 1 0 0,1-1-1 0 0,1 2 1 0 0,1-1-1 0 0,2 1 0 0 0,13-31 1 0 0,-17 48-26 0 0,0 1 0 0 0,1 0 1 0 0,0-1-1 0 0,0 2 0 0 0,1-1 1 0 0,0 1-1 0 0,1 0 0 0 0,-1 0 1 0 0,1 1-1 0 0,19-12 0 0 0,-23 16 4 0 0,0 1 1 0 0,0 0-1 0 0,0 0 0 0 0,0 0 0 0 0,0 1 0 0 0,1-1 0 0 0,-1 1 0 0 0,1 0 0 0 0,-1 0 0 0 0,1 1 1 0 0,-1-1-1 0 0,1 1 0 0 0,-1 0 0 0 0,1 0 0 0 0,-1 1 0 0 0,1-1 0 0 0,0 1 0 0 0,-1 0 0 0 0,0 0 1 0 0,1 1-1 0 0,-1-1 0 0 0,0 1 0 0 0,0 0 0 0 0,1 0 0 0 0,-2 1 0 0 0,1-1 0 0 0,0 1 1 0 0,6 5-1 0 0,-4-3-138 0 0,0 1 1 0 0,-1 0-1 0 0,0 0 1 0 0,1 1-1 0 0,-2 0 1 0 0,1 0-1 0 0,-1 0 1 0 0,0 0-1 0 0,-1 0 1 0 0,4 12-1 0 0,-3-5-377 0 0,0-1-1 0 0,-2 1 0 0 0,1 0 0 0 0,-2 0 1 0 0,1 20-1 0 0,-4 8-1103 0 0</inkml:trace>
</inkml:ink>
</file>

<file path=ppt/ink/ink3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8.6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0 212 136 0 0,'-11'8'859'0'0,"1"0"-1"0"0,-1 0 0 0 0,0-1 1 0 0,-1-1-1 0 0,0 0 1 0 0,0 0-1 0 0,-22 6 1 0 0,33-11-829 0 0,1-1 0 0 0,-1 0 0 0 0,1 0 0 0 0,-1 0 1 0 0,1 0-1 0 0,-1 0 0 0 0,1 0 0 0 0,-1 0 0 0 0,1 0 0 0 0,-1 0 0 0 0,1 0 0 0 0,-1 0 0 0 0,1 0 1 0 0,-1 0-1 0 0,1 0 0 0 0,-1 0 0 0 0,1 0 0 0 0,0 0 0 0 0,-1-1 0 0 0,1 1 0 0 0,-1 0 0 0 0,1 0 1 0 0,-1-1-1 0 0,1 1 0 0 0,0 0 0 0 0,-1-1 0 0 0,1 1 0 0 0,0 0 0 0 0,-1-1 0 0 0,1 1 0 0 0,0 0 1 0 0,-1-1-1 0 0,1 1 0 0 0,0-1 0 0 0,0 1 0 0 0,-1-1 0 0 0,1 1 0 0 0,0-1 0 0 0,0 1 0 0 0,0-1 1 0 0,0 1-1 0 0,0-1 0 0 0,0 1 0 0 0,0-1 0 0 0,0 1 0 0 0,0-1 0 0 0,0 1 0 0 0,0 0 0 0 0,0-1 0 0 0,0 0 1 0 0,9-22 436 0 0,-1 12-279 0 0,2 1-1 0 0,0 0 1 0 0,0 0 0 0 0,0 1 0 0 0,2 0 0 0 0,14-9 0 0 0,-1 4 104 0 0,-1 1 0 0 0,32-12 0 0 0,-40 19-185 0 0,0 1 0 0 0,0 0 0 0 0,1 2 0 0 0,-1 0 0 0 0,1 0 1 0 0,0 2-1 0 0,0 0 0 0 0,0 1 0 0 0,0 0 0 0 0,0 2 0 0 0,-1 0 0 0 0,31 7 0 0 0,-37-6-83 0 0,1 1 0 0 0,-1 0 0 0 0,1 0 1 0 0,-1 1-1 0 0,-1 0 0 0 0,1 1 1 0 0,-1 0-1 0 0,0 1 0 0 0,0-1 0 0 0,-1 2 1 0 0,0-1-1 0 0,0 1 0 0 0,0 1 0 0 0,-1-1 1 0 0,-1 1-1 0 0,0 0 0 0 0,0 1 0 0 0,0 0 1 0 0,-1-1-1 0 0,5 17 0 0 0,-8-19-1 0 0,0 0 0 0 0,-1 0-1 0 0,0-1 1 0 0,-1 1 0 0 0,1 0 0 0 0,-1 0-1 0 0,-1 0 1 0 0,-1 13 0 0 0,1-13 0 0 0,1-6-28 0 0,0-1 0 0 0,-1 1-1 0 0,1 0 1 0 0,0-1-1 0 0,-1 1 1 0 0,1 0 0 0 0,-1-1-1 0 0,1 1 1 0 0,-1 0 0 0 0,1-1-1 0 0,-1 1 1 0 0,1-1 0 0 0,-1 1-1 0 0,0-1 1 0 0,1 1-1 0 0,-1-1 1 0 0,1 1 0 0 0,-1-1-1 0 0,0 0 1 0 0,0 1 0 0 0,1-1-1 0 0,-1 0 1 0 0,0 0 0 0 0,0 0-1 0 0,1 1 1 0 0,-1-1 0 0 0,0 0-1 0 0,0 0 1 0 0,0 0-1 0 0,1 0 1 0 0,-1 0 0 0 0,0 0-1 0 0,0-1 1 0 0,1 1 0 0 0,-1 0-1 0 0,0 0 1 0 0,-1-1 0 0 0,2 1 13 0 0,-1 0-23 0 0,1-1 0 0 0,-1 1 0 0 0,1-1 0 0 0,-1 1 0 0 0,1-1 0 0 0,0 1 0 0 0,-1-1 0 0 0,1 1 0 0 0,-1-1 0 0 0,1 1 0 0 0,0-1 0 0 0,-1 0 0 0 0,1 1 0 0 0,0-1 0 0 0,0 0 0 0 0,0 1 0 0 0,-1-1 0 0 0,1 0 1 0 0,0 1-1 0 0,0-1 0 0 0,0 0 0 0 0,0 1 0 0 0,0-1 0 0 0,0 0 0 0 0,0 1 0 0 0,0-1 0 0 0,1 0 0 0 0,-1 1 0 0 0,0-1 0 0 0,0 0 0 0 0,1 1 0 0 0,-1-2 0 0 0,9-22-277 0 0,4 2 168 0 0,1 1 0 0 0,1 1 0 0 0,1 0 0 0 0,1 2 0 0 0,0 0 0 0 0,1 0 0 0 0,2 2 0 0 0,-1 0 0 0 0,25-14 0 0 0,-40 28 138 0 0,-1 0 0 0 0,1 1-1 0 0,-1-1 1 0 0,1 1 0 0 0,-1 0-1 0 0,1 0 1 0 0,0 0 0 0 0,0 1 0 0 0,-1-1-1 0 0,1 1 1 0 0,0 0 0 0 0,0 0-1 0 0,0 0 1 0 0,7 2 0 0 0,2 1 76 0 0,0 0 0 0 0,-1 2 0 0 0,13 5 1 0 0,-12-5 123 0 0,-1 0 0 0 0,21 5 1 0 0,-26-9-44 0 0,1 0 0 0 0,0 0 1 0 0,0 0-1 0 0,0-1 0 0 0,0 0 1 0 0,0-1-1 0 0,10-1 0 0 0,-15 1-99 0 0,1 0 1 0 0,-1 0-1 0 0,1 0 1 0 0,-1-1-1 0 0,1 1 1 0 0,-1-1-1 0 0,0 0 0 0 0,1 0 1 0 0,-1 0-1 0 0,0 0 1 0 0,0-1-1 0 0,-1 1 0 0 0,1-1 1 0 0,0 0-1 0 0,-1 0 1 0 0,0 0-1 0 0,3-4 0 0 0,-4 5-38 0 0,0 0 0 0 0,0 0 0 0 0,0 0-1 0 0,0 0 1 0 0,0 0 0 0 0,0 0 0 0 0,-1-1 0 0 0,1 1-1 0 0,-1 0 1 0 0,1 0 0 0 0,-1-1 0 0 0,0 1-1 0 0,0 0 1 0 0,0 0 0 0 0,0-1 0 0 0,-1 1 0 0 0,1 0-1 0 0,0-1 1 0 0,-1 1 0 0 0,0 0 0 0 0,1 0-1 0 0,-1 0 1 0 0,0 0 0 0 0,0 0 0 0 0,0 0 0 0 0,-1 0-1 0 0,1 0 1 0 0,0 0 0 0 0,-1 0 0 0 0,1 0-1 0 0,-3-1 1 0 0,0 0-43 0 0,1 0 1 0 0,-1 0-1 0 0,0 0 0 0 0,-1 1 1 0 0,1 0-1 0 0,0 0 0 0 0,-1 0 1 0 0,1 0-1 0 0,-1 1 0 0 0,1 0 0 0 0,-1 0 1 0 0,0 0-1 0 0,1 0 0 0 0,-1 1 1 0 0,0-1-1 0 0,-5 2 0 0 0,-6 0-512 0 0,0 2 0 0 0,0 0 0 0 0,-24 7-1 0 0,31-7-264 0 0,1 0 0 0 0,0 0-1 0 0,0 1 1 0 0,0 0 0 0 0,-8 6 0 0 0</inkml:trace>
</inkml:ink>
</file>

<file path=ppt/ink/ink3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9.0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7 1428 0 0,'4'-1'301'0'0,"0"0"-1"0"0,1 0 1 0 0,0 0 0 0 0,-1 0-1 0 0,1 1 1 0 0,-1 0 0 0 0,1 0-1 0 0,-1 0 1 0 0,1 1 0 0 0,0-1-1 0 0,-1 1 1 0 0,1 0 0 0 0,-1 0 0 0 0,1 1-1 0 0,-1-1 1 0 0,0 1 0 0 0,0 0-1 0 0,0 0 1 0 0,0 1 0 0 0,0-1-1 0 0,0 1 1 0 0,0 0 0 0 0,-1-1-1 0 0,0 2 1 0 0,1-1 0 0 0,4 6-1 0 0,6 11 277 0 0,-1 1 0 0 0,-1-1 0 0 0,12 31 0 0 0,-3-10-106 0 0,-14-23-294 0 0,-6-15 238 0 0,0 0-1 0 0,0 1 1 0 0,1-1 0 0 0,-1 0 0 0 0,1 0 0 0 0,0 0-1 0 0,3 4 1 0 0,5-18-8 0 0,-7 5-341 0 0,0 0-1 0 0,-1 0 1 0 0,0 0 0 0 0,4-12-1 0 0,8-20 10 0 0,-12 34-77 0 0,5-9-6 0 0,1 0-1 0 0,18-21 1 0 0,-23 30-16 0 0,0 1 0 0 0,0 0 1 0 0,1 0-1 0 0,-1 1 0 0 0,1-1 1 0 0,-1 1-1 0 0,1-1 0 0 0,0 1 1 0 0,0 0-1 0 0,0 1 0 0 0,0-1 1 0 0,0 1-1 0 0,0-1 0 0 0,0 1 1 0 0,6 0-1 0 0,-6 0 15 0 0,0 1 1 0 0,0 0-1 0 0,-1 0 0 0 0,1 1 1 0 0,0-1-1 0 0,-1 1 0 0 0,1 0 1 0 0,-1 0-1 0 0,1 0 0 0 0,-1 0 1 0 0,1 1-1 0 0,-1-1 0 0 0,0 1 1 0 0,1 0-1 0 0,-1 0 0 0 0,0 0 0 0 0,0 0 1 0 0,-1 1-1 0 0,1-1 0 0 0,0 1 1 0 0,-1 0-1 0 0,0 0 0 0 0,1-1 1 0 0,-1 2-1 0 0,0-1 0 0 0,0 0 1 0 0,-1 0-1 0 0,1 1 0 0 0,-1-1 1 0 0,0 0-1 0 0,0 1 0 0 0,1 4 0 0 0,1 8 578 0 0,-3-16-554 0 0,0 0 0 0 0,0 1 0 0 0,0-1 0 0 0,0 0 0 0 0,0 0 0 0 0,-1 0 0 0 0,1 1 0 0 0,0-1 0 0 0,0 0 0 0 0,0 0 0 0 0,0 1 0 0 0,0-1 0 0 0,0 0 1 0 0,0 0-1 0 0,0 0 0 0 0,-1 1 0 0 0,1-1 0 0 0,0 0 0 0 0,0 0 0 0 0,0 0 0 0 0,0 0 0 0 0,-1 1 0 0 0,1-1 0 0 0,0 0 0 0 0,0 0 0 0 0,-1 0 0 0 0,1 0 0 0 0,0 0 1 0 0,0 0-1 0 0,0 0 0 0 0,-1 0 0 0 0,1 1 0 0 0,0-1 0 0 0,0 0 0 0 0,-1 0 0 0 0,1 0 0 0 0,0 0 0 0 0,0 0 0 0 0,-1 0 0 0 0,1 0 0 0 0,0-1 0 0 0,0 1 1 0 0,-1 0-1 0 0,1 0 0 0 0,0 0 0 0 0,0 0 0 0 0,0 0 0 0 0,-1 0 0 0 0,1 0 0 0 0,0 0 0 0 0,0-1 0 0 0,0 1 0 0 0,-1 0 0 0 0,1 0 0 0 0,0 0 0 0 0,0 0 1 0 0,0-1-1 0 0,-1 0 15 0 0,0 1 1 0 0,0-1 0 0 0,1 0 0 0 0,-1 0 0 0 0,0 0 0 0 0,1 0 0 0 0,-1 0 0 0 0,1 0-1 0 0,0 0 1 0 0,-1 0 0 0 0,1 0 0 0 0,0-1 0 0 0,-1 1 0 0 0,1 0 0 0 0,0 0 0 0 0,0 0 0 0 0,0 0-1 0 0,0 0 1 0 0,0-1 0 0 0,0 1 0 0 0,1-2 0 0 0,4-23 177 0 0,-3 19-193 0 0,1 0 1 0 0,0 0-1 0 0,0 1 1 0 0,1-1-1 0 0,0 1 1 0 0,0 0-1 0 0,1 0 1 0 0,-1 0-1 0 0,1 1 1 0 0,0 0-1 0 0,1 0 1 0 0,-1 0-1 0 0,1 0 0 0 0,0 1 1 0 0,0 0-1 0 0,1 0 1 0 0,-1 1-1 0 0,12-5 1 0 0,-9 5-215 0 0,0 0-1 0 0,0 1 1 0 0,0 0 0 0 0,0 0 0 0 0,0 1 0 0 0,0 0-1 0 0,0 1 1 0 0,0 0 0 0 0,0 0 0 0 0,0 1 0 0 0,0 0-1 0 0,0 1 1 0 0,0 0 0 0 0,15 5 0 0 0,-19-5-86 0 0,1 1 0 0 0,-1-1 0 0 0,0 1 0 0 0,0 0 0 0 0,-1 1 1 0 0,1-1-1 0 0,-1 1 0 0 0,0 0 0 0 0,1 0 0 0 0,-2 0 0 0 0,1 1 0 0 0,4 6 0 0 0,-3-4-904 0 0,-1 0-1 0 0,-1 1 0 0 0,1 0 1 0 0,3 13-1 0 0,-2-6-2327 0 0</inkml:trace>
</inkml:ink>
</file>

<file path=ppt/ink/ink3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39.6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9 6 1352 0 0,'0'0'1360'0'0,"-16"-5"1967"0"0,15 5-3272 0 0,0 0 0 0 0,0 0 1 0 0,0 1-1 0 0,0-1 0 0 0,0 1 0 0 0,0-1 0 0 0,0 1 0 0 0,0-1 0 0 0,1 1 0 0 0,-1 0 0 0 0,0-1 1 0 0,0 1-1 0 0,0 0 0 0 0,1-1 0 0 0,-1 1 0 0 0,1 0 0 0 0,-1 0 0 0 0,0 0 0 0 0,1 0 1 0 0,-1 0-1 0 0,1 0 0 0 0,0 0 0 0 0,-1 0 0 0 0,1 0 0 0 0,0 0 0 0 0,-1 0 0 0 0,1 0 0 0 0,0 0 1 0 0,0 0-1 0 0,0 0 0 0 0,0 0 0 0 0,0 0 0 0 0,0 0 0 0 0,0 0 0 0 0,1 0 0 0 0,-1 0 1 0 0,0 0-1 0 0,1 1 0 0 0,4 9 188 0 0,0 0-1 0 0,1-1 1 0 0,0 0 0 0 0,1 0 0 0 0,0 0-1 0 0,0-1 1 0 0,13 12 0 0 0,-2 0 20 0 0,-2-3-84 0 0,-1 2 0 0 0,0-1 1 0 0,-2 2-1 0 0,14 27 0 0 0,-23-40-143 0 0,-1 0-1 0 0,0 0 1 0 0,0 0-1 0 0,-1 0 1 0 0,0 0-1 0 0,-1 0 1 0 0,1 1-1 0 0,-2-1 1 0 0,1 0-1 0 0,-1 1 1 0 0,0-1-1 0 0,-1 1 1 0 0,0-1-1 0 0,-1 0 1 0 0,1 1-1 0 0,-4 8 1 0 0,2-10-19 0 0,1 0 0 0 0,-1 0 0 0 0,0 0 0 0 0,-1-1 0 0 0,0 1 0 0 0,0-1 0 0 0,0 0 0 0 0,-1 0 0 0 0,0 0 0 0 0,0 0 1 0 0,0-1-1 0 0,-1 0 0 0 0,0 0 0 0 0,0 0 0 0 0,0-1 0 0 0,-1 0 0 0 0,1 0 0 0 0,-1-1 0 0 0,-11 5 0 0 0,14-7-66 0 0,0-1-1 0 0,1 1 0 0 0,-1-1 1 0 0,0 0-1 0 0,0 1 1 0 0,1-2-1 0 0,-1 1 1 0 0,0 0-1 0 0,1-1 1 0 0,-1 0-1 0 0,0 1 1 0 0,1-2-1 0 0,-1 1 0 0 0,1 0 1 0 0,0-1-1 0 0,-1 1 1 0 0,1-1-1 0 0,0 0 1 0 0,0 0-1 0 0,0 0 1 0 0,0-1-1 0 0,0 1 1 0 0,0-1-1 0 0,1 1 0 0 0,-5-7 1 0 0,0 0-119 0 0,0-1 0 0 0,1 0 1 0 0,0 0-1 0 0,0 0 0 0 0,1-1 1 0 0,-6-19-1 0 0,-5-11-306 0 0,15 40 585 0 0,0 2-86 0 0,0 0 1 0 0,0 0-1 0 0,0 1 0 0 0,0-1 1 0 0,0 1-1 0 0,0-1 0 0 0,1 0 1 0 0,-1 1-1 0 0,0-1 0 0 0,1 1 0 0 0,-1 0 1 0 0,1-1-1 0 0,0 1 0 0 0,-1-1 1 0 0,1 3-1 0 0,-2 3 54 0 0,-7 23-235 0 0,1 0 1 0 0,1 0-1 0 0,-3 34 1 0 0,10-21-4653 0 0</inkml:trace>
</inkml:ink>
</file>

<file path=ppt/ink/ink3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40.3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7 1460 0 0,'1'0'164'0'0,"0"0"-1"0"0,0 0 0 0 0,1 0 1 0 0,-1-1-1 0 0,0 1 1 0 0,0 0-1 0 0,0 0 0 0 0,0 0 1 0 0,0 0-1 0 0,0 1 1 0 0,0-1-1 0 0,0 0 1 0 0,0 0-1 0 0,0 1 0 0 0,0-1 1 0 0,0 0-1 0 0,0 1 1 0 0,0-1-1 0 0,0 1 0 0 0,0 0 1 0 0,-1-1-1 0 0,2 2 1 0 0,0 0 77 0 0,-1-1 0 0 0,0 1 0 0 0,1 0 0 0 0,-1 0 0 0 0,0 0 0 0 0,0 1 0 0 0,0-1 0 0 0,-1 0 0 0 0,1 0 0 0 0,0 0 0 0 0,-1 3 0 0 0,2 6 225 0 0,1-1 1 0 0,0 1 0 0 0,1-1-1 0 0,-1 0 1 0 0,2 0 0 0 0,0 0-1 0 0,11 17 1 0 0,-12-22-373 0 0,1 0 0 0 0,-1 0 0 0 0,1 0 0 0 0,0 0 0 0 0,0-1 0 0 0,0 0 0 0 0,0 0 0 0 0,1 0-1 0 0,0-1 1 0 0,0 0 0 0 0,0 0 0 0 0,0 0 0 0 0,0-1 0 0 0,7 2 0 0 0,-8-3-76 0 0,0 0 0 0 0,1-1 0 0 0,-1 1 0 0 0,0-1-1 0 0,0 0 1 0 0,0-1 0 0 0,0 1 0 0 0,0-1 0 0 0,0 0 0 0 0,0 0-1 0 0,0-1 1 0 0,0 1 0 0 0,0-1 0 0 0,0 0 0 0 0,-1 0 0 0 0,1-1-1 0 0,-1 1 1 0 0,0-1 0 0 0,1 0 0 0 0,-1 0 0 0 0,-1-1 0 0 0,6-4 0 0 0,1-3-44 0 0,0 0 0 0 0,-1-1 0 0 0,-1 0 0 0 0,0-1 0 0 0,0 1 0 0 0,8-21 1 0 0,-16 32 22 0 0,0 1 1 0 0,0-1 0 0 0,0 1 0 0 0,1-1 0 0 0,-1 1 0 0 0,0-1 0 0 0,0 1 0 0 0,0-1 0 0 0,1 1 0 0 0,-1-1 0 0 0,0 1-1 0 0,1-1 1 0 0,-1 1 0 0 0,0 0 0 0 0,1-1 0 0 0,-1 1 0 0 0,0-1 0 0 0,1 1 0 0 0,-1 0 0 0 0,1-1 0 0 0,-1 1 0 0 0,1 0-1 0 0,-1 0 1 0 0,1 0 0 0 0,-1-1 0 0 0,1 1 0 0 0,-1 0 0 0 0,1 0 0 0 0,-1 0 0 0 0,1 0 0 0 0,-1 0 0 0 0,1 0-1 0 0,-1 0 1 0 0,1 0 0 0 0,-1 0 0 0 0,1 0 0 0 0,-1 0 0 0 0,1 0 0 0 0,-1 0 0 0 0,1 0 0 0 0,-1 0 0 0 0,1 1 0 0 0,-1-1-1 0 0,1 0 1 0 0,-1 0 0 0 0,1 1 0 0 0,-1-1 0 0 0,1 0 0 0 0,-1 1 0 0 0,1-1 0 0 0,-1 1 0 0 0,23 28 14 0 0,-9-11-13 0 0,-9-13 15 0 0,0 0 0 0 0,1-1 0 0 0,0 0 0 0 0,0 0 0 0 0,0 0 1 0 0,1-1-1 0 0,-1 1 0 0 0,1-2 0 0 0,0 1 0 0 0,0-1 1 0 0,0 0-1 0 0,0 0 0 0 0,0-1 0 0 0,0 0 0 0 0,0 0 0 0 0,1-1 1 0 0,-1 0-1 0 0,12-1 0 0 0,-12-1 6 0 0,0 0 0 0 0,0 0 0 0 0,0-1-1 0 0,0 1 1 0 0,0-1 0 0 0,-1-1 0 0 0,1 1 0 0 0,-1-1 0 0 0,0-1 0 0 0,-1 1 0 0 0,1-1 0 0 0,-1 0-1 0 0,1 0 1 0 0,-1 0 0 0 0,-1-1 0 0 0,1 0 0 0 0,6-12 0 0 0,-9 15-4 0 0,0-1 0 0 0,1 1 0 0 0,-1 0 1 0 0,1 0-1 0 0,0 0 0 0 0,0 0 0 0 0,3-2 0 0 0,-5 5-8 0 0,-1 0-1 0 0,1 0 1 0 0,0 1-1 0 0,-1-1 1 0 0,1 0-1 0 0,0 1 0 0 0,-1-1 1 0 0,1 0-1 0 0,0 1 1 0 0,-1-1-1 0 0,1 1 1 0 0,-1-1-1 0 0,1 1 0 0 0,-1 0 1 0 0,1-1-1 0 0,-1 1 1 0 0,0-1-1 0 0,1 1 1 0 0,-1 0-1 0 0,1-1 1 0 0,-1 1-1 0 0,0 0 0 0 0,0-1 1 0 0,1 1-1 0 0,-1 0 1 0 0,0 0-1 0 0,0-1 1 0 0,0 1-1 0 0,0 0 1 0 0,0-1-1 0 0,0 2 0 0 0,0 31 202 0 0,0-25-112 0 0,2 145 958 0 0,-4 162 602 0 0,1-301-1067 0 0,-1 0 1 0 0,-6 25-1 0 0,7-40-603 0 0,0 0-1 0 0,0 0 0 0 0,0 0 0 0 0,0 0 1 0 0,0 0-1 0 0,1-1 0 0 0,-1 1 0 0 0,0 0 0 0 0,0-1 1 0 0,1 1-1 0 0,-2-3 0 0 0,-3-50-902 0 0,0-77 0 0 0,5 72 513 0 0,5-134-780 0 0,-1 162 954 0 0,0 0 0 0 0,2 0 0 0 0,2 0 0 0 0,12-33 1 0 0,-17 57 190 0 0,-1 1 0 0 0,1 0 1 0 0,0 0-1 0 0,0 0 1 0 0,1 0-1 0 0,0 0 0 0 0,0 1 1 0 0,0 0-1 0 0,1 0 0 0 0,0 0 1 0 0,0 0-1 0 0,0 1 1 0 0,9-7-1 0 0,-11 10 67 0 0,-3 1-27 0 0,0 0 0 0 0,0 0-1 0 0,0 1 1 0 0,0-1 0 0 0,0 0-1 0 0,0 0 1 0 0,0 0 0 0 0,1 1-1 0 0,-1-1 1 0 0,0 0 0 0 0,0 0-1 0 0,0 0 1 0 0,0 0 0 0 0,0 1-1 0 0,1-1 1 0 0,-1 0 0 0 0,0 0-1 0 0,0 0 1 0 0,0 0 0 0 0,0 0 0 0 0,1 1-1 0 0,-1-1 1 0 0,0 0 0 0 0,0 0-1 0 0,0 0 1 0 0,1 0 0 0 0,-1 0-1 0 0,0 0 1 0 0,0 0 0 0 0,1 0-1 0 0,-1 0 1 0 0,1 0-1 0 0,-1 0 0 0 0,0 0 1 0 0,1 0-1 0 0,-1 0 0 0 0,0 0 0 0 0,1 0 1 0 0,-1 1-1 0 0,0-1 0 0 0,0 0 0 0 0,1 0 1 0 0,-1 0-1 0 0,0 0 0 0 0,1 1 0 0 0,-1-1 1 0 0,0 0-1 0 0,0 0 0 0 0,1 0 0 0 0,-1 1 1 0 0,0-1-1 0 0,0 0 0 0 0,0 0 0 0 0,1 1 1 0 0,-1-1-1 0 0,0 0 0 0 0,0 1 0 0 0,0-1 1 0 0,0 0-1 0 0,0 1 0 0 0,1-1 0 0 0,-1 0 1 0 0,0 1-1 0 0,0-1 0 0 0,0 0 0 0 0,0 1 1 0 0,-1 7 4 0 0,0 0 0 0 0,-1 0 1 0 0,0 0-1 0 0,0-1 0 0 0,-1 1 1 0 0,0-1-1 0 0,0 1 0 0 0,0-1 0 0 0,-1 0 1 0 0,0 0-1 0 0,-1-1 0 0 0,0 1 1 0 0,-6 7-1 0 0,-14 13-603 0 0,-42 37 0 0 0,60-58 336 0 0,-36 24-2982 0 0,22-31-3784 0 0</inkml:trace>
</inkml:ink>
</file>

<file path=ppt/ink/ink3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40.6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91 344 0 0,'6'-3'507'0'0,"0"1"-1"0"0,0 0 1 0 0,1 0 0 0 0,-1 0-1 0 0,0 1 1 0 0,1 0-1 0 0,0 1 1 0 0,-1-1 0 0 0,1 1-1 0 0,9 1 1 0 0,-12 0-315 0 0,0 0 1 0 0,0 0-1 0 0,0 1 1 0 0,0-1-1 0 0,0 1 1 0 0,-1 0-1 0 0,1 0 1 0 0,0 0-1 0 0,-1 0 0 0 0,0 1 1 0 0,1 0-1 0 0,-1-1 1 0 0,0 1-1 0 0,0 0 1 0 0,-1 0-1 0 0,1 1 1 0 0,-1-1-1 0 0,3 5 1 0 0,2 4 134 0 0,-2-1 0 0 0,1 1 0 0 0,-2 0 0 0 0,1 1 0 0 0,-2-1 0 0 0,1 1 0 0 0,1 22 0 0 0,-3-15 143 0 0,-1-1-1 0 0,-1 1 1 0 0,0-1-1 0 0,-6 31 1 0 0,6-48-385 0 0,-1 1-1 0 0,0 0 1 0 0,0-1-1 0 0,0 0 1 0 0,-1 1-1 0 0,1-1 1 0 0,0 0-1 0 0,-1 1 1 0 0,1-1 0 0 0,-1 0-1 0 0,0 0 1 0 0,-2 2-1 0 0,3-3-65 0 0,0 0 1 0 0,0 0-1 0 0,0-1 0 0 0,0 1 0 0 0,0 0 0 0 0,0 0 0 0 0,0-1 1 0 0,-1 1-1 0 0,1-1 0 0 0,0 1 0 0 0,0-1 0 0 0,-1 1 0 0 0,1-1 1 0 0,0 0-1 0 0,0 1 0 0 0,-1-1 0 0 0,1 0 0 0 0,0 0 1 0 0,-1 0-1 0 0,1 0 0 0 0,0 0 0 0 0,-1-1 0 0 0,1 1 0 0 0,0 0 1 0 0,-1-1-1 0 0,1 1 0 0 0,-1-1 0 0 0,-4-3-58 0 0,0-1-1 0 0,0 1 1 0 0,1-1 0 0 0,-1 0-1 0 0,1-1 1 0 0,1 1 0 0 0,-1-1-1 0 0,1 0 1 0 0,0 0 0 0 0,0 0-1 0 0,1-1 1 0 0,0 0 0 0 0,0 1-1 0 0,0-1 1 0 0,1 0 0 0 0,0 0-1 0 0,-1-10 1 0 0,-2-7-144 0 0,2 0 0 0 0,1 1 0 0 0,0-1 0 0 0,3-29 0 0 0,1 29 68 0 0,1 1 0 0 0,1 0 0 0 0,0 0 0 0 0,2 1-1 0 0,1 0 1 0 0,9-23 0 0 0,-10 32 69 0 0,1-1 0 0 0,0 1 0 0 0,1 0 0 0 0,0 1 0 0 0,1-1 0 0 0,0 2 0 0 0,1-1 0 0 0,0 1 0 0 0,1 1 0 0 0,17-13 0 0 0,-24 20 54 0 0,0 0 0 0 0,0 1 0 0 0,1 0 0 0 0,-1 0 0 0 0,1 0 0 0 0,0 0 0 0 0,-1 1 0 0 0,1 0 0 0 0,0 0 0 0 0,0 0 0 0 0,0 0 0 0 0,0 1 0 0 0,0 0 0 0 0,0 0 0 0 0,0 0 0 0 0,0 1 0 0 0,0-1 0 0 0,5 2 0 0 0,-8-1 4 0 0,1 0 1 0 0,0 0 0 0 0,-1 0-1 0 0,1 1 1 0 0,-1-1 0 0 0,0 1-1 0 0,1-1 1 0 0,-1 1-1 0 0,0 0 1 0 0,0-1 0 0 0,0 1-1 0 0,0 0 1 0 0,0 1 0 0 0,0-1-1 0 0,-1 0 1 0 0,1 0 0 0 0,-1 1-1 0 0,1-1 1 0 0,-1 1 0 0 0,0-1-1 0 0,0 1 1 0 0,0 0 0 0 0,-1-1-1 0 0,1 1 1 0 0,0 0-1 0 0,-1 0 1 0 0,0-1 0 0 0,0 1-1 0 0,0 0 1 0 0,0 0 0 0 0,0 0-1 0 0,0-1 1 0 0,-1 4 0 0 0,-2 5 29 0 0,1 0-1 0 0,-2 0 1 0 0,1-1 0 0 0,-1 1 0 0 0,-1-1 0 0 0,0 0 0 0 0,0 0 0 0 0,-1-1 0 0 0,-1 0 0 0 0,1 0 0 0 0,-13 13 0 0 0,4-6-318 0 0,0-2 1 0 0,-1 0 0 0 0,-1 0-1 0 0,0-2 1 0 0,-23 13 0 0 0,30-18-449 0 0,-12 4-147 0 0,5-6-3862 0 0,1-4 793 0 0</inkml:trace>
</inkml:ink>
</file>

<file path=ppt/ink/ink3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41.0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 0 1296 0 0,'1'3'2872'0'0,"-1"2"-2428"0"0,1 0 0 0 0,-1 1-1 0 0,-1-1 1 0 0,1 0 0 0 0,-1 1 0 0 0,0-1-1 0 0,0 0 1 0 0,-1 0 0 0 0,1 0-1 0 0,-4 8 1 0 0,-5 18 728 0 0,9-22-960 0 0,-1-1 0 0 0,1 0 0 0 0,1 1 1 0 0,-1-1-1 0 0,2 1 0 0 0,-1-1 0 0 0,1 1 0 0 0,0-1 1 0 0,1 1-1 0 0,0-1 0 0 0,3 9 0 0 0,-3-13-147 0 0,0 1-1 0 0,0-1 0 0 0,0 0 1 0 0,1 0-1 0 0,0 0 1 0 0,0-1-1 0 0,0 1 1 0 0,0-1-1 0 0,0 1 0 0 0,1-1 1 0 0,-1 0-1 0 0,1 0 1 0 0,0-1-1 0 0,0 1 1 0 0,0-1-1 0 0,1 0 0 0 0,-1 0 1 0 0,0 0-1 0 0,1 0 1 0 0,-1-1-1 0 0,8 2 1 0 0,-5-3-11 0 0,1 1 1 0 0,-1-1 0 0 0,1 0-1 0 0,-1 0 1 0 0,1-1 0 0 0,-1 0 0 0 0,1 0-1 0 0,-1-1 1 0 0,0 0 0 0 0,0 0-1 0 0,0-1 1 0 0,0 0 0 0 0,7-4 0 0 0,-10 5-38 0 0,0 0 0 0 0,-1-1 0 0 0,1 1 0 0 0,-1-1 0 0 0,1 0 0 0 0,-1 0 1 0 0,0 0-1 0 0,0 0 0 0 0,-1-1 0 0 0,5-6 0 0 0,-6 7-22 0 0,1 0-1 0 0,-1 1 1 0 0,0-1-1 0 0,0 0 1 0 0,-1 0-1 0 0,1 0 1 0 0,-1 0-1 0 0,1 0 1 0 0,-1 0-1 0 0,0 1 1 0 0,0-1-1 0 0,0 0 1 0 0,-1 0-1 0 0,1 0 1 0 0,-1 0-1 0 0,1 0 1 0 0,-3-4-1 0 0,2 4-35 0 0,-1-1 0 0 0,0 0 0 0 0,-1 1 0 0 0,1-1 0 0 0,0 1 0 0 0,-1 0 0 0 0,0 0 0 0 0,0 0 0 0 0,0 0 0 0 0,0 0 0 0 0,0 1-1 0 0,-1-1 1 0 0,1 1 0 0 0,-1 0 0 0 0,-5-3 0 0 0,-9-3-1181 0 0,0 1 0 0 0,-19-5 0 0 0,14 5-2204 0 0</inkml:trace>
</inkml:ink>
</file>

<file path=ppt/ink/ink3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41.3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58 612 0 0,'10'1'576'0'0,"1"0"0"0"0,-1 1 0 0 0,1 0 0 0 0,-1 1 0 0 0,0 0 1 0 0,0 1-1 0 0,0 0 0 0 0,0 0 0 0 0,-1 1 0 0 0,0 0 0 0 0,12 10 0 0 0,-15-11-324 0 0,-1 0-1 0 0,-1 1 0 0 0,1-1 1 0 0,-1 1-1 0 0,1 0 1 0 0,-1 1-1 0 0,-1-1 1 0 0,1 1-1 0 0,-1 0 0 0 0,0 0 1 0 0,0 0-1 0 0,-1 0 1 0 0,0 0-1 0 0,0 1 1 0 0,0-1-1 0 0,-1 1 1 0 0,0-1-1 0 0,0 1 0 0 0,0 8 1 0 0,-2-9 124 0 0,1-1 1 0 0,-1 0-1 0 0,0 0 1 0 0,0 0-1 0 0,-1 0 1 0 0,1 0 0 0 0,-5 10 855 0 0,2-19-1051 0 0,4 3-181 0 0,-1 1 0 0 0,1 0 0 0 0,0 0-1 0 0,0 0 1 0 0,-1 0 0 0 0,1 0 0 0 0,0 0 0 0 0,0-1 0 0 0,0 1 0 0 0,-1 0 0 0 0,1 0 0 0 0,0 0 0 0 0,0 0 0 0 0,0-1 0 0 0,-1 1 0 0 0,1 0-1 0 0,0 0 1 0 0,0-1 0 0 0,0 1 0 0 0,0 0 0 0 0,0 0 0 0 0,0-1 0 0 0,-1 1 0 0 0,1 0 0 0 0,0 0 0 0 0,0-1 0 0 0,0 1 0 0 0,0 0-1 0 0,0 0 1 0 0,0-1 0 0 0,0 1 0 0 0,0 0 0 0 0,0 0 0 0 0,0-1 0 0 0,0 1 0 0 0,1 0 0 0 0,-1-1 0 0 0,0 1 0 0 0,0 0 0 0 0,120-287-3128 0 0,-90 222 2897 0 0,-24 51 360 0 0,0 0 0 0 0,1 1 0 0 0,1 0 0 0 0,0 0 1 0 0,1 1-1 0 0,17-19 0 0 0,-26 31-96 0 0,1-1 0 0 0,-1 1-1 0 0,1-1 1 0 0,0 1 0 0 0,-1 0 0 0 0,1-1 0 0 0,-1 1 0 0 0,1 0 0 0 0,0 0 0 0 0,-1-1 0 0 0,1 1 0 0 0,0 0 0 0 0,0 0 0 0 0,-1 0 0 0 0,1 0 0 0 0,0 0 0 0 0,-1 0 0 0 0,1 0 0 0 0,0 0 0 0 0,0 0 0 0 0,-1 0 0 0 0,1 0 0 0 0,0 0-1 0 0,-1 1 1 0 0,1-1 0 0 0,0 0 0 0 0,-1 0 0 0 0,1 1 0 0 0,-1-1 0 0 0,1 1 0 0 0,0-1 0 0 0,-1 0 0 0 0,1 1 0 0 0,1 1 40 0 0,0 0 1 0 0,-1-1-1 0 0,1 1 0 0 0,-1 0 1 0 0,1-1-1 0 0,-1 1 0 0 0,0 0 1 0 0,0 0-1 0 0,1 3 0 0 0,33 101 1214 0 0,-11-26-962 0 0,1-10-101 0 0,25 75-3176 0 0,-30-67-4255 0 0,-24-61 1936 0 0</inkml:trace>
</inkml:ink>
</file>

<file path=ppt/ink/ink3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41.7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 233 1488 0 0,'-3'-8'1264'0'0,"0"-1"1"0"0,0 0-1 0 0,1 1 0 0 0,-3-19 0 0 0,5 22-1099 0 0,0 0-1 0 0,1 1 0 0 0,-1-1 0 0 0,1 0 1 0 0,0 0-1 0 0,0 1 0 0 0,1-1 1 0 0,-1 0-1 0 0,1 1 0 0 0,0 0 1 0 0,4-6-1 0 0,-1 1-196 0 0,1 1-1 0 0,0 0 1 0 0,0 0 0 0 0,1 1-1 0 0,0 0 1 0 0,0 0 0 0 0,1 0-1 0 0,9-6 1 0 0,-7 7-1170 0 0,0-1 0 0 0,0 2-1 0 0,19-8 1 0 0,-16 7-1075 0 0</inkml:trace>
</inkml:ink>
</file>

<file path=ppt/ink/ink3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42.15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5 24 1456 0 0,'2'-8'192'0'0,"-4"-8"6339"0"0,-5 22-6063 0 0,2 2-57 0 0,0 0 0 0 0,0 1 0 0 0,1-1 0 0 0,0 1 0 0 0,1-1-1 0 0,0 1 1 0 0,0 0 0 0 0,-2 18 0 0 0,0-7 78 0 0,1-1-102 0 0,1 1 0 0 0,0 0 0 0 0,2-1 0 0 0,0 1 0 0 0,2 0 0 0 0,0 0 1 0 0,1 0-1 0 0,0-1 0 0 0,8 27 0 0 0,-9-44-364 0 0,0-1 0 0 0,-1 1 1 0 0,1-1-1 0 0,0 1 0 0 0,0-1 0 0 0,0 1 1 0 0,0-1-1 0 0,0 0 0 0 0,0 1 0 0 0,1-1 1 0 0,-1 0-1 0 0,0 0 0 0 0,0 0 0 0 0,1 0 1 0 0,-1 0-1 0 0,1 0 0 0 0,-1 0 0 0 0,1 0 0 0 0,0-1 1 0 0,-1 1-1 0 0,1-1 0 0 0,0 1 0 0 0,-1-1 1 0 0,1 1-1 0 0,0-1 0 0 0,-1 0 0 0 0,1 0 1 0 0,2 0-1 0 0,5 0 10 0 0,1-1-1 0 0,-1 0 1 0 0,19-4 0 0 0,-17 2 7 0 0,37-8-32 0 0,-41 9-20 0 0,-1 1 0 0 0,0 0-1 0 0,1 0 1 0 0,-1 1 0 0 0,1 0 0 0 0,9 1-1 0 0,-14-1 14 0 0,-1 0-1 0 0,0 0 0 0 0,1 0 1 0 0,-1 1-1 0 0,1-1 1 0 0,-1 1-1 0 0,0-1 0 0 0,0 1 1 0 0,1-1-1 0 0,-1 1 0 0 0,0 0 1 0 0,0-1-1 0 0,0 1 1 0 0,0 0-1 0 0,0 0 0 0 0,0 0 1 0 0,0 0-1 0 0,0 0 1 0 0,0 0-1 0 0,0 0 0 0 0,0 0 1 0 0,0 1-1 0 0,-1-1 0 0 0,1 0 1 0 0,-1 0-1 0 0,1 1 1 0 0,-1-1-1 0 0,1 0 0 0 0,-1 1 1 0 0,0-1-1 0 0,0 0 0 0 0,1 1 1 0 0,-1-1-1 0 0,0 2 1 0 0,-1 3 11 0 0,0-1 1 0 0,0 1 0 0 0,0-1 0 0 0,0 0 0 0 0,-1 1 0 0 0,0-1 0 0 0,0 0 0 0 0,0 0 0 0 0,-1 0 0 0 0,0-1-1 0 0,0 1 1 0 0,0 0 0 0 0,0-1 0 0 0,-7 6 0 0 0,-3 4 34 0 0,-2-1 1 0 0,-25 20-1 0 0,11-13-27 0 0,-44 25 0 0 0,60-38-329 0 0,0-1 1 0 0,-1 0-1 0 0,0-1 1 0 0,0 0-1 0 0,0-2 0 0 0,-15 3 1 0 0,5-5-1304 0 0,23-1 1519 0 0,-1 0 0 0 0,1 0 1 0 0,0 0-1 0 0,0-1 1 0 0,0 1-1 0 0,0 0 1 0 0,0-1-1 0 0,-1 1 0 0 0,1 0 1 0 0,0-1-1 0 0,0 1 1 0 0,0-1-1 0 0,0 0 0 0 0,0 1 1 0 0,0-1-1 0 0,1 0 1 0 0,-1 1-1 0 0,0-1 0 0 0,0 0 1 0 0,0 0-1 0 0,1 0 1 0 0,-1 0-1 0 0,0 0 1 0 0,1 0-1 0 0,-1 0 0 0 0,1 0 1 0 0,-1 0-1 0 0,1 0 1 0 0,-1 0-1 0 0,1 0 0 0 0,0 0 1 0 0,-1-2-1 0 0,1-1-185 0 0,-1 0 0 0 0,1 0 0 0 0,0 0 0 0 0,0 0 0 0 0,1 0 0 0 0,-1 0 0 0 0,2-5 0 0 0,4-11-183 0 0,0 0-1 0 0,2 1 1 0 0,13-26 0 0 0,-6 17 1269 0 0,29-37-1 0 0,-44 64-762 0 0,0 1-1 0 0,0-1 0 0 0,0 1 0 0 0,0 0 0 0 0,1-1 0 0 0,-1 1 0 0 0,0-1 0 0 0,0 1 0 0 0,0 0 0 0 0,1-1 0 0 0,-1 1 0 0 0,0 0 0 0 0,1-1 1 0 0,-1 1-1 0 0,0 0 0 0 0,1 0 0 0 0,-1-1 0 0 0,0 1 0 0 0,1 0 0 0 0,-1 0 0 0 0,0-1 0 0 0,1 1 0 0 0,-1 0 0 0 0,1 0 0 0 0,-1 0 0 0 0,0 0 0 0 0,1 0 1 0 0,-1 0-1 0 0,1 0 0 0 0,-1 0 0 0 0,1 0 0 0 0,-1 0 0 0 0,0 0 0 0 0,1 0 0 0 0,-1 0 0 0 0,1 0 0 0 0,-1 0 0 0 0,1 0 0 0 0,-1 0 0 0 0,0 0 1 0 0,1 1-1 0 0,-1-1 0 0 0,1 0 0 0 0,-1 0 0 0 0,1 1 0 0 0,-1 0 63 0 0,1 0-1 0 0,-1 0 1 0 0,1 0 0 0 0,-1 0-1 0 0,1 0 1 0 0,-1 0 0 0 0,0 0-1 0 0,1 0 1 0 0,-1 0 0 0 0,0 0-1 0 0,0 0 1 0 0,0 0 0 0 0,0 3-1 0 0,-6 35 753 0 0,-1 1 0 0 0,-2-1 0 0 0,-23 60-1 0 0,13-43-1783 0 0,5-13-3453 0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8.3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67 684 0 0,'10'-30'2957'0'0,"-9"26"-2471"0"0,0 0-1 0 0,0 0 1 0 0,1 0-1 0 0,-1 0 0 0 0,1 1 1 0 0,0-1-1 0 0,4-5 594 0 0,-1 11-182 0 0,-5-2-873 0 0,0 0-1 0 0,0 0 1 0 0,1 0 0 0 0,-1 0-1 0 0,0 0 1 0 0,0 0-1 0 0,1 0 1 0 0,-1 0 0 0 0,0 0-1 0 0,0 1 1 0 0,1-1 0 0 0,-1 0-1 0 0,0 0 1 0 0,0 0-1 0 0,1 0 1 0 0,-1 0 0 0 0,0 1-1 0 0,0-1 1 0 0,0 0-1 0 0,1 0 1 0 0,-1 0 0 0 0,0 1-1 0 0,0-1 1 0 0,0 0-1 0 0,0 0 1 0 0,1 0 0 0 0,-1 1-1 0 0,0-1 1 0 0,0 0 0 0 0,0 0-1 0 0,0 1 1 0 0,0-1-1 0 0,0 0 1 0 0,0 1 0 0 0,7 26 1120 0 0,-1 0-1 0 0,-2 1 1 0 0,2 51 0 0 0,-4-13 3057 0 0,-1-95-4161 0 0,0 22-67 0 0,1 0-1 0 0,1 1 1 0 0,-1-1 0 0 0,1 0 0 0 0,0 1 0 0 0,1-1 0 0 0,0 1 0 0 0,0 0 0 0 0,0 0 0 0 0,0 1-1 0 0,1-1 1 0 0,0 1 0 0 0,0 0 0 0 0,12-9 0 0 0,-9 9-1 0 0,0 0 0 0 0,0 0 0 0 0,0 0 0 0 0,1 1 0 0 0,0 0 0 0 0,0 1 0 0 0,0 0 0 0 0,0 0 1 0 0,1 1-1 0 0,10-1 0 0 0,-14 3 18 0 0,-1 0 0 0 0,1 0 0 0 0,0 1 0 0 0,-1 0 1 0 0,1 0-1 0 0,0 0 0 0 0,-1 1 0 0 0,0 0 1 0 0,1 0-1 0 0,-1 0 0 0 0,0 0 0 0 0,0 1 0 0 0,0 0 1 0 0,0 0-1 0 0,-1 1 0 0 0,7 4 0 0 0,-1 2 8 0 0,0 0 0 0 0,0 0-1 0 0,-1 1 1 0 0,15 23 0 0 0,-16-22 306 0 0,-3-3 480 0 0,-7-14-582 0 0,1 2-188 0 0,1 1 0 0 0,-1-1-1 0 0,1 0 1 0 0,0 1 0 0 0,0-1-1 0 0,-1 1 1 0 0,2-1 0 0 0,-1 1-1 0 0,0-1 1 0 0,0 1 0 0 0,1-1-1 0 0,0 1 1 0 0,-1-1 0 0 0,1 1-1 0 0,2-5 1 0 0,0 0-8 0 0,1 0-1 0 0,-1 0 1 0 0,9-11-1 0 0,-3 7-26 0 0,1 0 0 0 0,0 0 1 0 0,0 1-1 0 0,16-13 0 0 0,-20 19 2 0 0,0 0 1 0 0,1 0-1 0 0,-1 0 0 0 0,1 1 1 0 0,0 0-1 0 0,0 0 0 0 0,0 1 1 0 0,0-1-1 0 0,0 2 0 0 0,8-2 1 0 0,-8 2 23 0 0,0 1 1 0 0,-1 0-1 0 0,1 1 1 0 0,-1 0-1 0 0,1 0 1 0 0,-1 0-1 0 0,1 0 1 0 0,-1 1-1 0 0,0 0 0 0 0,0 1 1 0 0,0-1-1 0 0,0 1 1 0 0,0 1-1 0 0,0-1 1 0 0,-1 1-1 0 0,1 0 1 0 0,-1 0-1 0 0,0 0 1 0 0,-1 1-1 0 0,1-1 1 0 0,-1 1-1 0 0,6 8 1 0 0,-1 0-283 0 0,-1 0 1 0 0,0 1 0 0 0,0 0-1 0 0,-2 0 1 0 0,0 0 0 0 0,0 1-1 0 0,-2 0 1 0 0,4 18 0 0 0,-6-24-659 0 0,0 0 1 0 0,0 0-1 0 0,1 0 0 0 0,0 0 1 0 0,1 0-1 0 0,5 9 0 0 0,-9-17 707 0 0,0 0 0 0 0,1 0 0 0 0,-1-1-1 0 0,1 1 1 0 0,0 0 0 0 0,-1-1 0 0 0,1 1-1 0 0,-1 0 1 0 0,1-1 0 0 0,0 1 0 0 0,0-1-1 0 0,-1 1 1 0 0,1-1 0 0 0,0 1 0 0 0,0-1 0 0 0,0 0-1 0 0,0 1 1 0 0,-1-1 0 0 0,1 0 0 0 0,0 1-1 0 0,1-1 1 0 0,13 1-2431 0 0</inkml:trace>
</inkml:ink>
</file>

<file path=ppt/ink/ink3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42.5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66 448 0 0,'153'-99'6943'0'0,"-19"13"-4455"0"0,-107 67-1913 0 0,0-2-1 0 0,39-41 0 0 0,-60 56-478 0 0,-1 0 1 0 0,1-1 0 0 0,-2 0-1 0 0,1 0 1 0 0,-1 0 0 0 0,0-1-1 0 0,3-8 1 0 0,-6 15-87 0 0,0-1 1 0 0,-1 1 0 0 0,1 0-1 0 0,-1-1 1 0 0,0 1 0 0 0,1-1-1 0 0,-1 0 1 0 0,0 1 0 0 0,0-1-1 0 0,0 1 1 0 0,0-1 0 0 0,0 1-1 0 0,0-1 1 0 0,0 1-1 0 0,0-1 1 0 0,-1 1 0 0 0,1-1-1 0 0,-1 1 1 0 0,1-1 0 0 0,-1 1-1 0 0,0-1 1 0 0,1 1 0 0 0,-1 0-1 0 0,0-1 1 0 0,0 1 0 0 0,0 0-1 0 0,0 0 1 0 0,0-1-1 0 0,0 1 1 0 0,0 0 0 0 0,0 0-1 0 0,-1 0 1 0 0,1 0 0 0 0,0 1-1 0 0,-1-1 1 0 0,1 0 0 0 0,0 1-1 0 0,-1-1 1 0 0,1 0 0 0 0,-1 1-1 0 0,1 0 1 0 0,-3-1 0 0 0,2 1-3 0 0,0-1 1 0 0,1 1 0 0 0,-1 0 0 0 0,0 0 0 0 0,0 0-1 0 0,0 0 1 0 0,0 0 0 0 0,0 0 0 0 0,0 1 0 0 0,0-1 0 0 0,0 1-1 0 0,0-1 1 0 0,-3 2 0 0 0,-2 1 34 0 0,-5 1 80 0 0,-1 0 1 0 0,1 1 0 0 0,1 0 0 0 0,-1 1-1 0 0,1 1 1 0 0,0 0 0 0 0,0 0 0 0 0,-13 13-1 0 0,11-9 45 0 0,1 0-1 0 0,1 2 0 0 0,0 0 1 0 0,0 0-1 0 0,-16 27 0 0 0,23-32-49 0 0,0-1-1 0 0,0 1 1 0 0,1 0 0 0 0,0 1-1 0 0,1-1 1 0 0,0 0-1 0 0,0 1 1 0 0,0-1 0 0 0,1 1-1 0 0,1 0 1 0 0,-1-1 0 0 0,2 16-1 0 0,0-19-53 0 0,0 0 0 0 0,0-1-1 0 0,1 1 1 0 0,0-1 0 0 0,-1 1-1 0 0,1-1 1 0 0,1 0 0 0 0,-1 0-1 0 0,0 0 1 0 0,1 0 0 0 0,0 0 0 0 0,0 0-1 0 0,0-1 1 0 0,1 1 0 0 0,-1-1-1 0 0,1 0 1 0 0,0 0 0 0 0,0 0-1 0 0,0-1 1 0 0,0 1 0 0 0,0-1 0 0 0,0 0-1 0 0,1 0 1 0 0,7 2 0 0 0,-1-1-7 0 0,-1 0 1 0 0,1 0 0 0 0,0-1-1 0 0,0-1 1 0 0,0 0-1 0 0,0-1 1 0 0,0 0 0 0 0,0 0-1 0 0,1-1 1 0 0,-1 0 0 0 0,-1-1-1 0 0,1-1 1 0 0,0 0-1 0 0,13-5 1 0 0,-12 3-102 0 0,-1-1-1 0 0,0 0 1 0 0,-1 0 0 0 0,1-1 0 0 0,-1-1-1 0 0,-1 0 1 0 0,1 0 0 0 0,-1-1 0 0 0,-1 0-1 0 0,0 0 1 0 0,0-1 0 0 0,9-16-1 0 0,-2-1-29 0 0,-2 0-1 0 0,-2-1 1 0 0,0-1-1 0 0,13-59 0 0 0,-7 24 860 0 0,-2 3 7 0 0,-14 59-215 0 0,-2 6-377 0 0,-5 22-48 0 0,1 1 1 0 0,1-1-1 0 0,2 1 1 0 0,0 0-1 0 0,4 36 1 0 0,22 139-1506 0 0,-12-104-3070 0 0,-9-35-2061 0 0</inkml:trace>
</inkml:ink>
</file>

<file path=ppt/ink/ink3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42.9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36 184 0 0,'5'-18'1826'0'0,"2"0"0"0"0,0 0 1 0 0,16-26-1 0 0,-10 22-1040 0 0,1 0 0 0 0,1 1 0 0 0,1 1 0 0 0,25-24 0 0 0,-27 30-694 0 0,2 1 0 0 0,0 0-1 0 0,0 1 1 0 0,1 0 0 0 0,23-10 0 0 0,-32 18-393 0 0,1 0 0 0 0,0 1 0 0 0,0 0 0 0 0,0 0 0 0 0,18-2 0 0 0,-22 5-205 0 0,0-1 0 0 0,1 1 0 0 0,-1 1 0 0 0,1-1 0 0 0,-1 1 0 0 0,1 0 0 0 0,-1 0 0 0 0,0 0 0 0 0,1 1 0 0 0,9 4 0 0 0,-5 1-1688 0 0</inkml:trace>
</inkml:ink>
</file>

<file path=ppt/ink/ink3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47:43.5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 117 1824 0 0,'0'150'8436'0'0,"7"-81"-6547"0"0,-1 3 175 0 0,-6-25 2927 0 0,-15-57-4478 0 0,12 6-488 0 0,0-1-1 0 0,-1 0 1 0 0,2-1 0 0 0,-1 1-1 0 0,1-1 1 0 0,-1 1 0 0 0,1-1-1 0 0,1 0 1 0 0,-1 1 0 0 0,1-1-1 0 0,0 0 1 0 0,0-8 0 0 0,0 4-31 0 0,-2-14-47 0 0,0 0-1 0 0,2 0 1 0 0,1 0 0 0 0,1-1 0 0 0,1 1-1 0 0,1 0 1 0 0,1 0 0 0 0,1 1 0 0 0,1-1 0 0 0,1 1-1 0 0,12-26 1 0 0,-18 46 39 0 0,1 0 0 0 0,0 0-1 0 0,0 0 1 0 0,0 0 0 0 0,0 0 0 0 0,1 0 0 0 0,-1 0-1 0 0,1 1 1 0 0,0-1 0 0 0,0 1 0 0 0,0 0 0 0 0,0 0-1 0 0,0 0 1 0 0,0 0 0 0 0,4-1 0 0 0,-6 3 7 0 0,1-1 1 0 0,-1 1-1 0 0,1 0 1 0 0,0 0-1 0 0,-1-1 1 0 0,1 1-1 0 0,-1 0 1 0 0,1 1-1 0 0,0-1 1 0 0,-1 0-1 0 0,1 0 1 0 0,-1 1-1 0 0,1-1 1 0 0,-1 1-1 0 0,1-1 1 0 0,-1 1-1 0 0,1 0 1 0 0,-1 0-1 0 0,0-1 1 0 0,1 1-1 0 0,-1 0 1 0 0,0 0-1 0 0,1 0 1 0 0,-1 0-1 0 0,0 1 1 0 0,0-1-1 0 0,0 0 1 0 0,0 0-1 0 0,0 1 1 0 0,-1-1-1 0 0,1 1 1 0 0,0-1-1 0 0,0 1 1 0 0,-1-1-1 0 0,1 4 1 0 0,3 3-356 0 0,-1 1 0 0 0,-1 0-1 0 0,0 0 1 0 0,0 0 0 0 0,-1 1 0 0 0,0-1 0 0 0,0 0 0 0 0,-1 0 0 0 0,-2 18 0 0 0,0-13-1078 0 0,-1 0 0 0 0,0 0-1 0 0,-1 0 1 0 0,0 0 0 0 0,-11 21 0 0 0,3-13-2826 0 0</inkml:trace>
</inkml:ink>
</file>

<file path=ppt/ink/ink3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8:58.3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6 115 104 0 0,'-9'-5'4879'0'0,"-18"-24"5818"0"0,29 30-10446 0 0,2 1-128 0 0,0 0 0 0 0,0 1 0 0 0,0 0 0 0 0,0 0 0 0 0,-1 0 0 0 0,1 1 0 0 0,-1-1 0 0 0,0 1 0 0 0,4 5 0 0 0,24 42 595 0 0,-22-35-568 0 0,107 222 1366 0 0,-106-217-1281 0 0,-2-4 1954 0 0,-8-29-228 0 0,-2-11-1989 0 0,3 0 72 0 0,0 0 0 0 0,2 0 0 0 0,0 0 0 0 0,12-39 0 0 0,-10 48-76 0 0,0 0 0 0 0,0 0 1 0 0,1 0-1 0 0,1 1 0 0 0,1 0 0 0 0,0 1 1 0 0,0-1-1 0 0,15-15 0 0 0,-20 26 20 0 0,-1-1-1 0 0,0 1 1 0 0,1 0-1 0 0,-1 0 0 0 0,1 0 1 0 0,0 0-1 0 0,0 0 1 0 0,-1 1-1 0 0,1-1 1 0 0,0 1-1 0 0,1 0 1 0 0,-1 0-1 0 0,0 0 0 0 0,0 0 1 0 0,0 1-1 0 0,7-1 1 0 0,-6 1 8 0 0,0 0 0 0 0,1 1 0 0 0,-1 0 0 0 0,1 0 0 0 0,-1 0 0 0 0,0 0 0 0 0,0 1 1 0 0,0 0-1 0 0,1 0 0 0 0,-2 0 0 0 0,5 2 0 0 0,8 8 10 0 0,-2 0 0 0 0,1 0-1 0 0,-2 2 1 0 0,20 23 0 0 0,-27-30-16 0 0,24 30 22 0 0,-19-21-414 0 0,25 25 0 0 0,-32-38 279 0 0,0 1 0 0 0,1 0 0 0 0,-1-1 0 0 0,1 0 0 0 0,0 0 0 0 0,0 0 0 0 0,0-1 0 0 0,0 1 0 0 0,0-1 1 0 0,9 2-1 0 0,-13-4 79 0 0,1 1 0 0 0,0-1 0 0 0,-1 0 1 0 0,1 0-1 0 0,0 0 0 0 0,-1 0 1 0 0,1 0-1 0 0,0 0 0 0 0,-1-1 0 0 0,1 1 1 0 0,0 0-1 0 0,-1-1 0 0 0,4-1 0 0 0,1 0-81 0 0,3 0-35 0 0,0-1 0 0 0,0-1 0 0 0,-1 1 0 0 0,1-2 0 0 0,-1 1 0 0 0,0-1 0 0 0,0 0 0 0 0,0-1 0 0 0,12-11 0 0 0,-2-1-85 0 0,0-1 1 0 0,18-24-1 0 0,-36 42 239 0 0,22-26 149 0 0,-2-1 0 0 0,34-61 0 0 0,-54 87 100 0 0,-1 4-231 0 0,-1-1 1 0 0,1 0-1 0 0,0 1 1 0 0,-1-1-1 0 0,1 1 0 0 0,0 0 1 0 0,0-1-1 0 0,0 1 0 0 0,0 0 1 0 0,1-1-1 0 0,-1 1 1 0 0,0 0-1 0 0,1 0 0 0 0,-1 0 1 0 0,0 3-1 0 0,1 1 42 0 0,-1 0 0 0 0,1 1 0 0 0,0-1 0 0 0,0 1 0 0 0,1-1 0 0 0,0 1 0 0 0,0-1 0 0 0,1 1 0 0 0,-1-1 0 0 0,1 0 1 0 0,1 0-1 0 0,-1 0 0 0 0,1 0 0 0 0,0 0 0 0 0,0-1 0 0 0,8 10 0 0 0,-8-11-11 0 0,1 1 1 0 0,0-1-1 0 0,0 0 0 0 0,1 0 1 0 0,-1-1-1 0 0,1 1 1 0 0,-1-1-1 0 0,1 0 0 0 0,0 0 1 0 0,1 0-1 0 0,-1-1 1 0 0,0 0-1 0 0,1 0 0 0 0,-1 0 1 0 0,1-1-1 0 0,-1 0 1 0 0,1 0-1 0 0,0 0 0 0 0,0-1 1 0 0,7 0-1 0 0,-8 0-20 0 0,0 0 0 0 0,0 0-1 0 0,0-1 1 0 0,-1 0 0 0 0,1 0 0 0 0,0 0-1 0 0,0-1 1 0 0,-1 1 0 0 0,1-1 0 0 0,-1 0-1 0 0,1-1 1 0 0,-1 1 0 0 0,0-1 0 0 0,0 0-1 0 0,0 0 1 0 0,0 0 0 0 0,-1 0-1 0 0,1-1 1 0 0,-1 1 0 0 0,4-6 0 0 0,-5 5-4 0 0,1 0 0 0 0,-1 0 1 0 0,0-1-1 0 0,0 1 0 0 0,0-1 1 0 0,-1 1-1 0 0,0-1 1 0 0,0 0-1 0 0,0 1 0 0 0,0-1 1 0 0,-1 0-1 0 0,1 0 0 0 0,-1 1 1 0 0,-1-1-1 0 0,1 0 1 0 0,-1 0-1 0 0,1 0 0 0 0,-1 1 1 0 0,-1-1-1 0 0,1 0 0 0 0,-1 1 1 0 0,1-1-1 0 0,-1 1 0 0 0,-1 0 1 0 0,1 0-1 0 0,-1-1 1 0 0,-5-6-1 0 0,2 4-76 0 0,-1 0 0 0 0,0 1 0 0 0,0 0 0 0 0,0 0 0 0 0,0 0 0 0 0,-1 1 0 0 0,0 1 1 0 0,0-1-1 0 0,-1 1 0 0 0,1 0 0 0 0,-1 1 0 0 0,0 0 0 0 0,-15-3 0 0 0,10 3-1269 0 0,1 2-1 0 0,-1-1 1 0 0,0 2-1 0 0,0 0 1 0 0,0 0 0 0 0,-24 5-1 0 0</inkml:trace>
</inkml:ink>
</file>

<file path=ppt/ink/ink3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8:58.7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6 200 0 0,'12'-12'1893'0'0,"7"-7"3137"0"0,39-33-1 0 0,-57 52-4914 0 0,0-1-1 0 0,0 1 0 0 0,0-1 0 0 0,0 1 0 0 0,0 0 0 0 0,0 0 0 0 0,0-1 0 0 0,0 1 0 0 0,0 0 0 0 0,0 0 0 0 0,0 0 1 0 0,0 0-1 0 0,0 0 0 0 0,0 1 0 0 0,0-1 0 0 0,0 0 0 0 0,1 0 0 0 0,-1 1 0 0 0,0-1 0 0 0,0 1 0 0 0,0-1 0 0 0,-1 1 1 0 0,1-1-1 0 0,0 1 0 0 0,0-1 0 0 0,0 1 0 0 0,0 0 0 0 0,0 0 0 0 0,-1-1 0 0 0,2 2 0 0 0,20 26 1831 0 0,-8 1-894 0 0,0 1-1 0 0,-2 0 0 0 0,13 55 0 0 0,-2-9-450 0 0,-14-49-490 0 0,1 5-27 0 0,2-1 0 0 0,22 46 1 0 0,-30-70-440 0 0,0 1 1 0 0,1-1-1 0 0,0-1 0 0 0,0 1 1 0 0,0-1-1 0 0,1 1 1 0 0,-1-1-1 0 0,2-1 1 0 0,-1 1-1 0 0,1-1 0 0 0,-1 0 1 0 0,1-1-1 0 0,1 0 1 0 0,-1 0-1 0 0,12 4 1 0 0,-15-7-336 0 0,1 0 0 0 0,-1 0 0 0 0,1-1 1 0 0,-1 1-1 0 0,1-1 0 0 0,0 0 0 0 0,-1-1 1 0 0,1 1-1 0 0,-1-1 0 0 0,1 0 1 0 0,4-1-1 0 0,11-3-5722 0 0</inkml:trace>
</inkml:ink>
</file>

<file path=ppt/ink/ink3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8:59.0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3 95 1444 0 0,'-61'-5'5729'0'0,"-46"-2"4580"0"0,93 4-8826 0 0,14 3-1453 0 0,0 0 0 0 0,0-1 0 0 0,0 1 1 0 0,0 0-1 0 0,0 0 0 0 0,0 0 0 0 0,0 0 0 0 0,0-1 0 0 0,0 1 1 0 0,0 0-1 0 0,0 0 0 0 0,0 0 0 0 0,0-1 0 0 0,0 1 0 0 0,0 0 0 0 0,0 0 1 0 0,0 0-1 0 0,0 0 0 0 0,0-1 0 0 0,0 1 0 0 0,0 0 0 0 0,0 0 0 0 0,0 0 1 0 0,0 0-1 0 0,0-1 0 0 0,1 1 0 0 0,-1 0 0 0 0,0 0 0 0 0,0 0 1 0 0,0 0-1 0 0,0 0 0 0 0,0-1 0 0 0,1 1 0 0 0,-1 0 0 0 0,0 0 0 0 0,0 0 1 0 0,21-11 540 0 0,142-25-255 0 0,-99 23-2809 0 0,-2-1-3766 0 0</inkml:trace>
</inkml:ink>
</file>

<file path=ppt/ink/ink3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8:59.4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 226 1672 0 0,'1'2'2961'0'0,"1"9"-1877"0"0,0 1 1 0 0,-1 0-1 0 0,0 0 0 0 0,-1 0 0 0 0,-2 15 0 0 0,1 6 130 0 0,13 273 3393 0 0,58 163-3745 0 0,-117-635-3306 0 0,22 69 2229 0 0,-14-106 1 0 0,31 139 315 0 0,3 0 0 0 0,6-114 0 0 0,17 27 256 0 0,-14 133-329 0 0,0 0-1 0 0,2 1 0 0 0,0-1 1 0 0,0 1-1 0 0,2 0 1 0 0,12-20-1 0 0,-17 33-27 0 0,0-1-1 0 0,0 1 0 0 0,0 0 1 0 0,1 0-1 0 0,0 0 1 0 0,0 0-1 0 0,0 1 0 0 0,0-1 1 0 0,0 1-1 0 0,1 0 1 0 0,0 1-1 0 0,-1-1 0 0 0,1 1 1 0 0,9-3-1 0 0,-11 4 0 0 0,0 0 1 0 0,0 1-1 0 0,0 0 0 0 0,0-1 0 0 0,0 1 0 0 0,1 1 1 0 0,-1-1-1 0 0,0 0 0 0 0,0 1 0 0 0,0-1 0 0 0,0 1 1 0 0,0 0-1 0 0,0 0 0 0 0,0 0 0 0 0,0 1 0 0 0,-1-1 1 0 0,1 0-1 0 0,0 1 0 0 0,-1 0 0 0 0,1 0 0 0 0,-1 0 1 0 0,0 0-1 0 0,1 0 0 0 0,-1 0 0 0 0,0 1 0 0 0,0-1 1 0 0,1 3-1 0 0,2 2-5 0 0,0 0-1 0 0,-1 1 1 0 0,0-1 0 0 0,0 1-1 0 0,-1 0 1 0 0,1 0 0 0 0,-2 0 0 0 0,1 0-1 0 0,-2 0 1 0 0,1 1 0 0 0,-1-1 0 0 0,0 1-1 0 0,0 9 1 0 0,-2-6 67 0 0,0 1 0 0 0,-1-1 0 0 0,0 0-1 0 0,-1 0 1 0 0,0 0 0 0 0,-1 0 0 0 0,0 0 0 0 0,-9 14 0 0 0,2-6-345 0 0,-1 0 0 0 0,0-1 0 0 0,-2 0 0 0 0,0-1 0 0 0,-2-1 0 0 0,0-1 1 0 0,0 0-1 0 0,-1-1 0 0 0,-27 18 0 0 0,36-29-1023 0 0,1 0 0 0 0,-1-1 0 0 0,1 0 0 0 0,-1-1 0 0 0,-10 2 1 0 0</inkml:trace>
</inkml:ink>
</file>

<file path=ppt/ink/ink3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9:00.8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43 272 0 0,'16'-3'655'0'0,"-1"0"0"0"0,1 2 1 0 0,-1 0-1 0 0,1 1 0 0 0,-1 0 0 0 0,1 1 0 0 0,0 1 0 0 0,-1 0 1 0 0,0 1-1 0 0,1 1 0 0 0,21 8 0 0 0,-25-7-392 0 0,0 0-1 0 0,0 0 1 0 0,-1 1-1 0 0,0 1 1 0 0,0 0-1 0 0,0 1 1 0 0,-1-1-1 0 0,0 2 1 0 0,-1 0-1 0 0,0 0 1 0 0,0 0-1 0 0,-1 1 1 0 0,0 1-1 0 0,8 13 1 0 0,-13-18-161 0 0,0 1 0 0 0,-1-1 1 0 0,0 1-1 0 0,0 0 0 0 0,0-1 1 0 0,-1 1-1 0 0,0 0 0 0 0,0 0 1 0 0,0 0-1 0 0,-1 0 0 0 0,0 0 1 0 0,-1 0-1 0 0,0 0 0 0 0,0 0 1 0 0,0-1-1 0 0,-1 1 0 0 0,0 0 1 0 0,-4 9-1 0 0,2-7-36 0 0,0 0 0 0 0,-1 0 0 0 0,0-1 0 0 0,-1 1 0 0 0,0-2 0 0 0,0 1 0 0 0,-1 0 0 0 0,1-1 0 0 0,-2-1 1 0 0,1 1-1 0 0,-1-1 0 0 0,-11 7 0 0 0,18-12-61 0 0,0 0 1 0 0,0-1 0 0 0,0 1-1 0 0,0 0 1 0 0,0-1-1 0 0,0 1 1 0 0,-1-1 0 0 0,1 1-1 0 0,0-1 1 0 0,0 1-1 0 0,-1-1 1 0 0,1 0 0 0 0,0 0-1 0 0,-1 0 1 0 0,1 1-1 0 0,0-1 1 0 0,0-1 0 0 0,-1 1-1 0 0,1 0 1 0 0,0 0-1 0 0,-1 0 1 0 0,1-1 0 0 0,0 1-1 0 0,0 0 1 0 0,-1-1-1 0 0,1 0 1 0 0,0 1 0 0 0,0-1-1 0 0,0 1 1 0 0,0-1 0 0 0,-2-1-1 0 0,2 1-5 0 0,1 0 0 0 0,-1-1 0 0 0,0 1 1 0 0,1 0-1 0 0,-1 0 0 0 0,1-1 0 0 0,-1 1 0 0 0,1 0 0 0 0,0 0 0 0 0,-1-1 0 0 0,1 1 0 0 0,0 0 0 0 0,0-1 0 0 0,0 1 1 0 0,0 0-1 0 0,0-1 0 0 0,0 1 0 0 0,0 0 0 0 0,1-1 0 0 0,-1 1 0 0 0,0 0 0 0 0,1-1 0 0 0,-1 1 0 0 0,1 0 1 0 0,0 0-1 0 0,0-2 0 0 0,9-11-11 0 0,-1 0 1 0 0,2 1-1 0 0,0 0 1 0 0,1 1-1 0 0,17-15 1 0 0,72-49-201 0 0,-57 45 141 0 0,-28 19 43 0 0,14-9 14 0 0,-2 0 0 0 0,0-2-1 0 0,-1-1 1 0 0,44-51 0 0 0,-56 43 43 0 0,-15 32-30 0 0,0-1 0 0 0,1 1 0 0 0,-1-1 0 0 0,0 1 0 0 0,0-1 0 0 0,1 1 0 0 0,-1-1 0 0 0,0 0 1 0 0,0 1-1 0 0,0-1 0 0 0,0 1 0 0 0,0-1 0 0 0,0 1 0 0 0,0-1 0 0 0,0 0 0 0 0,0 1 0 0 0,0-1 1 0 0,0 1-1 0 0,0-1 0 0 0,-1 1 0 0 0,1-1 0 0 0,0 1 0 0 0,0-1 0 0 0,0 1 0 0 0,-1-1 1 0 0,1 1-1 0 0,0-1 0 0 0,-1 1 0 0 0,1-1 0 0 0,0 1 0 0 0,-1-1 0 0 0,1 1 0 0 0,-1 0 0 0 0,1-1 1 0 0,-1 1-1 0 0,1 0 0 0 0,-1-1 0 0 0,1 1 0 0 0,-1 0 0 0 0,1-1 0 0 0,-1 1 0 0 0,1 0 0 0 0,-1 0 1 0 0,1 0-1 0 0,-1 0 0 0 0,1 0 0 0 0,-1 0 0 0 0,0-1 0 0 0,1 1 0 0 0,-1 0 0 0 0,1 1 1 0 0,-1-1-1 0 0,1 0 0 0 0,-1 0 0 0 0,0 0 0 0 0,1 0 0 0 0,-1 0 0 0 0,1 1 0 0 0,-1-1 0 0 0,1 0 1 0 0,-1 1-1 0 0,-6 1 35 0 0,0 0 1 0 0,1 1-1 0 0,-1 0 1 0 0,1 0 0 0 0,0 1-1 0 0,0-1 1 0 0,0 1-1 0 0,0 1 1 0 0,1-1 0 0 0,0 1-1 0 0,0 0 1 0 0,0 0 0 0 0,0 1-1 0 0,1-1 1 0 0,-7 12-1 0 0,8-12 40 0 0,0 0-1 0 0,1 0 1 0 0,0 0-1 0 0,0 0 1 0 0,0 1 0 0 0,0-1-1 0 0,1 1 1 0 0,0-1-1 0 0,0 1 1 0 0,0-1-1 0 0,1 1 1 0 0,-1 0-1 0 0,2 0 1 0 0,-1-1-1 0 0,1 1 1 0 0,-1 0-1 0 0,1-1 1 0 0,1 1-1 0 0,-1-1 1 0 0,5 9 0 0 0,-3-8 2 0 0,0 1 0 0 0,1-1 1 0 0,0 0-1 0 0,1 0 0 0 0,0 0 1 0 0,-1-1-1 0 0,2 0 0 0 0,-1 0 1 0 0,0 0-1 0 0,1 0 0 0 0,0-1 1 0 0,7 4-1 0 0,-3-3-6 0 0,-1 0 0 0 0,1-1 0 0 0,0-1-1 0 0,0 1 1 0 0,1-2 0 0 0,-1 1 0 0 0,20 1 0 0 0,-16-3-70 0 0,0-1 0 0 0,0 0 0 0 0,0-1 0 0 0,0 0 0 0 0,0-1 0 0 0,0-1 0 0 0,0 0 0 0 0,0-1 0 0 0,-1-1 0 0 0,0 0 0 0 0,0 0 0 0 0,22-14 0 0 0,-26 12-16 0 0,0 0-1 0 0,0-1 0 0 0,0 0 1 0 0,-1 0-1 0 0,0-1 1 0 0,-1 0-1 0 0,0 0 1 0 0,-1-1-1 0 0,1 0 1 0 0,-2 0-1 0 0,0-1 1 0 0,0 0-1 0 0,-1 0 1 0 0,0 0-1 0 0,-1 0 1 0 0,0 0-1 0 0,0-1 1 0 0,-2 1-1 0 0,1-1 1 0 0,-2 0-1 0 0,1 1 1 0 0,-1-1-1 0 0,-1 0 1 0 0,0 1-1 0 0,-1-1 1 0 0,0 1-1 0 0,-1-1 1 0 0,0 1-1 0 0,-1 0 1 0 0,-9-19-1 0 0,11 27 21 0 0,0 0-1 0 0,0-1 0 0 0,-1 1 0 0 0,1 0 1 0 0,-1 1-1 0 0,0-1 0 0 0,1 0 1 0 0,-6-2-1 0 0,7 4-4 0 0,0 0 0 0 0,0 0 0 0 0,0 0 0 0 0,-1 0 0 0 0,1 1 1 0 0,0-1-1 0 0,-1 1 0 0 0,1-1 0 0 0,0 1 0 0 0,-1-1 0 0 0,1 1 0 0 0,0 0 0 0 0,-1-1 1 0 0,1 1-1 0 0,-1 0 0 0 0,1 0 0 0 0,-1 0 0 0 0,1 0 0 0 0,0 0 0 0 0,-1 1 0 0 0,1-1 1 0 0,-3 1-1 0 0,4 1 2 0 0,-1-1 0 0 0,1 1 0 0 0,0 0 1 0 0,0-1-1 0 0,1 1 0 0 0,-1 0 0 0 0,0-1 0 0 0,0 1 1 0 0,1-1-1 0 0,-1 1 0 0 0,1-1 0 0 0,-1 1 1 0 0,1-1-1 0 0,1 3 0 0 0,13 21 38 0 0,1-1 0 0 0,30 36 1 0 0,-26-36-1 0 0,2 3 1 0 0,58 81 45 0 0,-72-95-58 0 0,0 0 0 0 0,-1 1 0 0 0,0 0 0 0 0,-1 0 0 0 0,-1 1-1 0 0,6 22 1 0 0,-10-34-11 0 0,-1-1-1 0 0,1 1 0 0 0,-1 0 0 0 0,0-1 0 0 0,0 1 1 0 0,0 0-1 0 0,0 0 0 0 0,0-1 0 0 0,-1 1 0 0 0,1 0 1 0 0,-1-1-1 0 0,0 1 0 0 0,1-1 0 0 0,-1 1 0 0 0,0 0 1 0 0,-1-1-1 0 0,1 0 0 0 0,0 1 0 0 0,-1-1 0 0 0,1 0 1 0 0,-1 0-1 0 0,-2 3 0 0 0,2-4 67 0 0,2-1-86 0 0,-1 0-1 0 0,1 0 1 0 0,-1 0-1 0 0,0-1 1 0 0,1 1-1 0 0,-1 0 0 0 0,1 0 1 0 0,-1-1-1 0 0,1 1 1 0 0,-1 0-1 0 0,1-1 0 0 0,0 1 1 0 0,-1 0-1 0 0,1-1 1 0 0,-1 1-1 0 0,1-1 1 0 0,0 1-1 0 0,-1 0 0 0 0,1-1 1 0 0,0 1-1 0 0,0-1 1 0 0,-1 1-1 0 0,1-1 1 0 0,0 0-1 0 0,0 1 0 0 0,0-1 1 0 0,-1 1-1 0 0,1-2 1 0 0,5-19-288 0 0,22-25-516 0 0,-21 38 606 0 0,26-41-587 0 0,7-8 328 0 0,-3-2 1 0 0,-3-1 0 0 0,32-76-1 0 0,-64 133 487 0 0,11-39 286 0 0,-11 40-299 0 0,-1 0 1 0 0,0 0 0 0 0,1 0 0 0 0,-1 1-1 0 0,0-1 1 0 0,0 0 0 0 0,0 0-1 0 0,0 0 1 0 0,0 1 0 0 0,-1-1-1 0 0,1 0 1 0 0,0 0 0 0 0,-1 0-1 0 0,0 1 1 0 0,1-1 0 0 0,-1 0-1 0 0,0 1 1 0 0,0-1 0 0 0,0 1-1 0 0,0-1 1 0 0,0 1 0 0 0,-1-2-1 0 0,1 2-8 0 0,-1 0 0 0 0,1 0 0 0 0,0 0 0 0 0,-1 0 0 0 0,1 1 0 0 0,-1-1 0 0 0,1 0-1 0 0,-1 1 1 0 0,1-1 0 0 0,-1 1 0 0 0,1 0 0 0 0,-1 0 0 0 0,0-1 0 0 0,1 1 0 0 0,-1 0 0 0 0,1 0-1 0 0,-1 0 1 0 0,0 1 0 0 0,1-1 0 0 0,-3 1 0 0 0,1 0 6 0 0,0 0-1 0 0,0 0 1 0 0,1 1 0 0 0,-1-1 0 0 0,0 1 0 0 0,0 0-1 0 0,1 0 1 0 0,0 0 0 0 0,-1 0 0 0 0,-1 3 0 0 0,-1-1 7 0 0,1 1 0 0 0,1 0 1 0 0,-1 0-1 0 0,1 0 1 0 0,0 1-1 0 0,0-1 1 0 0,0 1-1 0 0,1 0 1 0 0,0 0-1 0 0,0-1 1 0 0,-1 9-1 0 0,3-7-6 0 0,0 1-1 0 0,0-1 1 0 0,1 0 0 0 0,0 1 0 0 0,0-1-1 0 0,1 0 1 0 0,-1 0 0 0 0,2 1-1 0 0,-1-1 1 0 0,1-1 0 0 0,0 1-1 0 0,0 0 1 0 0,1-1 0 0 0,0 0-1 0 0,0 1 1 0 0,1-2 0 0 0,0 1-1 0 0,0 0 1 0 0,0-1 0 0 0,0 0-1 0 0,1 0 1 0 0,0-1 0 0 0,0 1-1 0 0,0-1 1 0 0,1-1 0 0 0,-1 1-1 0 0,9 2 1 0 0,-8-2-65 0 0,1-2 0 0 0,-1 1 0 0 0,1-1 0 0 0,-1 0 0 0 0,1-1 0 0 0,0 0-1 0 0,-1 0 1 0 0,1-1 0 0 0,0 0 0 0 0,0 0 0 0 0,12-2 0 0 0,-14 1-20 0 0,-1-1-1 0 0,1 1 1 0 0,0-1 0 0 0,-1-1-1 0 0,1 1 1 0 0,-1-1 0 0 0,0 0 0 0 0,1 0-1 0 0,-1 0 1 0 0,-1-1 0 0 0,1 1-1 0 0,-1-1 1 0 0,1-1 0 0 0,-1 1-1 0 0,0 0 1 0 0,4-7 0 0 0,-3 3 184 0 0,0-2 0 0 0,0 1 0 0 0,-1 0 1 0 0,0-1-1 0 0,-1 0 0 0 0,0 0 0 0 0,0 0 0 0 0,-1 0 1 0 0,0 0-1 0 0,-1 0 0 0 0,0-1 0 0 0,-1 1 1 0 0,0 0-1 0 0,-1-1 0 0 0,-1-10 0 0 0,2 20-102 0 0,-1 1-1 0 0,1-1 1 0 0,0 1-1 0 0,0 0 0 0 0,0-1 1 0 0,0 1-1 0 0,0-1 1 0 0,0 1-1 0 0,0-1 1 0 0,-1 1-1 0 0,1-1 1 0 0,0 1-1 0 0,0 0 1 0 0,-1-1-1 0 0,1 1 0 0 0,0 0 1 0 0,-1-1-1 0 0,1 1 1 0 0,0 0-1 0 0,-1-1 1 0 0,1 1-1 0 0,0 0 1 0 0,-1 0-1 0 0,1-1 0 0 0,-1 1 1 0 0,1 0-1 0 0,-1 0 1 0 0,1 0-1 0 0,0 0 1 0 0,-1-1-1 0 0,1 1 1 0 0,-1 0-1 0 0,1 0 1 0 0,-1 0-1 0 0,1 0 0 0 0,-1 0 1 0 0,1 0-1 0 0,-1 0 1 0 0,1 0-1 0 0,-1 0 1 0 0,1 1-1 0 0,0-1 1 0 0,-1 0-1 0 0,1 0 1 0 0,-1 0-1 0 0,1 0 0 0 0,-1 1 1 0 0,1-1-1 0 0,-1 0 1 0 0,-15 14 193 0 0,14-9-158 0 0,0-1 1 0 0,1 2 0 0 0,-1-1 0 0 0,1 0 0 0 0,0 0 0 0 0,1 0-1 0 0,-1 0 1 0 0,1 1 0 0 0,0-1 0 0 0,0 0 0 0 0,1 0-1 0 0,0 1 1 0 0,0-1 0 0 0,0 0 0 0 0,0 0 0 0 0,1 0 0 0 0,3 7-1 0 0,-3-5 11 0 0,1 0 0 0 0,1 0 0 0 0,-1 0-1 0 0,1-1 1 0 0,1 1 0 0 0,-1-1-1 0 0,1 0 1 0 0,0 0 0 0 0,0-1 0 0 0,1 1-1 0 0,7 5 1 0 0,-10-9-45 0 0,0-1 0 0 0,0 1 0 0 0,0 0 0 0 0,0-1 0 0 0,0 0 0 0 0,0 0 0 0 0,0 0 0 0 0,1 0 0 0 0,-1 0 0 0 0,0 0 1 0 0,1-1-1 0 0,-1 0 0 0 0,0 0 0 0 0,1 0 0 0 0,-1 0 0 0 0,7-1 0 0 0,-5-1-53 0 0,-1 1 0 0 0,1-1 1 0 0,-1 0-1 0 0,1 0 0 0 0,-1 0 0 0 0,0-1 1 0 0,0 1-1 0 0,0-1 0 0 0,0 0 1 0 0,5-6-1 0 0,1-3-96 0 0,0 1 0 0 0,-1-1 0 0 0,0-1 0 0 0,-1 0 0 0 0,-1 0 0 0 0,9-22 0 0 0,10-29-127 0 0,-26 63 238 0 0,9 21 27 0 0,-2-4 65 0 0,1-2-1 0 0,0 1 1 0 0,1-1-1 0 0,0 0 1 0 0,20 21 0 0 0,-25-32-17 0 0,17 6 59 0 0,-15-10-96 0 0,-3 0 4 0 0,-1 1-11 0 0,1-1 0 0 0,0 1 0 0 0,-1-1 0 0 0,1 0-1 0 0,-1 0 1 0 0,0 0 0 0 0,1 0 0 0 0,-1 0 0 0 0,0 0 0 0 0,0-1 0 0 0,1 1 0 0 0,-1-1 0 0 0,0 0-1 0 0,0 1 1 0 0,-1-1 0 0 0,3-3 0 0 0,0 0-54 0 0,0 1-1 0 0,0-1 1 0 0,-1 0-1 0 0,0 0 1 0 0,4-10-1 0 0,0-4-255 0 0,-2 0 1 0 0,0-1-1 0 0,-1 0 0 0 0,1-24 0 0 0,1-84-457 0 0,-5 88 748 0 0,0-6 239 0 0,1 9 640 0 0,-2 0 1 0 0,-5-50-1 0 0,5 87-826 0 0,0-1-1 0 0,0 1 1 0 0,0 0 0 0 0,0 0-1 0 0,0-1 1 0 0,0 1-1 0 0,0 0 1 0 0,0 0 0 0 0,0 0-1 0 0,0-1 1 0 0,0 1-1 0 0,0 0 1 0 0,0 0-1 0 0,0-1 1 0 0,0 1 0 0 0,0 0-1 0 0,0 0 1 0 0,0-1-1 0 0,0 1 1 0 0,-1 0-1 0 0,1 0 1 0 0,0 0 0 0 0,0-1-1 0 0,0 1 1 0 0,0 0-1 0 0,0 0 1 0 0,0 0 0 0 0,-1 0-1 0 0,1-1 1 0 0,0 1-1 0 0,0 0 1 0 0,0 0-1 0 0,-1 0 1 0 0,1 0 0 0 0,0 0-1 0 0,0 0 1 0 0,0-1-1 0 0,-1 1 1 0 0,1 0 0 0 0,0 0-1 0 0,0 0 1 0 0,-1 0-1 0 0,1 0 1 0 0,0 0-1 0 0,-7 11 686 0 0,-1 23 131 0 0,4 5-589 0 0,3 0 1 0 0,1 1-1 0 0,2-1 1 0 0,2 1-1 0 0,1-1 1 0 0,2-1-1 0 0,2 1 1 0 0,1-1-1 0 0,17 39 1 0 0,-6-32-2276 0 0,-19-41 1351 0 0,0-1 1 0 0,0 0 0 0 0,0 0 0 0 0,1 0 0 0 0,-1 0 0 0 0,1 0 0 0 0,0-1 0 0 0,0 1 0 0 0,0-1-1 0 0,4 3 1 0 0</inkml:trace>
</inkml:ink>
</file>

<file path=ppt/ink/ink3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9:01.18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 109 164 0 0,'-7'-3'768'0'0,"6"3"-269"0"0,-1-1-1 0 0,0 1 1 0 0,0-1 0 0 0,1 0 0 0 0,-1 0 0 0 0,0 0-1 0 0,1 0 1 0 0,-1 0 0 0 0,1 0 0 0 0,-1 0-1 0 0,1 0 1 0 0,0-1 0 0 0,-1 1 0 0 0,1 0-1 0 0,0-1 1 0 0,-1-1 0 0 0,2 2-410 0 0,0 1-1 0 0,0-1 1 0 0,0 0 0 0 0,0 1-1 0 0,1-1 1 0 0,-1 0 0 0 0,0 1-1 0 0,0-1 1 0 0,1 0 0 0 0,-1 1-1 0 0,0-1 1 0 0,1 0 0 0 0,-1 1-1 0 0,1-1 1 0 0,-1 1 0 0 0,1-1 0 0 0,-1 1-1 0 0,1-1 1 0 0,-1 1 0 0 0,1 0-1 0 0,-1-1 1 0 0,1 1 0 0 0,-1-1-1 0 0,1 1 1 0 0,1 0 0 0 0,14-9 694 0 0,11 0-64 0 0,0 1 1 0 0,32-4-1 0 0,-5 0-2500 0 0,3-4-5341 0 0,-41 10 3771 0 0</inkml:trace>
</inkml:ink>
</file>

<file path=ppt/ink/ink3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9:01.5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0 132 2300 0 0,'18'48'9228'0'0,"-2"-5"-6136"0"0,34 174 2888 0 0,-24-74-11735 0 0</inkml:trace>
  <inkml:trace contextRef="#ctx0" brushRef="#br0" timeOffset="1">76 171 600 0 0,'-8'-18'2180'0'0,"-2"4"-528"0"0,2 0-219 0 0,-2-1-177 0 0,4 3-244 0 0,-2-1-192 0 0,2 2-192 0 0,-2-1 284 0 0,0-5-736 0 0,4 8-476 0 0,4-7-1256 0 0,10 2-1997 0 0,0 8 697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8.7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8 216 268 0 0,'25'-19'3456'0'0,"-24"18"-3360"0"0,-1 1-1 0 0,1-1 1 0 0,0 1-1 0 0,0-1 1 0 0,-1 1 0 0 0,1 0-1 0 0,0-1 1 0 0,0 1 0 0 0,-1 0-1 0 0,1-1 1 0 0,0 1 0 0 0,0 0-1 0 0,0 0 1 0 0,0 0 0 0 0,-1 0-1 0 0,1 0 1 0 0,0 0-1 0 0,0 0 1 0 0,0 0 0 0 0,0 0-1 0 0,-1 0 1 0 0,1 1 0 0 0,0-1-1 0 0,0 0 1 0 0,0 0 0 0 0,-1 1-1 0 0,1-1 1 0 0,0 1 0 0 0,-1-1-1 0 0,1 0 1 0 0,0 1-1 0 0,0 0 1 0 0,-1-1 0 0 0,1 1-1 0 0,-1-1 1 0 0,1 2 0 0 0,4 6 271 0 0,-2 0 0 0 0,1 1 0 0 0,-1-1 0 0 0,-1 1 0 0 0,0 0 0 0 0,0 0 0 0 0,0 0 0 0 0,-1 0 0 0 0,-1 0 0 0 0,1 9 0 0 0,-1 15 220 0 0,-2-1-1 0 0,-1 1 0 0 0,-1-1 1 0 0,-2 1-1 0 0,-1-2 0 0 0,-1 1 0 0 0,-19 43 1 0 0,26-72-465 0 0,-1-1-1 0 0,0 1 1 0 0,0 0 0 0 0,0-1 0 0 0,0 0 0 0 0,0 0 0 0 0,0 1 0 0 0,-5 2-1 0 0,6-4-92 0 0,-1 0-1 0 0,1 0 0 0 0,0 0 0 0 0,-1 0 1 0 0,1-1-1 0 0,0 1 0 0 0,-1 0 0 0 0,1-1 1 0 0,-1 0-1 0 0,1 1 0 0 0,-1-1 0 0 0,1 0 1 0 0,-1 1-1 0 0,1-1 0 0 0,-1 0 0 0 0,0 0 0 0 0,1 0 1 0 0,-1-1-1 0 0,1 1 0 0 0,-1 0 0 0 0,1-1 1 0 0,-2 1-1 0 0,-1-3-42 0 0,-1 1 0 0 0,1 0 1 0 0,0-1-1 0 0,0 0 0 0 0,0 0 0 0 0,0 0 0 0 0,1 0 1 0 0,-1-1-1 0 0,1 1 0 0 0,0-1 0 0 0,0 0 0 0 0,0 0 1 0 0,1 0-1 0 0,-1 0 0 0 0,1-1 0 0 0,0 1 1 0 0,0-1-1 0 0,0 1 0 0 0,1-1 0 0 0,0 0 0 0 0,-1-5 1 0 0,-1-9-198 0 0,1 0 1 0 0,1-1-1 0 0,0 1 1 0 0,2-1 0 0 0,0 1-1 0 0,1-1 1 0 0,1 1-1 0 0,1 0 1 0 0,1 0 0 0 0,7-21-1 0 0,-3 16 54 0 0,1 0 1 0 0,1 0-1 0 0,2 1 0 0 0,0 1 1 0 0,1 0-1 0 0,1 0 0 0 0,19-20 0 0 0,-21 29 70 0 0,0 0-1 0 0,1 0 0 0 0,0 1 1 0 0,21-13-1 0 0,-25 20 51 0 0,0-1-1 0 0,0 1 1 0 0,0 1 0 0 0,0-1-1 0 0,1 2 1 0 0,0 0 0 0 0,-1 0 0 0 0,14-1-1 0 0,-16 4 4 0 0,14 5-10 0 0,-20-5 43 0 0,0 1 0 0 0,-1 0 0 0 0,1 0 0 0 0,0-1 0 0 0,0 2 0 0 0,-1-1 0 0 0,1 0 0 0 0,0 0 0 0 0,1 2 0 0 0,-2-2 5 0 0,-1 0 0 0 0,1 0 0 0 0,0-1 0 0 0,0 1 0 0 0,-1 0 0 0 0,1 0 1 0 0,-1 1-1 0 0,1-1 0 0 0,-1 0 0 0 0,1 0 0 0 0,-1 0 0 0 0,1 0 0 0 0,-1 0 1 0 0,0 0-1 0 0,0 1 0 0 0,0-1 0 0 0,0 0 0 0 0,0 0 0 0 0,0 0 0 0 0,0 1 0 0 0,0 0 1 0 0,-1 1 6 0 0,0 0 1 0 0,0-1 0 0 0,0 1 0 0 0,0-1 0 0 0,0 0 0 0 0,-1 1-1 0 0,1-1 1 0 0,-1 0 0 0 0,-2 3 0 0 0,-4 3 36 0 0,0 0 0 0 0,0-1-1 0 0,-17 11 1 0 0,-14 5-145 0 0,-1-1 0 0 0,-1-3 0 0 0,-50 17-1 0 0,67-26-281 0 0,-52 20-3798 0 0,70-29 1533 0 0,-12 3-766 0 0</inkml:trace>
</inkml:ink>
</file>

<file path=ppt/ink/ink3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9:01.8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72 0 0,'18'23'1705'0'0,"-2"1"0"0"0,0 1-1 0 0,-2 0 1 0 0,0 1 0 0 0,-2 0 0 0 0,-1 1-1 0 0,-1 0 1 0 0,11 49 0 0 0,-5-16 4696 0 0,1-76-5548 0 0,-9 3-810 0 0,0 0-1 0 0,2 0 0 0 0,-1 1 1 0 0,2 0-1 0 0,-1 1 0 0 0,2 0 1 0 0,-1 1-1 0 0,1 0 0 0 0,1 1 1 0 0,0 0-1 0 0,0 1 0 0 0,1 1 1 0 0,20-9-1 0 0,-29 14-72 0 0,0 1 0 0 0,0 1 0 0 0,-1-1 0 0 0,1 1 0 0 0,0 0 0 0 0,0 0 0 0 0,0 0 0 0 0,0 1 0 0 0,-1-1 0 0 0,1 1 0 0 0,0 1 0 0 0,-1-1 0 0 0,1 0 0 0 0,0 1 0 0 0,-1 0 0 0 0,0 0 0 0 0,6 4 0 0 0,-3-2-307 0 0,0 1 1 0 0,0 0-1 0 0,0 0 1 0 0,-1 1-1 0 0,0-1 0 0 0,0 1 1 0 0,0 1-1 0 0,6 10 0 0 0,9 24-2612 0 0,-12-19 29 0 0,3 0-4022 0 0</inkml:trace>
</inkml:ink>
</file>

<file path=ppt/ink/ink3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9:02.2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31 1368 0 0,'-4'-31'10361'0'0,"6"39"-8735"0"0,0 0-1126 0 0,20 56 1801 0 0,49 103 0 0 0,-26-66-2070 0 0,-24-55-971 0 0,16 43-2074 0 0,-32-76 73 0 0,-1 1 0 0 0,3 17 0 0 0</inkml:trace>
</inkml:ink>
</file>

<file path=ppt/ink/ink3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9:03.1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9 362 1952 0 0,'-2'-1'221'0'0,"-4"-1"681"0"0,1-1-1 0 0,-1 1 1 0 0,1-1-1 0 0,0 0 1 0 0,0 0-1 0 0,0-1 1 0 0,0 0-1 0 0,-8-8 1 0 0,13 12-829 0 0,-1-1 1 0 0,1 0-1 0 0,0 0 0 0 0,0 0 0 0 0,-1 0 1 0 0,1 0-1 0 0,0 0 0 0 0,0 0 1 0 0,0 0-1 0 0,0 0 0 0 0,0 0 0 0 0,0 1 1 0 0,1-1-1 0 0,-1 0 0 0 0,0 0 1 0 0,0 0-1 0 0,1 0 0 0 0,-1 0 0 0 0,0 0 1 0 0,1 0-1 0 0,-1 1 0 0 0,1-1 1 0 0,0-1-1 0 0,16-17 522 0 0,-3 10-391 0 0,0 1 1 0 0,0 1-1 0 0,0 0 0 0 0,31-9 1 0 0,-14 7 20 0 0,48-6 0 0 0,-61 12-112 0 0,-1 2 0 0 0,1 0 0 0 0,0 1 1 0 0,-1 1-1 0 0,1 1 0 0 0,-1 0 0 0 0,1 2 1 0 0,-1 0-1 0 0,24 8 0 0 0,-33-9-61 0 0,0 0 0 0 0,0 1 0 0 0,0 0 0 0 0,0 0 0 0 0,-1 1 0 0 0,1 0 0 0 0,-1 0 0 0 0,-1 0 0 0 0,1 1 0 0 0,-1 0 0 0 0,0 1 0 0 0,0-1 0 0 0,-1 1 0 0 0,1 0 0 0 0,-2 1 0 0 0,1-1 0 0 0,-1 1 0 0 0,0 0 0 0 0,-1 0 0 0 0,5 16 0 0 0,-7-18-23 0 0,0-1-1 0 0,0 1 0 0 0,-1 0 0 0 0,0 0 1 0 0,0 0-1 0 0,-1 0 0 0 0,1-1 0 0 0,-1 1 0 0 0,-1 0 1 0 0,1 0-1 0 0,-1-1 0 0 0,0 1 0 0 0,0-1 0 0 0,-1 0 1 0 0,1 1-1 0 0,-1-1 0 0 0,0 0 0 0 0,-1-1 0 0 0,1 1 1 0 0,-1 0-1 0 0,0-1 0 0 0,-8 7 0 0 0,12-10-24 0 0,-1-1 0 0 0,0 1-1 0 0,1 0 1 0 0,-1 0 0 0 0,0-1 0 0 0,0 1-1 0 0,0 0 1 0 0,1-1 0 0 0,-1 1 0 0 0,0-1-1 0 0,0 1 1 0 0,0-1 0 0 0,0 0 0 0 0,0 1-1 0 0,0-1 1 0 0,0 0 0 0 0,0 0 0 0 0,0 1-1 0 0,0-1 1 0 0,0 0 0 0 0,0 0 0 0 0,0 0-1 0 0,-1 0 1 0 0,1-1 0 0 0,0 1 0 0 0,0 0-1 0 0,0 0 1 0 0,0 0 0 0 0,0-1 0 0 0,0 1-1 0 0,0-1 1 0 0,0 1 0 0 0,1-1 0 0 0,-1 1-1 0 0,0-1 1 0 0,0 1 0 0 0,0-1 0 0 0,0 0-1 0 0,1 0 1 0 0,-1 1 0 0 0,0-1 0 0 0,1 0-1 0 0,-2-1 1 0 0,1-1-13 0 0,-1 1 1 0 0,1-1-1 0 0,-1 0 0 0 0,1 1 1 0 0,0-1-1 0 0,0 0 0 0 0,1 0 1 0 0,-1 0-1 0 0,1 0 0 0 0,-1 0 1 0 0,1 0-1 0 0,0 0 0 0 0,0-4 1 0 0,2-3-15 0 0,1 1-1 0 0,0-1 1 0 0,1 1 0 0 0,0 0 0 0 0,0 0 0 0 0,1 0 0 0 0,0 0 0 0 0,1 1 0 0 0,0 0 0 0 0,0 0 0 0 0,0 1 0 0 0,1 0 0 0 0,0 0 0 0 0,1 0 0 0 0,0 1 0 0 0,8-6 0 0 0,8-4-28 0 0,0 1 0 0 0,1 2 1 0 0,0 0-1 0 0,39-13 0 0 0,-40 18 12 0 0,40-15 10 0 0,111-56-1 0 0,-170 77 81 0 0,0-1 0 0 0,-1 0 0 0 0,0-1 0 0 0,0 1 0 0 0,0-1 0 0 0,0 1 0 0 0,0-1 1 0 0,-1-1-1 0 0,0 1 0 0 0,0 0 0 0 0,0-1 0 0 0,0 1 0 0 0,-1-1 0 0 0,0 0 0 0 0,4-10 0 0 0,-6 13-48 0 0,0 1 1 0 0,0-1-1 0 0,0 1 0 0 0,0-1 1 0 0,0 1-1 0 0,0-1 1 0 0,-1 0-1 0 0,1 1 0 0 0,0-1 1 0 0,-1 1-1 0 0,1-1 0 0 0,-1 1 1 0 0,0-1-1 0 0,1 1 1 0 0,-1 0-1 0 0,0-1 0 0 0,0 1 1 0 0,0 0-1 0 0,0 0 1 0 0,0-1-1 0 0,0 1 0 0 0,0 0 1 0 0,-1 0-1 0 0,1 0 0 0 0,0 0 1 0 0,-1 1-1 0 0,1-1 1 0 0,0 0-1 0 0,-1 0 0 0 0,1 1 1 0 0,-1-1-1 0 0,1 1 1 0 0,-1-1-1 0 0,-1 1 0 0 0,-5-2-8 0 0,1 0-1 0 0,-1 1 0 0 0,0 0 0 0 0,1 1 1 0 0,-12 0-1 0 0,10 1 10 0 0,0 1 0 0 0,0-1 1 0 0,-1 2-1 0 0,1-1 0 0 0,1 1 1 0 0,-1 0-1 0 0,0 1 0 0 0,1 0 0 0 0,-1 1 1 0 0,1 0-1 0 0,1 0 0 0 0,-10 8 1 0 0,12-10 2 0 0,0 1 1 0 0,1 0-1 0 0,0 1 1 0 0,0-1 0 0 0,0 1-1 0 0,0 0 1 0 0,0 0 0 0 0,1 0-1 0 0,0 0 1 0 0,0 1-1 0 0,1-1 1 0 0,0 1 0 0 0,0 0-1 0 0,0-1 1 0 0,0 1-1 0 0,1 0 1 0 0,0 0 0 0 0,0 0-1 0 0,0 11 1 0 0,1-14 1 0 0,1 0 0 0 0,-1 0 0 0 0,0-1 0 0 0,1 1 0 0 0,0 0 0 0 0,-1-1 0 0 0,1 1 0 0 0,0 0 0 0 0,1-1 1 0 0,-1 1-1 0 0,0-1 0 0 0,1 1 0 0 0,-1-1 0 0 0,1 0 0 0 0,0 0 0 0 0,-1 0 0 0 0,1 0 0 0 0,5 4 0 0 0,-4-4-10 0 0,0 0-1 0 0,1-1 1 0 0,-1 1-1 0 0,1-1 1 0 0,0 1 0 0 0,-1-1-1 0 0,1 0 1 0 0,0-1-1 0 0,0 1 1 0 0,0-1 0 0 0,-1 1-1 0 0,6-2 1 0 0,4 1-120 0 0,-1-2 1 0 0,1 0-1 0 0,-1 0 0 0 0,1-2 1 0 0,-1 1-1 0 0,0-1 1 0 0,13-7-1 0 0,-12 4-34 0 0,1 0 0 0 0,-2-1 0 0 0,1-1 0 0 0,-1 0 0 0 0,0 0 0 0 0,-1-1 0 0 0,0-1 0 0 0,14-17 0 0 0,-16 17 39 0 0,-4 12 411 0 0,-5 19 654 0 0,-1-3-815 0 0,2-12-74 0 0,-1-1 0 0 0,1 1 0 0 0,0-1 0 0 0,1 1 0 0 0,-1-1 0 0 0,1 0 0 0 0,0 0 1 0 0,0 0-1 0 0,0 0 0 0 0,0 0 0 0 0,1 0 0 0 0,0 0 0 0 0,0-1 0 0 0,0 1 0 0 0,0-1 0 0 0,0 0 0 0 0,1 0 0 0 0,-1 0 0 0 0,1 0 1 0 0,0-1-1 0 0,0 0 0 0 0,0 1 0 0 0,0-1 0 0 0,0-1 0 0 0,0 1 0 0 0,0-1 0 0 0,1 1 0 0 0,7 0 0 0 0,-5-1-75 0 0,-1 0 1 0 0,1-1-1 0 0,0 0 0 0 0,0 0 0 0 0,-1-1 0 0 0,1 1 0 0 0,0-2 0 0 0,-1 1 0 0 0,1-1 0 0 0,-1 0 0 0 0,0 0 1 0 0,1 0-1 0 0,-1-1 0 0 0,0 0 0 0 0,0 0 0 0 0,-1-1 0 0 0,1 0 0 0 0,9-8 0 0 0,-1-3-15 0 0,0-2-1 0 0,-1 0 0 0 0,-1 0 1 0 0,16-32-1 0 0,6-7 2043 0 0,-34 56-1983 0 0,0-1 0 0 0,0 1 0 0 0,1 0 1 0 0,-1-1-1 0 0,0 1 0 0 0,0 0 0 0 0,0-1 0 0 0,0 1 0 0 0,1 0 0 0 0,-1 0 0 0 0,0-1 1 0 0,0 1-1 0 0,1 0 0 0 0,-1 0 0 0 0,0-1 0 0 0,1 1 0 0 0,-1 0 0 0 0,0 0 0 0 0,0 0 0 0 0,1-1 1 0 0,-1 1-1 0 0,0 0 0 0 0,1 0 0 0 0,-1 0 0 0 0,0 0 0 0 0,1 0 0 0 0,-1 0 0 0 0,1 0 0 0 0,-1 0 1 0 0,0 0-1 0 0,1 0 0 0 0,-1 0 0 0 0,5 11 501 0 0,-2 22-26 0 0,-3-29-370 0 0,11 114 908 0 0,-1-12-4206 0 0,-7-36-8711 0 0</inkml:trace>
</inkml:ink>
</file>

<file path=ppt/ink/ink3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9:03.6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0 136 888 0 0,'-51'-96'9332'0'0,"50"95"-9301"0"0,0 0 0 0 0,0 0 0 0 0,1 0 0 0 0,-1-1 1 0 0,0 1-1 0 0,1 0 0 0 0,-1-1 0 0 0,1 1 0 0 0,-1 0 1 0 0,1-1-1 0 0,-1 1 0 0 0,1-1 0 0 0,0 1 0 0 0,0-1 1 0 0,0 1-1 0 0,0 0 0 0 0,0-3 0 0 0,0 3-72 0 0,1 1 1 0 0,-1-1-1 0 0,1 0 0 0 0,-1 0 0 0 0,0 1 1 0 0,1-1-1 0 0,-1 1 0 0 0,1-1 0 0 0,0 0 1 0 0,-1 1-1 0 0,1-1 0 0 0,-1 1 1 0 0,1-1-1 0 0,0 1 0 0 0,0-1 0 0 0,-1 1 1 0 0,1 0-1 0 0,0-1 0 0 0,0 1 0 0 0,-1 0 1 0 0,3-1-1 0 0,2 0-135 0 0,-1 1 1 0 0,1-1 0 0 0,0 1-1 0 0,0 0 1 0 0,0 0-1 0 0,0 1 1 0 0,0-1 0 0 0,5 2-1 0 0,3 2 50 0 0,0-1 0 0 0,0 2-1 0 0,-1 0 1 0 0,1 0 0 0 0,-1 1 0 0 0,20 14 0 0 0,-17-9 627 0 0,-1 1 0 0 0,0 0 0 0 0,0 1 0 0 0,14 19 0 0 0,-2 2 1417 0 0,-2 2 0 0 0,-2 0 0 0 0,28 61 0 0 0,-44-85-1540 0 0,-3-5 227 0 0,0 0-1 0 0,0 0 1 0 0,1-1-1 0 0,8 11 1 0 0,-11-16-68 0 0,12-8-307 0 0,-9 3-311 0 0,0 0-1 0 0,0 0 1 0 0,0 0-1 0 0,0-1 1 0 0,4-6-1 0 0,7-9-311 0 0,-6 11 202 0 0,1 0 0 0 0,0 1 0 0 0,0 0 0 0 0,19-11 0 0 0,-28 18 181 0 0,0 1 0 0 0,0-1 0 0 0,0 1 0 0 0,0 0 0 0 0,0-1 1 0 0,0 1-1 0 0,0 0 0 0 0,1-1 0 0 0,-1 1 0 0 0,0 0 0 0 0,0 0 0 0 0,0 0 0 0 0,0 0 0 0 0,0 0 0 0 0,0 0 0 0 0,2 1 0 0 0,4 0-54 0 0,-2-1 60 0 0,-1 0 0 0 0,0 0 0 0 0,0 1 0 0 0,0 0 0 0 0,0 0 0 0 0,1 0 0 0 0,-1 0 0 0 0,-1 1 0 0 0,1 0 0 0 0,0 0 0 0 0,0 0 0 0 0,-1 0 0 0 0,6 4 0 0 0,5 3 3 0 0,92 44 206 0 0,-102-52-201 0 0,0 0 0 0 0,0-1 1 0 0,-1 1-1 0 0,1-1 0 0 0,0 0 1 0 0,0 0-1 0 0,0 0 0 0 0,0-1 0 0 0,0 1 1 0 0,0-1-1 0 0,-1 0 0 0 0,1 0 1 0 0,0 0-1 0 0,-1-1 0 0 0,1 1 0 0 0,-1-1 1 0 0,1 0-1 0 0,-1 0 0 0 0,0 0 1 0 0,5-4-1 0 0,-1-1 27 0 0,-1-1 0 0 0,0 0 0 0 0,0 0 0 0 0,-1-1 0 0 0,0 0 0 0 0,0 0 0 0 0,-1 0 0 0 0,0 0 0 0 0,-1 0-1 0 0,4-19 1 0 0,14-31 1896 0 0,-20 56-1719 0 0,1 31-62 0 0,-3-2-189 0 0,-4 41-1963 0 0,3-54 586 0 0,0-1 0 0 0,-1 0 0 0 0,-5 15 0 0 0,-2-5-6091 0 0</inkml:trace>
</inkml:ink>
</file>

<file path=ppt/ink/ink3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9:04.9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2 454 684 0 0,'-23'-53'7100'0'0,"-13"-35"76"0"0,35 86-7405 0 0,1 0-167 0 0,-1 2 233 0 0,1-1 109 0 0,0 1-1 0 0,0 0 1 0 0,0 0-1 0 0,0 0 1 0 0,0 0-1 0 0,0-1 1 0 0,0 1 0 0 0,-1 0-1 0 0,1 0 1 0 0,0 0-1 0 0,0 0 1 0 0,0-1 0 0 0,0 1-1 0 0,0 0 1 0 0,0 0-1 0 0,0 0 1 0 0,0 0-1 0 0,0-1 1 0 0,0 1 0 0 0,0 0-1 0 0,0 0 1 0 0,1 0-1 0 0,-1 0 1 0 0,0-1-1 0 0,0 1 1 0 0,0 0 0 0 0,0 0-1 0 0,0 0 1 0 0,0 0-1 0 0,0 0 1 0 0,0-1-1 0 0,0 1 1 0 0,1 0-109 0 0,-1 0 108 0 0,0 0 1 0 0,0 0-1 0 0,0 0 1 0 0,0 0 0 0 0,1-1-1 0 0,-1 1 1 0 0,155 14-4882 0 0,-120-9 4522 0 0,69 10 1469 0 0,45 19 4661 0 0,-140-31-5157 0 0,0 1 0 0 0,0-1 0 0 0,0 2 0 0 0,11 6 0 0 0,-4-1 49 0 0,-14-9-340 0 0,4-1 92 0 0,5-3 1224 0 0,-8-15-1160 0 0,-9-78 78 0 0,6 94-504 0 0,6 24 76 0 0,18 63 1355 0 0,56 137 0 0 0,-77-215-1364 0 0,0-1 0 0 0,0 0 0 0 0,0 0 0 0 0,1 0 0 0 0,0 0 0 0 0,0 0 0 0 0,0-1 0 0 0,1 0 0 0 0,6 5 0 0 0,-10-9-58 0 0,0 0 0 0 0,1-1 0 0 0,-1 1-1 0 0,1-1 1 0 0,-1 1 0 0 0,1-1 0 0 0,-1 0 0 0 0,1 0-1 0 0,-1 0 1 0 0,1 0 0 0 0,0 0 0 0 0,-1 0 0 0 0,1 0 0 0 0,-1 0-1 0 0,1 0 1 0 0,-1-1 0 0 0,1 1 0 0 0,-1-1 0 0 0,1 1-1 0 0,-1-1 1 0 0,2 0 0 0 0,26-17-68 0 0,-16 5-22 0 0,0 0-1 0 0,-2-1 0 0 0,1 0 0 0 0,-2-1 0 0 0,0 0 0 0 0,9-18 0 0 0,-9 14-18 0 0,2 0 0 0 0,0 0 0 0 0,15-15 0 0 0,-25 32 66 0 0,1 1-4 0 0,-1 1 29 0 0,-2 0 8 0 0,1-1 0 0 0,0 1-1 0 0,-1 0 1 0 0,1 0 0 0 0,0 0 0 0 0,-1-1-1 0 0,1 1 1 0 0,0 0 0 0 0,0 0-1 0 0,-1 0 1 0 0,1 0 0 0 0,0 0 0 0 0,-1 1-1 0 0,1-1 1 0 0,0 0 0 0 0,1 1-1 0 0,2 0 3 0 0,-1 1 0 0 0,1 0 0 0 0,0 0 0 0 0,0 0 0 0 0,-1 0 0 0 0,0 1 0 0 0,1-1 0 0 0,3 5 0 0 0,2 0 6 0 0,-1-1 17 0 0,0 0 0 0 0,1-1-1 0 0,0-1 1 0 0,0 1 0 0 0,0-1-1 0 0,1-1 1 0 0,-1 0 0 0 0,1 0-1 0 0,0-1 1 0 0,0 0 0 0 0,0-1-1 0 0,12 1 1 0 0,-15-2-83 0 0,0-1-1 0 0,0 0 1 0 0,1 0 0 0 0,-2 0 0 0 0,1-1 0 0 0,0 0-1 0 0,0 0 1 0 0,0-1 0 0 0,-1 0 0 0 0,0 0 0 0 0,1 0-1 0 0,-1-1 1 0 0,0 0 0 0 0,-1 0 0 0 0,1 0 0 0 0,-1-1 0 0 0,7-7-1 0 0,-3 1-52 0 0,-1-1 0 0 0,-1 1-1 0 0,0-1 1 0 0,0-1 0 0 0,5-14 0 0 0,9-17-365 0 0,-20 42 405 0 0,5 26 36 0 0,-1 3 60 0 0,1 7 307 0 0,15 51-1 0 0,30 65 704 0 0,-50-148-1037 0 0,15-20-725 0 0,-5-20-152 0 0,-2 0 0 0 0,-1-1 0 0 0,5-75 0 0 0,-4 21 258 0 0,-6 75 517 0 0,6-43 12 0 0,-3-1 0 0 0,-2-63 0 0 0,-4 123 91 0 0,0 0 0 0 0,0-1 1 0 0,-1 1-1 0 0,1-1 0 0 0,0 1 0 0 0,-1 0 1 0 0,1-1-1 0 0,-1 1 0 0 0,0 0 0 0 0,0 0 1 0 0,0-1-1 0 0,0 1 0 0 0,0 0 0 0 0,0 0 1 0 0,-1 0-1 0 0,1 0 0 0 0,-1 0 0 0 0,1 1 1 0 0,-1-1-1 0 0,0 0 0 0 0,0 1 0 0 0,-2-2 1 0 0,1 2-1 0 0,0 0 1 0 0,0 0-1 0 0,0 0 0 0 0,0 0 1 0 0,0 1-1 0 0,0-1 1 0 0,0 1-1 0 0,0 0 1 0 0,0 0-1 0 0,-1 0 1 0 0,1 0-1 0 0,0 1 0 0 0,0-1 1 0 0,0 1-1 0 0,0 0 1 0 0,-5 2-1 0 0,-1 0 11 0 0,1 0-1 0 0,-1 1 1 0 0,1 0-1 0 0,0 1 1 0 0,0-1-1 0 0,0 2 0 0 0,1-1 1 0 0,-1 1-1 0 0,1 0 1 0 0,1 1-1 0 0,-1 0 1 0 0,1 0-1 0 0,0 0 1 0 0,1 1-1 0 0,0-1 1 0 0,-8 18-1 0 0,8-15 13 0 0,1 1 0 0 0,1-1 0 0 0,0 1 0 0 0,0 0 0 0 0,1 0 0 0 0,0 1 0 0 0,1-1-1 0 0,1 0 1 0 0,-1 0 0 0 0,2 1 0 0 0,-1-1 0 0 0,2 0 0 0 0,4 19 0 0 0,8 15 8 0 0,3 0-1 0 0,39 77 1 0 0,18 45-114 0 0,-63-131 82 0 0,-1 0 1 0 0,-1 0-1 0 0,-2 0 1 0 0,-2 1 0 0 0,2 66-1 0 0,-8-83 17 0 0,0 0 0 0 0,-1 0 0 0 0,-1 1 0 0 0,0-1 0 0 0,-2-1 0 0 0,0 1 0 0 0,-2-1 0 0 0,0 0 0 0 0,-1 0 0 0 0,-1-1 0 0 0,0 0 1 0 0,-14 19-1 0 0,19-32 68 0 0,-1 1 0 0 0,1-2 0 0 0,-1 1 0 0 0,1 0 0 0 0,-1-1 0 0 0,-1 0 0 0 0,1 0 0 0 0,0-1 0 0 0,-1 1 1 0 0,0-1-1 0 0,-8 3 0 0 0,12-5-37 0 0,-1 0-1 0 0,0 0 1 0 0,0-1 0 0 0,1 1 0 0 0,-1-1 0 0 0,0 1 0 0 0,0-1-1 0 0,1 0 1 0 0,-1 0 0 0 0,0 0 0 0 0,0-1 0 0 0,1 1 0 0 0,-1 0-1 0 0,0-1 1 0 0,0 0 0 0 0,1 0 0 0 0,-1 0 0 0 0,1 0 0 0 0,-1 0-1 0 0,1-1 1 0 0,-1 1 0 0 0,1-1 0 0 0,0 1 0 0 0,0-1 0 0 0,0 0-1 0 0,0 0 1 0 0,0 0 0 0 0,0 0 0 0 0,-2-2 0 0 0,-1-4-11 0 0,0-1 0 0 0,1 0 0 0 0,0 1 0 0 0,0-2 0 0 0,0 1 0 0 0,1 0-1 0 0,1 0 1 0 0,0-1 0 0 0,0 0 0 0 0,1 1 0 0 0,0-1 0 0 0,1 0 0 0 0,0 0 0 0 0,2-19 0 0 0,3-6-198 0 0,1 0 0 0 0,20-58 0 0 0,25-49-2452 0 0,-16 50-6371 0 0,-29 74 3765 0 0</inkml:trace>
</inkml:ink>
</file>

<file path=ppt/ink/ink3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9:06.9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3 382 608 0 0,'0'-6'682'0'0,"0"0"0"0"0,0-1 0 0 0,-1 1 0 0 0,0 0 0 0 0,0 0 0 0 0,0-1 0 0 0,-1 1 1 0 0,0 0-1 0 0,0 0 0 0 0,-1 1 0 0 0,1-1 0 0 0,-1 0 0 0 0,-1 1 0 0 0,1 0 0 0 0,-1-1 0 0 0,0 1 0 0 0,-7-7 0 0 0,10 12-627 0 0,0-1-1 0 0,0 0 0 0 0,1 1 1 0 0,-1-1-1 0 0,0 1 1 0 0,0-1-1 0 0,0 1 1 0 0,0 0-1 0 0,0-1 1 0 0,0 1-1 0 0,0 0 0 0 0,0 0 1 0 0,0 0-1 0 0,0 0 1 0 0,-1 0-1 0 0,1 0 1 0 0,0 0-1 0 0,0 0 0 0 0,0 0 1 0 0,0 0-1 0 0,0 0 1 0 0,0 1-1 0 0,0-1 1 0 0,0 0-1 0 0,0 1 0 0 0,0-1 1 0 0,0 1-1 0 0,0-1 1 0 0,1 1-1 0 0,-1 0 1 0 0,0-1-1 0 0,0 1 0 0 0,-1 0 1 0 0,0 2 27 0 0,0-1 1 0 0,-1 1-1 0 0,1 0 1 0 0,0 0-1 0 0,0 0 1 0 0,-2 6-1 0 0,3-7-37 0 0,1 0 0 0 0,-1 0 0 0 0,1 0 0 0 0,0 0-1 0 0,0 0 1 0 0,0 0 0 0 0,0 0 0 0 0,0 0 0 0 0,0 0-1 0 0,1 0 1 0 0,-1 0 0 0 0,1-1 0 0 0,-1 1-1 0 0,1 0 1 0 0,1 2 0 0 0,14 28 378 0 0,-13-27-346 0 0,16 26 139 0 0,2-1-1 0 0,33 37 1 0 0,17 22-112 0 0,-62-75-93 0 0,0 1 0 0 0,0-1 0 0 0,-1 2 0 0 0,8 24 0 0 0,-14-34 3 0 0,0 0 0 0 0,-1 0 1 0 0,0 0-1 0 0,0 0 0 0 0,-1 0 0 0 0,0 0 0 0 0,0 0 0 0 0,0 0 0 0 0,0 0 0 0 0,-3 9 1 0 0,2-12-8 0 0,1-1 0 0 0,-1 0 0 0 0,0 0 0 0 0,0 0 0 0 0,0 1 0 0 0,0-1 0 0 0,0 0 0 0 0,0 0 0 0 0,-1-1 0 0 0,1 1 0 0 0,-1 0 0 0 0,1 0 0 0 0,-1-1 0 0 0,0 1 0 0 0,1-1 0 0 0,-1 1 0 0 0,0-1 0 0 0,0 0 0 0 0,0 1 0 0 0,0-1 0 0 0,-1 0 0 0 0,1-1 0 0 0,0 1 0 0 0,0 0 0 0 0,0-1 0 0 0,-1 1 0 0 0,1-1 0 0 0,0 1 0 0 0,-1-1 1 0 0,1 0-1 0 0,0 0 0 0 0,-4-1 0 0 0,-1 0 3 0 0,0 0 0 0 0,1 0 1 0 0,-1-1-1 0 0,1 0 0 0 0,0 0 1 0 0,0 0-1 0 0,0-1 0 0 0,0 0 1 0 0,0 0-1 0 0,0-1 0 0 0,1 0 1 0 0,-1 0-1 0 0,1 0 1 0 0,0 0-1 0 0,0-1 0 0 0,1 0 1 0 0,-1 0-1 0 0,1 0 0 0 0,0-1 1 0 0,1 1-1 0 0,-4-7 0 0 0,-1-2-17 0 0,1-1 0 0 0,1 0 1 0 0,0 0-1 0 0,1 0 0 0 0,1-1 0 0 0,0 1 0 0 0,1-1 0 0 0,-1-18 0 0 0,4 32-10 0 0,0 0 1 0 0,0 0-1 0 0,0 0 0 0 0,-1 0 1 0 0,1 0-1 0 0,0 0 0 0 0,-1 0 1 0 0,0 0-1 0 0,0 0 1 0 0,-1-3-1 0 0,2 5 15 0 0,0 0 1 0 0,-1-1-1 0 0,1 1 0 0 0,0 0 1 0 0,0 0-1 0 0,0 0 0 0 0,0 0 1 0 0,-1 0-1 0 0,1 0 0 0 0,0 0 1 0 0,0 0-1 0 0,0 0 0 0 0,0 0 1 0 0,0 0-1 0 0,-1 0 0 0 0,1 0 1 0 0,0 0-1 0 0,0 0 0 0 0,0 0 1 0 0,-1 0-1 0 0,1 0 0 0 0,0 0 1 0 0,0 0-1 0 0,0 0 1 0 0,0 0-1 0 0,0 0 0 0 0,-1 0 1 0 0,1 0-1 0 0,0 0 0 0 0,0 0 1 0 0,0 1-1 0 0,0-1 0 0 0,0 0 1 0 0,-1 0-1 0 0,1 0 0 0 0,0 0 1 0 0,0 0-1 0 0,0 0 0 0 0,0 1 1 0 0,-8 14 18 0 0,-31 115-15 0 0,18-43-2900 0 0,21-86 2826 0 0,0-1 1 0 0,0 1-1 0 0,0-1 0 0 0,0 1 0 0 0,0-1 0 0 0,0 1 0 0 0,0-1 0 0 0,0 1 0 0 0,0-1 0 0 0,0 1 1 0 0,0 0-1 0 0,0-1 0 0 0,0 1 0 0 0,0-1 0 0 0,0 1 0 0 0,0-1 0 0 0,1 1 0 0 0,-1-1 0 0 0,0 1 0 0 0,0-1 1 0 0,1 0-1 0 0,-1 1 0 0 0,0-1 0 0 0,1 1 0 0 0,-1-1 0 0 0,0 0 0 0 0,1 1 0 0 0,-1-1 0 0 0,1 0 1 0 0,-1 1-1 0 0,0-1 0 0 0,1 0 0 0 0,-1 1 0 0 0,1-1 0 0 0,-1 0 0 0 0,1 0 0 0 0,-1 0 0 0 0,1 0 0 0 0,-1 1 1 0 0,1-1-1 0 0,-1 0 0 0 0,1 0 0 0 0,-1 0 0 0 0,1 0 0 0 0,0 0 0 0 0,-1 0 0 0 0,1 0 0 0 0,0-1 1 0 0,25-4-2229 0 0,-9-3 1292 0 0,-1 0-1 0 0,1-1 1 0 0,25-19-1 0 0,-7 5 601 0 0,43-26 723 0 0,243-145 4435 0 0,-308 187-4455 0 0,0-1-1 0 0,-1 0 1 0 0,0-1 0 0 0,0 0-1 0 0,-1-1 1 0 0,0 0 0 0 0,-1-1-1 0 0,-1 0 1 0 0,1 0 0 0 0,9-17-1 0 0,-18 27-273 0 0,0 0 1 0 0,-1 0-1 0 0,1-1 0 0 0,0 1 1 0 0,-1 0-1 0 0,1 0 0 0 0,-1-1 1 0 0,0 1-1 0 0,1-1 0 0 0,-1 1 0 0 0,0 0 1 0 0,0-1-1 0 0,0 1 0 0 0,0 0 1 0 0,0-1-1 0 0,0 1 0 0 0,0-1 1 0 0,-1-1-1 0 0,1 2-15 0 0,-1 1 0 0 0,1-1 0 0 0,-1 1 0 0 0,1-1 0 0 0,-1 1 0 0 0,1 0 0 0 0,-1-1 0 0 0,1 1 0 0 0,-1 0 0 0 0,0-1 0 0 0,1 1 0 0 0,-1 0 0 0 0,0 0 0 0 0,1 0 0 0 0,-1-1 1 0 0,0 1-1 0 0,1 0 0 0 0,-1 0 0 0 0,0 0 0 0 0,1 0 0 0 0,-1 0 0 0 0,0 0 0 0 0,1 0 0 0 0,-1 1 0 0 0,-1-1 0 0 0,-3 1 46 0 0,0 1 0 0 0,0 0 0 0 0,0 0 0 0 0,0 0 0 0 0,0 0 1 0 0,0 1-1 0 0,1-1 0 0 0,-6 5 0 0 0,4-2 62 0 0,1 1 0 0 0,1-1 1 0 0,-1 1-1 0 0,1-1 0 0 0,0 1 0 0 0,0 1 0 0 0,0-1 1 0 0,1 0-1 0 0,0 1 0 0 0,0 0 0 0 0,1 0 0 0 0,0 0 1 0 0,0 0-1 0 0,1 0 0 0 0,-1 0 0 0 0,2 0 0 0 0,-1 0 1 0 0,1 1-1 0 0,0-1 0 0 0,0 0 0 0 0,1 0 1 0 0,0 0-1 0 0,1 1 0 0 0,-1-1 0 0 0,1 0 0 0 0,0 0 1 0 0,5 8-1 0 0,-5-9-65 0 0,1 0 1 0 0,0 0 0 0 0,0 0-1 0 0,0-1 1 0 0,1 1 0 0 0,0-1-1 0 0,0 0 1 0 0,0 0 0 0 0,1 0 0 0 0,-1 0-1 0 0,1-1 1 0 0,0 0 0 0 0,1 0-1 0 0,-1 0 1 0 0,1-1 0 0 0,-1 0-1 0 0,1 0 1 0 0,0 0 0 0 0,0 0-1 0 0,1-1 1 0 0,-1 0 0 0 0,0-1-1 0 0,1 0 1 0 0,-1 1 0 0 0,1-2-1 0 0,-1 1 1 0 0,1-1 0 0 0,0 0-1 0 0,-1-1 1 0 0,10-1 0 0 0,-7 1-76 0 0,0-2 0 0 0,-1 1-1 0 0,1-1 1 0 0,-1 0 0 0 0,0-1 0 0 0,0 0 0 0 0,0 0 0 0 0,0-1 0 0 0,-1 0 0 0 0,0 0 0 0 0,0-1 0 0 0,0 0 0 0 0,9-10 0 0 0,-8 6-98 0 0,-1 0 0 0 0,1-1 0 0 0,-2 0 1 0 0,0-1-1 0 0,0 1 0 0 0,-1-1 0 0 0,0 0 1 0 0,5-24-1 0 0,-2-5 172 0 0,-2 1 0 0 0,-2-1 0 0 0,-1-1 1 0 0,-2 1-1 0 0,-2 0 0 0 0,-11-70 0 0 0,11 103 19 0 0,0 1 1 0 0,0-1-1 0 0,-1 1 0 0 0,0 0 0 0 0,0 0 0 0 0,-1 0 0 0 0,-6-11 1 0 0,9 18-54 0 0,-1-1 0 0 0,1 1 0 0 0,0-1 0 0 0,-1 1 0 0 0,1-1 0 0 0,-1 1 0 0 0,1 0 0 0 0,-1-1 0 0 0,0 1 0 0 0,1 0 0 0 0,-1 0 0 0 0,1-1-1 0 0,-1 1 1 0 0,0 0 0 0 0,1 0 0 0 0,-1 0 0 0 0,1 0 0 0 0,-1 0 0 0 0,0 0 0 0 0,1 0 0 0 0,-1 0 0 0 0,0 0 0 0 0,1 0 0 0 0,-1 0 0 0 0,0 0 0 0 0,1 0 0 0 0,-1 0 0 0 0,1 1 0 0 0,-1-1 0 0 0,0 0 0 0 0,1 0 0 0 0,-1 1 0 0 0,1-1 0 0 0,-1 0 0 0 0,1 1 0 0 0,-1-1 0 0 0,1 1 0 0 0,-1-1 0 0 0,1 1 0 0 0,0-1 0 0 0,-1 1 0 0 0,1-1 0 0 0,-1 1 0 0 0,1-1 0 0 0,0 1 0 0 0,-1 0 0 0 0,-15 26 547 0 0,11-11-347 0 0,0-1 1 0 0,1 1 0 0 0,1 0 0 0 0,0 0-1 0 0,1 0 1 0 0,1 0 0 0 0,1 0 0 0 0,1 18-1 0 0,4 21 310 0 0,12 54-1 0 0,6 6-13 0 0,60 177-1 0 0,-70-255-673 0 0,2 7-2628 0 0,27 55 0 0 0,-40-95 1859 0 0,4 7-393 0 0</inkml:trace>
</inkml:ink>
</file>

<file path=ppt/ink/ink3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49:07.3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79 1216 0 0,'1'-21'9761'0'0,"1"18"-9314"0"0,0 0 0 0 0,0 0 1 0 0,0 0-1 0 0,1 0 0 0 0,-1 0 0 0 0,1 0 1 0 0,0 1-1 0 0,0-1 0 0 0,0 1 0 0 0,0 0 1 0 0,5-3-1 0 0,39-16 1845 0 0,14-3-798 0 0,0 4-1 0 0,85-17 0 0 0,-71 18-3242 0 0,-72 18 834 0 0</inkml:trace>
</inkml:ink>
</file>

<file path=ppt/ink/ink3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1.2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2 337 184 0 0,'-2'-2'924'0'0,"-8"-9"625"0"0,-1 0 0 0 0,-13-22 0 0 0,15 20-422 0 0,0 1 0 0 0,-18-18-1 0 0,17 17-443 0 0,4 7-250 0 0,7 18-250 0 0,7 18-48 0 0,1 0-1 0 0,2-1 1 0 0,18 38-1 0 0,-5-16-70 0 0,40 99 166 0 0,-52-107-6 0 0,-12-41-75 0 0,-1-3-153 0 0,-1 1 0 0 0,0-1-1 0 0,1 1 1 0 0,-1-1 0 0 0,1 0 0 0 0,-1 0 0 0 0,1 1-1 0 0,0-1 1 0 0,-1 0 0 0 0,1 0 0 0 0,0 0 0 0 0,-1-1-1 0 0,1 1 1 0 0,0 0 0 0 0,0 0 0 0 0,0-1 0 0 0,0 1-1 0 0,-1-3 1 0 0,-17-32-149 0 0,16 30 131 0 0,-22-54-330 0 0,2-2-1 0 0,3 0 1 0 0,-21-114 0 0 0,35 149 400 0 0,2 0 0 0 0,2 0 0 0 0,0-32 0 0 0,1 56-16 0 0,2 0 0 0 0,-1 1 0 0 0,0-1 0 0 0,0 1 0 0 0,1-1 0 0 0,-1 1 0 0 0,1-1 0 0 0,0 1 0 0 0,0-1 0 0 0,0 1 0 0 0,0-1 1 0 0,0 1-1 0 0,1 0 0 0 0,-1 0 0 0 0,1 0 0 0 0,-1 0 0 0 0,1 0 0 0 0,0 0 0 0 0,2-2 0 0 0,-2 3 5 0 0,1-1 0 0 0,-1 1 1 0 0,1 1-1 0 0,-1-1 0 0 0,1 0 1 0 0,-1 1-1 0 0,1-1 0 0 0,-1 1 1 0 0,1-1-1 0 0,0 1 0 0 0,-1 0 0 0 0,1 0 1 0 0,0 1-1 0 0,-1-1 0 0 0,1 0 1 0 0,-1 1-1 0 0,1 0 0 0 0,-1 0 0 0 0,5 1 1 0 0,14 7 95 0 0,0 0 0 0 0,0 2-1 0 0,-1 0 1 0 0,30 23 0 0 0,70 64 177 0 0,-113-92-277 0 0,103 98 42 0 0,-93-85-1032 0 0,-1 0 1 0 0,0 0 0 0 0,-2 2 0 0 0,14 24 0 0 0,-20-29-1489 0 0,-4-2-561 0 0</inkml:trace>
</inkml:ink>
</file>

<file path=ppt/ink/ink3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1.5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3 288 1212 0 0,'-6'-2'620'0'0,"0"0"0"0"0,1-1 1 0 0,-1 0-1 0 0,1 0 0 0 0,-1 0 0 0 0,1-1 0 0 0,-5-4 0 0 0,8 7-561 0 0,1-1-1 0 0,0 1 1 0 0,0 0-1 0 0,0-1 0 0 0,0 1 1 0 0,0-1-1 0 0,0 1 0 0 0,0-1 1 0 0,1 0-1 0 0,-1 1 1 0 0,1-1-1 0 0,-1 0 0 0 0,1 1 1 0 0,-1-1-1 0 0,1 0 1 0 0,0 0-1 0 0,0 1 0 0 0,0-1 1 0 0,0 0-1 0 0,0 0 1 0 0,0 1-1 0 0,1-1 0 0 0,-1 0 1 0 0,0 0-1 0 0,1 1 0 0 0,-1-1 1 0 0,1 0-1 0 0,0 1 1 0 0,0-1-1 0 0,1-2 0 0 0,3-4-22 0 0,1 1 0 0 0,-1-1 0 0 0,1 1-1 0 0,1 1 1 0 0,-1-1 0 0 0,1 1-1 0 0,0 0 1 0 0,8-5 0 0 0,69-39-1247 0 0,-62 38 648 0 0,102-52-3090 0 0,-93 49 3179 0 0</inkml:trace>
</inkml:ink>
</file>

<file path=ppt/ink/ink3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1.9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0 44 40 0 0,'22'-43'5340'0'0,"-26"44"-4987"0"0,-3 1-265 0 0,2 0 0 0 0,-1 1 0 0 0,0 0 0 0 0,0 0-1 0 0,1 0 1 0 0,0 1 0 0 0,0 0 0 0 0,0 0 0 0 0,0 0 0 0 0,0 1 0 0 0,1-1 0 0 0,-5 7-1 0 0,-5 7 119 0 0,1 0-1 0 0,-16 28 1 0 0,24-38-169 0 0,1 1-1 0 0,1 0 1 0 0,-1 0 0 0 0,1 0-1 0 0,1 0 1 0 0,0 0 0 0 0,0 1-1 0 0,0-1 1 0 0,2 1 0 0 0,-1-1-1 0 0,1 1 1 0 0,0-1 0 0 0,1 1-1 0 0,0-1 1 0 0,3 10-1 0 0,-3-13-33 0 0,1 0 0 0 0,0-1 0 0 0,0 1-1 0 0,1-1 1 0 0,-1 0 0 0 0,1 1 0 0 0,0-1-1 0 0,1-1 1 0 0,-1 1 0 0 0,1 0 0 0 0,0-1-1 0 0,0 0 1 0 0,0 0 0 0 0,1 0-1 0 0,0 0 1 0 0,-1-1 0 0 0,1 0 0 0 0,0 0-1 0 0,1 0 1 0 0,-1 0 0 0 0,0-1 0 0 0,1 0-1 0 0,0 0 1 0 0,-1 0 0 0 0,9 0-1 0 0,-4-1-445 0 0,1 0 0 0 0,0-1-1 0 0,-1 0 1 0 0,1-1 0 0 0,0 0-1 0 0,-1-1 1 0 0,1 0-1 0 0,-1-1 1 0 0,14-4 0 0 0,2-5-869 0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9.08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1528 0 0,'5'1'453'0'0,"1"0"-1"0"0,-1 1 0 0 0,1-1 1 0 0,-1 1-1 0 0,0 0 0 0 0,0 1 1 0 0,0-1-1 0 0,0 1 0 0 0,0 0 1 0 0,-1 1-1 0 0,1-1 1 0 0,-1 1-1 0 0,0-1 0 0 0,0 1 1 0 0,0 1-1 0 0,0-1 0 0 0,-1 0 1 0 0,0 1-1 0 0,5 8 0 0 0,3 9 76 0 0,0 0 0 0 0,-1 1 0 0 0,7 29 0 0 0,-6-21-111 0 0,21 73-657 0 0,-19-60-2208 0 0,-12-39 1670 0 0,-1-4 499 0 0,0 0 0 0 0,1 1 1 0 0,-1-1-1 0 0,0 0 0 0 0,1 1 0 0 0,-1-1 1 0 0,1 0-1 0 0,-1 0 0 0 0,1 1 0 0 0,-1-1 1 0 0,1 0-1 0 0,0 0 0 0 0,0 0 0 0 0,0 0 1 0 0,1 2-1 0 0,7 0-2495 0 0</inkml:trace>
</inkml:ink>
</file>

<file path=ppt/ink/ink3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2.2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1 21 520 0 0,'0'0'104'0'0,"0"-1"0"0"0,0 1 0 0 0,0-1 0 0 0,-1 1-1 0 0,1 0 1 0 0,0-1 0 0 0,0 1 0 0 0,-1-1 0 0 0,1 1 0 0 0,0 0 0 0 0,-1-1 0 0 0,1 1-1 0 0,0-1 1 0 0,-1 1 0 0 0,1 0 0 0 0,0 0 0 0 0,-1-1 0 0 0,1 1 0 0 0,-1 0 0 0 0,1 0-1 0 0,-1-1 1 0 0,1 1 0 0 0,0 0 0 0 0,-1 0 0 0 0,-5 2 115 0 0,0 0 1 0 0,0 1-1 0 0,0 0 0 0 0,1 0 0 0 0,0 1 1 0 0,0-1-1 0 0,0 1 0 0 0,0 0 0 0 0,0 0 1 0 0,1 1-1 0 0,-1-1 0 0 0,1 1 1 0 0,0 0-1 0 0,-6 11 0 0 0,4-6-57 0 0,0 1 0 0 0,1-1 0 0 0,0 1-1 0 0,0 0 1 0 0,1 1 0 0 0,1-1 0 0 0,-3 16 0 0 0,5-20-114 0 0,1 0-1 0 0,0 0 1 0 0,0 0 0 0 0,0 1 0 0 0,1-1 0 0 0,1 0-1 0 0,-1 0 1 0 0,1-1 0 0 0,0 1 0 0 0,1 0 0 0 0,-1 0 0 0 0,1-1-1 0 0,1 0 1 0 0,-1 1 0 0 0,1-1 0 0 0,0-1 0 0 0,0 1-1 0 0,1 0 1 0 0,0-1 0 0 0,0 0 0 0 0,0 0 0 0 0,1-1-1 0 0,-1 1 1 0 0,1-1 0 0 0,0 0 0 0 0,0-1 0 0 0,1 0 0 0 0,6 3-1 0 0,-6-2-117 0 0,0-1 0 0 0,0 0-1 0 0,1-1 1 0 0,-1 0-1 0 0,0 0 1 0 0,1-1-1 0 0,-1 0 1 0 0,1 0-1 0 0,0 0 1 0 0,-1-1-1 0 0,1 0 1 0 0,0-1 0 0 0,-1 0-1 0 0,1 0 1 0 0,-1-1-1 0 0,1 0 1 0 0,-1 0-1 0 0,0 0 1 0 0,1-1-1 0 0,-1 0 1 0 0,-1-1 0 0 0,1 1-1 0 0,0-1 1 0 0,-1-1-1 0 0,0 1 1 0 0,6-7-1 0 0,-5 3 33 0 0,0 0-1 0 0,0-1 1 0 0,-1 0-1 0 0,-1 0 1 0 0,1-1-1 0 0,-2 0 1 0 0,1 0-1 0 0,-1 0 1 0 0,-1 0-1 0 0,0-1 1 0 0,0 1-1 0 0,-1-1 1 0 0,0 0-1 0 0,-1 0 1 0 0,0-12-1 0 0,-1 19 106 0 0,0-1 1 0 0,0 1-1 0 0,-1 0 0 0 0,1 0 0 0 0,-1-1 0 0 0,0 1 0 0 0,0 0 0 0 0,-1 0 0 0 0,1 0 1 0 0,-1 0-1 0 0,0 0 0 0 0,-4-6 0 0 0,5 8-22 0 0,-2 3-29 0 0,2-1-14 0 0,0 0-1 0 0,0 0 1 0 0,-1 0 0 0 0,1 0 0 0 0,0 1 0 0 0,0-1 0 0 0,0 0 0 0 0,0 1 0 0 0,0-1 0 0 0,0 1 0 0 0,0-1-1 0 0,0 1 1 0 0,0 0 0 0 0,0-1 0 0 0,0 1 0 0 0,0 0 0 0 0,0 0 0 0 0,0 0 0 0 0,0-1 0 0 0,1 1 0 0 0,-1 0-1 0 0,0 0 1 0 0,1 0 0 0 0,-1 0 0 0 0,1 1 0 0 0,-1-1 0 0 0,1 0 0 0 0,-1 0 0 0 0,1 0 0 0 0,0 0 0 0 0,-1 0-1 0 0,1 2 1 0 0,0 1 35 0 0,0 0 0 0 0,0 0 0 0 0,1 0 0 0 0,-1-1-1 0 0,1 1 1 0 0,0 0 0 0 0,0 0 0 0 0,0 0-1 0 0,1-1 1 0 0,-1 1 0 0 0,1-1 0 0 0,0 1 0 0 0,0-1-1 0 0,0 0 1 0 0,0 0 0 0 0,1 0 0 0 0,-1 0 0 0 0,1 0-1 0 0,0 0 1 0 0,0 0 0 0 0,0-1 0 0 0,0 0-1 0 0,0 0 1 0 0,0 1 0 0 0,1-2 0 0 0,-1 1 0 0 0,1 0-1 0 0,0-1 1 0 0,-1 0 0 0 0,1 1 0 0 0,0-2 0 0 0,0 1-1 0 0,4 0 1 0 0,-2 0-24 0 0,0-1 0 0 0,0 0 0 0 0,0 0-1 0 0,0 0 1 0 0,0-1 0 0 0,-1 0 0 0 0,1 0 0 0 0,0-1 0 0 0,0 1-1 0 0,-1-1 1 0 0,1 0 0 0 0,-1-1 0 0 0,0 0 0 0 0,0 1 0 0 0,0-2-1 0 0,0 1 1 0 0,0 0 0 0 0,0-1 0 0 0,-1 0 0 0 0,0 0 0 0 0,0-1-1 0 0,0 1 1 0 0,0-1 0 0 0,-1 0 0 0 0,1 1 0 0 0,-1-2 0 0 0,-1 1-1 0 0,5-10 1 0 0,-3 3 251 0 0,-1-1 0 0 0,0 1-1 0 0,-1-1 1 0 0,0 0 0 0 0,0-18-1 0 0,-4 42-286 0 0,2-10 27 0 0,0 0-1 0 0,0 0 1 0 0,-1 0-1 0 0,1 0 1 0 0,0 0-1 0 0,0 0 1 0 0,0 0-1 0 0,0 0 1 0 0,0 0-1 0 0,0 0 1 0 0,0 0-1 0 0,0 0 1 0 0,1 0-1 0 0,-1 0 1 0 0,0 0-1 0 0,1 0 1 0 0,-1 0-1 0 0,0 0 1 0 0,1 0-1 0 0,-1 0 1 0 0,1 0-1 0 0,0 0 1 0 0,3 4 11 0 0,0 0 0 0 0,-1-1 0 0 0,2 1 0 0 0,-1-1-1 0 0,0 0 1 0 0,1-1 0 0 0,0 1 0 0 0,-1-1 0 0 0,1 0 0 0 0,8 4 0 0 0,2-1 65 0 0,0-1 0 0 0,22 5-1 0 0,-20-6-20 0 0,-13-4-50 0 0,1 0-1 0 0,0-1 0 0 0,-1 1 0 0 0,1-1 0 0 0,-1 0 1 0 0,1 0-1 0 0,-1 0 0 0 0,1-1 0 0 0,-1 1 0 0 0,0-1 1 0 0,0 0-1 0 0,0-1 0 0 0,0 1 0 0 0,0-1 1 0 0,0 0-1 0 0,0 1 0 0 0,-1-2 0 0 0,4-3 0 0 0,-3 0-8 0 0,0 1 0 0 0,-1-1 0 0 0,0 0 0 0 0,-1 0 0 0 0,0 0-1 0 0,0-1 1 0 0,0 1 0 0 0,-1-1 0 0 0,1-13 0 0 0,-2 20-1 0 0,0 0-1 0 0,0 1 1 0 0,0-1 0 0 0,0 0 0 0 0,0 1-1 0 0,1-1 1 0 0,-1 1 0 0 0,0-1 0 0 0,0 0 0 0 0,-1 1-1 0 0,1-1 1 0 0,0 0 0 0 0,0 1 0 0 0,0-1-1 0 0,0 1 1 0 0,0-1 0 0 0,-1 0 0 0 0,1 1-1 0 0,0-1 1 0 0,0 1 0 0 0,-1-1 0 0 0,0 0-1 0 0,-7 2-18 0 0,7-1 20 0 0,0 1-1 0 0,0 1 0 0 0,0-1 0 0 0,1 1 1 0 0,-1 0-1 0 0,0-1 0 0 0,1 1 0 0 0,-1 0 0 0 0,1-1 1 0 0,-1 1-1 0 0,1 0 0 0 0,0 0 0 0 0,0-1 0 0 0,0 4 1 0 0,-1-4 0 0 0,1 7 17 0 0,0 0 0 0 0,1-1 0 0 0,-1 1 0 0 0,2-1 0 0 0,-1 1 0 0 0,1-1 0 0 0,3 11 0 0 0,24 51-3074 0 0,-21-50 252 0 0,-2-7-450 0 0</inkml:trace>
</inkml:ink>
</file>

<file path=ppt/ink/ink3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3.14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26 136 0 0,'3'-1'277'0'0,"-1"0"1"0"0,1 0-1 0 0,0 0 0 0 0,0 0 1 0 0,0 0-1 0 0,0 0 1 0 0,-1 1-1 0 0,1-1 0 0 0,0 1 1 0 0,0 0-1 0 0,0 0 0 0 0,0 0 1 0 0,0 0-1 0 0,0 1 1 0 0,0-1-1 0 0,5 2 0 0 0,-3 0-72 0 0,0 0 0 0 0,-1 0 1 0 0,1 0-1 0 0,-1 1 0 0 0,1 0 0 0 0,-1 0 0 0 0,0 0 0 0 0,0 0 0 0 0,4 5 0 0 0,-1-1-98 0 0,-1 0 1 0 0,0 1-1 0 0,-1 0 0 0 0,1 0 0 0 0,-1 0 0 0 0,-1 1 1 0 0,0-1-1 0 0,0 1 0 0 0,0 0 0 0 0,1 10 0 0 0,-2-7-24 0 0,-1-6-34 0 0,-1-1 0 0 0,0 1 0 0 0,-1 0 0 0 0,1-1 0 0 0,-1 1 0 0 0,0 0 0 0 0,-1-1-1 0 0,1 1 1 0 0,-3 7 0 0 0,4-13-46 0 0,-1 0-1 0 0,0 0 1 0 0,0 1-1 0 0,0-1 1 0 0,0 0-1 0 0,0 0 0 0 0,0 1 1 0 0,0-1-1 0 0,0 0 1 0 0,0 0-1 0 0,0 1 0 0 0,0-1 1 0 0,0 0-1 0 0,0 0 1 0 0,0 1-1 0 0,0-1 1 0 0,-1 0-1 0 0,1 0 0 0 0,0 1 1 0 0,0-1-1 0 0,0 0 1 0 0,0 0-1 0 0,0 0 1 0 0,0 1-1 0 0,-1-1 0 0 0,1 0 1 0 0,0 0-1 0 0,0 0 1 0 0,0 0-1 0 0,0 1 0 0 0,-1-1 1 0 0,1 0-1 0 0,0 0 1 0 0,0 0-1 0 0,-1 0 1 0 0,1 0-1 0 0,0 0 0 0 0,0 0 1 0 0,-1 1-1 0 0,1-1 1 0 0,0 0-1 0 0,0 0 0 0 0,0 0 1 0 0,-1 0-1 0 0,1-1 1 0 0,-1 1 0 0 0,1-1-1 0 0,0 0 1 0 0,0 1 0 0 0,0-1 0 0 0,-1 1-1 0 0,1-1 1 0 0,0 0 0 0 0,0 1-1 0 0,0-1 1 0 0,0 0 0 0 0,0 1 0 0 0,0-1-1 0 0,0 1 1 0 0,1-1 0 0 0,-1 0 0 0 0,0 1-1 0 0,0-1 1 0 0,0 0 0 0 0,1 1-1 0 0,-1-1 1 0 0,5-10-6 0 0,0 1 0 0 0,1 0 0 0 0,0 1 0 0 0,0-1-1 0 0,1 1 1 0 0,0 0 0 0 0,12-11 0 0 0,68-57-39 0 0,-52 48 31 0 0,-3 2 20 0 0,-10 10 109 0 0,-2 0 0 0 0,0-2 1 0 0,-1 0-1 0 0,21-29 0 0 0,-39 48-112 0 0,-1-1 0 0 0,1 1 0 0 0,-1 0 0 0 0,1-1 0 0 0,-1 1 0 0 0,0-1 0 0 0,1 1 0 0 0,-1-1 0 0 0,0 0 0 0 0,1 1 0 0 0,-1-1 0 0 0,0 1 0 0 0,0-1 0 0 0,0 0 0 0 0,0 1 0 0 0,1-1 0 0 0,-1 1 0 0 0,0-1 0 0 0,0 0 0 0 0,0 1 0 0 0,0-1 0 0 0,0 0 0 0 0,0 1 0 0 0,-1-1-1 0 0,1 1 1 0 0,0-1 0 0 0,0 0 0 0 0,-1 0-4 0 0,0 1-1 0 0,1 0 1 0 0,-1-1-1 0 0,0 1 0 0 0,0 0 1 0 0,1 0-1 0 0,-1 0 0 0 0,0 0 1 0 0,0-1-1 0 0,0 1 1 0 0,1 0-1 0 0,-1 0 0 0 0,0 1 1 0 0,0-1-1 0 0,1 0 0 0 0,-1 0 1 0 0,-1 1-1 0 0,-35 12-55 0 0,29-9 44 0 0,0 0 1 0 0,0 1-1 0 0,0 0 1 0 0,1 0 0 0 0,0 1-1 0 0,0 0 1 0 0,0 0 0 0 0,1 1-1 0 0,0 0 1 0 0,0 0-1 0 0,0 0 1 0 0,1 1 0 0 0,0 0-1 0 0,-4 10 1 0 0,8-17 14 0 0,0 0 0 0 0,1 1 0 0 0,-1-1 0 0 0,1 1 0 0 0,-1-1 0 0 0,1 1 0 0 0,0-1 0 0 0,0 1 0 0 0,0-1 0 0 0,-1 1 0 0 0,1-1 0 0 0,1 1 0 0 0,-1 0 0 0 0,0-1 0 0 0,0 1 0 0 0,1-1 0 0 0,-1 1-1 0 0,0-1 1 0 0,1 0 0 0 0,-1 1 0 0 0,1-1 0 0 0,0 1 0 0 0,0-1 0 0 0,-1 0 0 0 0,1 1 0 0 0,0-1 0 0 0,0 0 0 0 0,0 0 0 0 0,0 0 0 0 0,1 0 0 0 0,-1 0 0 0 0,0 0 0 0 0,0 0 0 0 0,1 0 0 0 0,-1 0 0 0 0,0-1 0 0 0,1 1 0 0 0,-1 0 0 0 0,1-1 0 0 0,-1 1 0 0 0,0-1 0 0 0,1 0 0 0 0,0 1 0 0 0,-1-1 0 0 0,4 0 0 0 0,0 1-95 0 0,1-1 0 0 0,0 0 0 0 0,-1 0 0 0 0,1 0 1 0 0,0 0-1 0 0,0-1 0 0 0,-1 0 0 0 0,1 0 0 0 0,-1-1 0 0 0,1 0 0 0 0,7-3 0 0 0,-8 2-28 0 0,0 0 0 0 0,1-1 0 0 0,-1 0 0 0 0,-1 0 0 0 0,1 0 0 0 0,-1 0 0 0 0,1-1 0 0 0,-1 0 0 0 0,-1 0 0 0 0,1 0 0 0 0,-1 0 0 0 0,0-1 0 0 0,0 1 0 0 0,0-1 0 0 0,-1 0 0 0 0,0 1 0 0 0,0-1 0 0 0,2-9 0 0 0,-4 15 127 0 0,0 0 1 0 0,0-1-1 0 0,0 1 0 0 0,1 0 1 0 0,-1 0-1 0 0,0 0 0 0 0,0-1 0 0 0,0 1 1 0 0,0 0-1 0 0,0 0 0 0 0,0-1 0 0 0,0 1 1 0 0,0 0-1 0 0,0 0 0 0 0,0-1 0 0 0,0 1 1 0 0,0 0-1 0 0,0 0 0 0 0,0-1 0 0 0,0 1 1 0 0,0 0-1 0 0,0 0 0 0 0,0-1 0 0 0,0 1 1 0 0,0 0-1 0 0,0 0 0 0 0,0 0 0 0 0,0-1 1 0 0,0 1-1 0 0,-1 0 0 0 0,1 0 0 0 0,0 0 1 0 0,0-1-1 0 0,0 1 0 0 0,0 0 0 0 0,-1 0 1 0 0,1 0-1 0 0,0 0 0 0 0,0-1 1 0 0,0 1-1 0 0,-1 0 0 0 0,1 0 0 0 0,0 0 1 0 0,0 0-1 0 0,0 0 0 0 0,-1 0 0 0 0,1 0 1 0 0,0 0-1 0 0,0 0 0 0 0,-1-1 0 0 0,1 1 1 0 0,0 0-1 0 0,0 0 0 0 0,-1 0 0 0 0,1 0 1 0 0,0 0-1 0 0,0 1 0 0 0,-1-1 0 0 0,1 0 1 0 0,0 0-1 0 0,0 0 0 0 0,0 0 0 0 0,-1 0 1 0 0,1 0-1 0 0,0 0 0 0 0,-1 1 0 0 0,1-1 31 0 0,-1 0-1 0 0,1 1 0 0 0,-1-1 1 0 0,1 1-1 0 0,-1-1 0 0 0,1 1 1 0 0,-1-1-1 0 0,1 1 0 0 0,-1 0 0 0 0,1-1 1 0 0,-1 1-1 0 0,1-1 0 0 0,0 1 1 0 0,0 0-1 0 0,-1-1 0 0 0,1 1 1 0 0,0 0-1 0 0,0-1 0 0 0,0 1 0 0 0,0 0 1 0 0,-1 0-1 0 0,1 0 0 0 0,1 2 26 0 0,0 0-1 0 0,-1 0 1 0 0,1-1 0 0 0,0 1-1 0 0,0 0 1 0 0,1-1-1 0 0,-1 1 1 0 0,0-1-1 0 0,1 0 1 0 0,0 1-1 0 0,-1-1 1 0 0,1 0-1 0 0,0 0 1 0 0,0 0-1 0 0,0 0 1 0 0,0 0-1 0 0,1-1 1 0 0,-1 1-1 0 0,0-1 1 0 0,1 1 0 0 0,-1-1-1 0 0,1 0 1 0 0,0 0-1 0 0,-1 0 1 0 0,1 0-1 0 0,0 0 1 0 0,-1-1-1 0 0,1 1 1 0 0,0-1-1 0 0,4 0 1 0 0,-1 1-26 0 0,0-2 0 0 0,1 1 0 0 0,-1-1 0 0 0,0 1 0 0 0,0-2 0 0 0,1 1 0 0 0,-1-1 0 0 0,0 0 0 0 0,-1 0 0 0 0,1-1 0 0 0,0 1 0 0 0,-1-1 0 0 0,8-5 0 0 0,-8 4-60 0 0,0 0-1 0 0,0-1 1 0 0,-1 1-1 0 0,1-1 1 0 0,-1 0-1 0 0,0-1 1 0 0,0 1-1 0 0,-1 0 1 0 0,0-1-1 0 0,0 0 1 0 0,0 0-1 0 0,-1 0 1 0 0,3-6 0 0 0,-2-2-29 0 0,0 0 1 0 0,-1 0 0 0 0,0 0 0 0 0,-1-26 0 0 0,-1 23 461 0 0,1-1-1 0 0,4-17 0 0 0,-5 33 88 0 0,0 2-481 0 0,0-1 0 0 0,0 1 0 0 0,1 0-1 0 0,-1 0 1 0 0,0 0 0 0 0,0-1 0 0 0,0 1 0 0 0,0 0 0 0 0,0 0-1 0 0,0-1 1 0 0,0 1 0 0 0,0 0 0 0 0,0 0 0 0 0,0-1-1 0 0,0 1 1 0 0,0 0 0 0 0,0 0 0 0 0,0-1 0 0 0,0 1 0 0 0,-1 0-1 0 0,1 0 1 0 0,0-1 0 0 0,0 1 0 0 0,0 0 0 0 0,0 0 0 0 0,0 0-1 0 0,0-1 1 0 0,-1 1 0 0 0,1 0 0 0 0,0 0 0 0 0,-3 4-12 0 0,0 1 1 0 0,1-1-1 0 0,0 1 1 0 0,0 0-1 0 0,0-1 1 0 0,1 1-1 0 0,-1 0 1 0 0,1 0-1 0 0,0 0 1 0 0,1 0-1 0 0,-1 1 1 0 0,1-1-1 0 0,0 0 1 0 0,0 0-1 0 0,1 0 1 0 0,0 0-1 0 0,-1 0 1 0 0,2 0-1 0 0,-1 0 1 0 0,1 0-1 0 0,-1 0 1 0 0,1 0-1 0 0,4 6 1 0 0,-3-4-194 0 0,1 0 1 0 0,1 0 0 0 0,-1 0-1 0 0,1 0 1 0 0,1-1 0 0 0,-1 1 0 0 0,1-1-1 0 0,0-1 1 0 0,0 1 0 0 0,1-1-1 0 0,0 0 1 0 0,-1 0 0 0 0,15 6 0 0 0,-15-9-323 0 0,0-1 0 0 0,-1 1 1 0 0,1-1-1 0 0,0 0 0 0 0,0-1 1 0 0,0 0-1 0 0,0 0 0 0 0,-1 0 1 0 0,1 0-1 0 0,10-3 0 0 0,0 0-1099 0 0</inkml:trace>
</inkml:ink>
</file>

<file path=ppt/ink/ink3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3.5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 142 968 0 0,'1'-2'340'0'0,"1"0"-1"0"0,-1 0 0 0 0,0 0 1 0 0,0-1-1 0 0,0 1 1 0 0,0 0-1 0 0,0-1 1 0 0,-1 1-1 0 0,1-1 0 0 0,-1 1 1 0 0,0 0-1 0 0,1-1 1 0 0,-1 1-1 0 0,0-1 1 0 0,-1 1-1 0 0,1-1 0 0 0,0 1 1 0 0,-2-5-1 0 0,2 6 74 0 0,0 0-351 0 0,0 1 0 0 0,-1-1 0 0 0,1 1 0 0 0,0-1 0 0 0,-1 1 0 0 0,1-1 0 0 0,-1 1 0 0 0,1 0 0 0 0,0-1 0 0 0,-1 1 0 0 0,1-1 1 0 0,-1 1-1 0 0,1 0 0 0 0,-1-1 0 0 0,1 1 0 0 0,-1 0 0 0 0,0 0 0 0 0,1 0 0 0 0,-2-1 0 0 0,2 1-36 0 0,-1 1 1 0 0,1-1 0 0 0,0 0-1 0 0,-1 1 1 0 0,1-1 0 0 0,-1 0-1 0 0,1 1 1 0 0,0-1-1 0 0,-1 1 1 0 0,1-1 0 0 0,0 0-1 0 0,-1 1 1 0 0,1-1 0 0 0,0 1-1 0 0,-1-1 1 0 0,1 1-1 0 0,0-1 1 0 0,0 1 0 0 0,0-1-1 0 0,0 1 1 0 0,0-1-1 0 0,0 1 1 0 0,-1 0 0 0 0,1-1-1 0 0,0 1 1 0 0,0-1 0 0 0,1 1-1 0 0,-1-1 1 0 0,0 1-1 0 0,0 0 1 0 0,1 0 12 0 0,-1 1 0 0 0,1-1-1 0 0,0 0 1 0 0,0 0 0 0 0,0 0 0 0 0,0 0-1 0 0,0 0 1 0 0,0 0 0 0 0,0 0 0 0 0,0 0-1 0 0,2 1 1 0 0,2 1 4 0 0,-1-1 1 0 0,1 1-1 0 0,-1-1 0 0 0,1 0 0 0 0,0-1 1 0 0,0 1-1 0 0,6 0 0 0 0,-3-1-159 0 0,0 0 0 0 0,1 0 1 0 0,-1-1-1 0 0,0 0 0 0 0,0-1 0 0 0,0 0 1 0 0,0 0-1 0 0,0-1 0 0 0,0 0 0 0 0,0 0 0 0 0,0-1 1 0 0,0 0-1 0 0,-1 0 0 0 0,0-1 0 0 0,1 0 1 0 0,-1 0-1 0 0,-1-1 0 0 0,1 0 0 0 0,-1 0 0 0 0,1 0 1 0 0,-2-1-1 0 0,11-11 0 0 0,19-40-1345 0 0,-34 54 1307 0 0,0 4 71 0 0,0-1 121 0 0,0 1 0 0 0,-1 0 1 0 0,1 0-1 0 0,0 0 0 0 0,-1-1 0 0 0,1 1 0 0 0,0 0 0 0 0,-1 0 0 0 0,1 0 1 0 0,-1 0-1 0 0,1 0 0 0 0,-1 0 0 0 0,0 0 0 0 0,1 0 0 0 0,-1 0 1 0 0,0 2-1 0 0,3 24 657 0 0,-2-12-306 0 0,46 299 3028 0 0,-44-289-3125 0 0,-2-1 1 0 0,-2 34-1 0 0,0-49-166 0 0,0 1 0 0 0,0 0-1 0 0,-1 0 1 0 0,-1-1 0 0 0,1 1 0 0 0,-1-1 0 0 0,-1 1-1 0 0,-7 13 1 0 0,10-21-97 0 0,0-1 1 0 0,0 1-1 0 0,0 0 0 0 0,0-1 0 0 0,-1 1 1 0 0,1 0-1 0 0,0-1 0 0 0,-1 0 0 0 0,1 1 0 0 0,-1-1 1 0 0,1 0-1 0 0,-1 0 0 0 0,0 0 0 0 0,1 0 0 0 0,-1 0 1 0 0,0 0-1 0 0,0 0 0 0 0,0-1 0 0 0,0 1 1 0 0,0 0-1 0 0,0-1 0 0 0,0 0 0 0 0,0 1 0 0 0,1-1 1 0 0,-1 0-1 0 0,-3 0 0 0 0,2-1-23 0 0,1 0 1 0 0,-1 0-1 0 0,1 0 1 0 0,-1 0-1 0 0,1-1 1 0 0,0 1-1 0 0,-1-1 0 0 0,1 1 1 0 0,0-1-1 0 0,0 0 1 0 0,0 0-1 0 0,0 0 0 0 0,0 0 1 0 0,0 0-1 0 0,1 0 1 0 0,-1 0-1 0 0,1-1 1 0 0,-3-3-1 0 0,-2-10-144 0 0,0-1 1 0 0,1 1-1 0 0,0-1 0 0 0,2 0 0 0 0,0 0 1 0 0,0 0-1 0 0,2 0 0 0 0,0 0 0 0 0,1 0 1 0 0,1-1-1 0 0,4-22 0 0 0,-4 30-242 0 0,2-1-1 0 0,-1 1 0 0 0,1 0 1 0 0,5-12-1 0 0,-5 17-416 0 0,0 0 0 0 0,-1 0 0 0 0,2 0 0 0 0,-1 0 0 0 0,6-5 1 0 0,1 0-2879 0 0</inkml:trace>
</inkml:ink>
</file>

<file path=ppt/ink/ink3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02.1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5 102 788 0 0,'-8'-13'2941'0'0,"-27"-61"2932"0"0,34 73-5681 0 0,1 0-163 0 0,0 0 0 0 0,0 0 0 0 0,0 0 0 0 0,0 0 0 0 0,-1 1 0 0 0,1-1 1 0 0,0 0-1 0 0,-1 0 0 0 0,1 1 0 0 0,0-1 0 0 0,-1 0 0 0 0,1 0 0 0 0,-1 1 0 0 0,1-1 1 0 0,-2-1-1 0 0,-2 2 186 0 0,3 9-102 0 0,22 117 455 0 0,-8-12-413 0 0,43 426 753 0 0,66 721 470 0 0,-39-682-1047 0 0,-21-174-114 0 0,21 428 69 0 0,-81-784-250 0 0,-1 252 38 0 0,-7-223-152 0 0,-29 248-34 0 0,34-320 104 0 0,-1 3 14 0 0,0 0 1 0 0,1 1 0 0 0,0-1-1 0 0,1 14 1 0 0,0-21-2 0 0,0 0 0 0 0,0 0 0 0 0,1 0 0 0 0,-1-1 0 0 0,0 1 0 0 0,1 0-1 0 0,0 0 1 0 0,-1 0 0 0 0,1-1 0 0 0,0 1 0 0 0,0 0 0 0 0,0-1 0 0 0,0 1 0 0 0,0 0 0 0 0,0-1 0 0 0,0 0 0 0 0,1 1 0 0 0,-1-1 0 0 0,0 0 0 0 0,1 1 0 0 0,-1-1 0 0 0,1 0 0 0 0,0 0 0 0 0,-1 0 0 0 0,1 0-1 0 0,0-1 1 0 0,0 1 0 0 0,2 0 0 0 0,9 2 12 0 0,0-1 0 0 0,0-1 0 0 0,0 0-1 0 0,26-1 1 0 0,55-11 46 0 0,-72 8-43 0 0,1314-220 2010 0 0,-1210 201-1973 0 0,944-179 1086 0 0,-594 103-355 0 0,-129 25-228 0 0,1225-267 921 0 0,-1475 311-4619 0 0,-95 28 2416 0 0,0 0 0 0 0,0 0 1 0 0,0 0-1 0 0,0 0 0 0 0,0 0 1 0 0,-1-1-1 0 0,1 1 0 0 0,3-4 0 0 0</inkml:trace>
</inkml:ink>
</file>

<file path=ppt/ink/ink3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02.9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7 226 1736 0 0,'-104'13'11825'0'0,"100"-12"-10611"0"0,0-1-200 0 0,4 0-942 0 0,-1 0 0 0 0,1 0 0 0 0,-1 0-1 0 0,0 0 1 0 0,1 0 0 0 0,-1 0-1 0 0,1 0 1 0 0,-1 0 0 0 0,0 0 0 0 0,1 0-1 0 0,-1-1 1 0 0,1 1 0 0 0,-1 0-1 0 0,1 0 1 0 0,-1 0 0 0 0,1-1-1 0 0,-1 1 1 0 0,1 0 0 0 0,-1-1 0 0 0,1 1-1 0 0,-1 0 1 0 0,1-1 0 0 0,-1 1-1 0 0,1-1 1 0 0,-1 0 0 0 0,1 0-28 0 0,0 1 0 0 0,1-1 0 0 0,-1 0-1 0 0,0 1 1 0 0,1-1 0 0 0,-1 0 0 0 0,1 1 0 0 0,-1-1 0 0 0,1 1 0 0 0,-1-1 0 0 0,1 1 0 0 0,-1-1 0 0 0,1 1-1 0 0,0 0 1 0 0,-1-1 0 0 0,1 1 0 0 0,1-1 0 0 0,40-18 461 0 0,-39 17-404 0 0,333-114 834 0 0,-189 73-3911 0 0,-34 9-2975 0 0,-91 28 2303 0 0,-3 3-1358 0 0</inkml:trace>
</inkml:ink>
</file>

<file path=ppt/ink/ink3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03.2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134 356 0 0,'-31'41'8405'0'0,"31"-40"-8338"0"0,0-1 0 0 0,0 0 1 0 0,0 0-1 0 0,0 1 0 0 0,0-1 1 0 0,1 0-1 0 0,-1 1 0 0 0,0-1 0 0 0,0 0 1 0 0,0 1-1 0 0,0-1 0 0 0,1 0 1 0 0,-1 0-1 0 0,0 1 0 0 0,0-1 1 0 0,0 0-1 0 0,1 0 0 0 0,-1 0 0 0 0,0 1 1 0 0,0-1-1 0 0,1 0 0 0 0,-1 0 1 0 0,0 0-1 0 0,1 0 0 0 0,-1 1 1 0 0,0-1-1 0 0,1 0 0 0 0,-1 0 0 0 0,0 0 1 0 0,0 0-1 0 0,1 0 0 0 0,-1 0 1 0 0,0 0-1 0 0,1 0 0 0 0,-1 0 0 0 0,0 0 1 0 0,1 0-1 0 0,-1 0 0 0 0,0 0 1 0 0,1 0-1 0 0,-1 0 0 0 0,1-1 1 0 0,17 0 794 0 0,-17 1-795 0 0,25-7 686 0 0,1-1 1 0 0,44-20 0 0 0,-38 14-484 0 0,1 0-371 0 0,60-25-347 0 0,-81 32-1109 0 0,-1 0 0 0 0,0 0 0 0 0,0-1 0 0 0,20-18 0 0 0,-19 12-2820 0 0</inkml:trace>
</inkml:ink>
</file>

<file path=ppt/ink/ink3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03.6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0 75 1220 0 0,'-65'-35'7456'0'0,"62"34"-6300"0"0,3 1-1102 0 0,0 0 1 0 0,0 1-1 0 0,0-1 1 0 0,-1 0 0 0 0,1 0-1 0 0,0 0 1 0 0,0 0 0 0 0,0 1-1 0 0,0-1 1 0 0,0 0-1 0 0,-1 0 1 0 0,1 0 0 0 0,0 0-1 0 0,0 1 1 0 0,0-1-1 0 0,-1 0 1 0 0,1 0 0 0 0,0 0-1 0 0,0 0 1 0 0,0 0 0 0 0,-1 0-1 0 0,1 0 1 0 0,0 0-1 0 0,0 0 1 0 0,-1 0 0 0 0,1 0-1 0 0,0 0 1 0 0,0 0 0 0 0,-1 0-1 0 0,1 0 1 0 0,0 0-1 0 0,-1 0 1 0 0,1 0-3 0 0,0 0 0 0 0,-1 0 0 0 0,1 0 0 0 0,-1 0 0 0 0,1 0 0 0 0,-1 0 0 0 0,1 0 0 0 0,-1 0 0 0 0,1 0 0 0 0,-1 0-1 0 0,1 1 1 0 0,-1-1 0 0 0,1 0 0 0 0,0 0 0 0 0,-1 0 0 0 0,1 1 0 0 0,-1-1 0 0 0,1 0 0 0 0,0 0 0 0 0,-1 1 0 0 0,1-1 0 0 0,0 0 0 0 0,-1 1 0 0 0,1-1 0 0 0,0 1 0 0 0,-1-1 0 0 0,1 0 0 0 0,0 1 0 0 0,0-1 0 0 0,-1 1 0 0 0,0 10 439 0 0,0-1 1 0 0,0 1 0 0 0,1-1 0 0 0,1 1 0 0 0,0-1-1 0 0,0 1 1 0 0,1-1 0 0 0,5 17 0 0 0,33 84 474 0 0,-24-73-663 0 0,45 104-100 0 0,-6-17-6559 0 0,-54-122 5763 0 0,0 0 96 0 0</inkml:trace>
  <inkml:trace contextRef="#ctx0" brushRef="#br0" timeOffset="1">108 28 1116 0 0,'1'-2'514'0'0,"-1"-1"0"0"0,1 1 0 0 0,0-1 0 0 0,0 1 0 0 0,0 0 0 0 0,0-1 0 0 0,0 1 0 0 0,1 0 0 0 0,1-2-1 0 0,-3 3-398 0 0,1 1-1 0 0,-1 0 1 0 0,0 0-1 0 0,1 0 1 0 0,-1-1-1 0 0,0 1 1 0 0,1 0-1 0 0,-1 0 1 0 0,0 0-1 0 0,1 0 1 0 0,-1 0-1 0 0,0 0 1 0 0,1 0-1 0 0,-1 0 1 0 0,0 0-1 0 0,1 0 0 0 0,-1 0 1 0 0,0 0-1 0 0,1 0 1 0 0,-1 0-1 0 0,0 0 1 0 0,1 0-1 0 0,-1 0 1 0 0,0 0-1 0 0,1 1 1 0 0,12 11 1227 0 0,3 13 300 0 0,-1 1 1 0 0,-1 0-1 0 0,20 53 0 0 0,-31-71-1472 0 0,59 142 1641 0 0,6 11-2193 0 0,-28-52-5574 0 0,-37-104 5328 0 0,-1 0-495 0 0,3 14-7508 0 0</inkml:trace>
</inkml:ink>
</file>

<file path=ppt/ink/ink3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04.42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 27 896 0 0,'0'3'3406'0'0,"-2"7"-2300"0"0,2 1 0 0 0,0 0 0 0 0,0 0 0 0 0,1 0 0 0 0,0 0 0 0 0,5 21 0 0 0,-1-17-371 0 0,0 0 0 0 0,1 0 0 0 0,0 0 0 0 0,12 19 0 0 0,-8-18-500 0 0,0-2 0 0 0,1 1 0 0 0,0-1 0 0 0,1-1 0 0 0,0 0 0 0 0,1 0 0 0 0,1-2 0 0 0,0 0 0 0 0,21 13 0 0 0,-32-22-212 0 0,1 0 1 0 0,0 0-1 0 0,0 0 1 0 0,-1 0-1 0 0,1-1 1 0 0,0 0-1 0 0,0 0 1 0 0,0 0-1 0 0,1 0 1 0 0,-1-1-1 0 0,0 1 1 0 0,0-1-1 0 0,0 0 1 0 0,0-1-1 0 0,5 0 1 0 0,-6 0-32 0 0,0 0 0 0 0,0 0 0 0 0,-1 0 1 0 0,1 0-1 0 0,0 0 0 0 0,-1-1 0 0 0,1 0 0 0 0,-1 1 0 0 0,0-1 1 0 0,1 0-1 0 0,-1 0 0 0 0,0 0 0 0 0,0 0 0 0 0,-1-1 1 0 0,1 1-1 0 0,0 0 0 0 0,-1-1 0 0 0,1 0 0 0 0,-1 1 1 0 0,0-1-1 0 0,2-4 0 0 0,0-4-65 0 0,0 0 0 0 0,-1 0 0 0 0,0 0-1 0 0,1-20 1 0 0,2-14-171 0 0,-5 43 225 0 0,0 0-11 0 0,0 2 29 0 0,0-1 1 0 0,0 1 0 0 0,0 0-1 0 0,0 0 1 0 0,0 0 0 0 0,-1-1-1 0 0,1 1 1 0 0,0 0-1 0 0,0 0 1 0 0,0 0 0 0 0,0 0-1 0 0,0-1 1 0 0,0 1 0 0 0,0 0-1 0 0,0 0 1 0 0,0 0 0 0 0,0-1-1 0 0,0 1 1 0 0,0 0 0 0 0,1 0-1 0 0,-1 0 1 0 0,0 0 0 0 0,0-1-1 0 0,0 1 1 0 0,0 0 0 0 0,0 0-1 0 0,0 0 1 0 0,0 0-1 0 0,0-1 1 0 0,1 1 0 0 0,-1 0-1 0 0,0 0 1 0 0,0 0 0 0 0,0 0-1 0 0,0 0 1 0 0,0 0 0 0 0,1-1-1 0 0,-1 1 1 0 0,0 0 0 0 0,0 0-1 0 0,0 0 1 0 0,0 0 0 0 0,1 0-1 0 0,59 8 309 0 0,-57-7-100 0 0,1-1 50 0 0,-1 0-151 0 0,-1 0 1 0 0,1 0 0 0 0,0 0-1 0 0,-1 0 1 0 0,1-1-1 0 0,0 1 1 0 0,-1-1 0 0 0,1 0-1 0 0,-1 0 1 0 0,1 0 0 0 0,-1 0-1 0 0,1 0 1 0 0,-1 0-1 0 0,0 0 1 0 0,0-1 0 0 0,1 1-1 0 0,-1-1 1 0 0,0 0 0 0 0,0 0-1 0 0,2-2 1 0 0,-4 3-80 0 0,1-1-1 0 0,-1 1 1 0 0,1-1-1 0 0,-1 1 1 0 0,0-1 0 0 0,0 1-1 0 0,1-1 1 0 0,-1 1 0 0 0,0-1-1 0 0,0 1 1 0 0,-1-1 0 0 0,1 0-1 0 0,0 1 1 0 0,0-1 0 0 0,-1 1-1 0 0,1-1 1 0 0,-1 1 0 0 0,1 0-1 0 0,-1-1 1 0 0,-1-2 0 0 0,-18-29 220 0 0,18 30-223 0 0,-6-8-176 0 0,0 1 0 0 0,0 1 0 0 0,-1 0 0 0 0,0 0 1 0 0,-1 0-1 0 0,0 1 0 0 0,0 1 0 0 0,-12-7 0 0 0,11 7-1578 0 0,-1 2 0 0 0,1-1 0 0 0,-1 1 1 0 0,-18-4-1 0 0</inkml:trace>
</inkml:ink>
</file>

<file path=ppt/ink/ink3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05.2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0 61 932 0 0,'1'-1'238'0'0,"0"1"-1"0"0,0-1 1 0 0,0 0-1 0 0,0 1 1 0 0,0-1-1 0 0,0 0 1 0 0,0 0-1 0 0,0 1 1 0 0,-1-1-1 0 0,1 0 1 0 0,0 0-1 0 0,-1 0 1 0 0,1 0-1 0 0,0 0 1 0 0,-1 0-1 0 0,1 0 1 0 0,-1-1-1 0 0,1 1 1 0 0,-1 0 0 0 0,0 0-1 0 0,0 0 1 0 0,1 0-1 0 0,-1 0 1 0 0,0-1-1 0 0,0 1 1 0 0,0 0-1 0 0,0 0 1 0 0,0 0-1 0 0,-1-1 1 0 0,1 1-1 0 0,0-1 1 0 0,-1 1-96 0 0,0 1 0 0 0,0-1 0 0 0,0 1 0 0 0,0-1 0 0 0,-1 1 0 0 0,1 0 0 0 0,0-1 0 0 0,0 1 0 0 0,0 0 0 0 0,0 0 0 0 0,0 0 0 0 0,0 0 0 0 0,0 0 0 0 0,-1 0 0 0 0,1 0 0 0 0,0 0 0 0 0,0 0 0 0 0,0 1 0 0 0,-2 0 0 0 0,-22 5 830 0 0,20-4-835 0 0,-1 1-1 0 0,1 0 1 0 0,0 0-1 0 0,0 0 0 0 0,0 0 1 0 0,0 1-1 0 0,1-1 1 0 0,0 1-1 0 0,-1 1 1 0 0,1-1-1 0 0,0 0 1 0 0,1 1-1 0 0,-1 0 1 0 0,1 0-1 0 0,0 0 1 0 0,1 0-1 0 0,-1 1 1 0 0,1-1-1 0 0,0 1 0 0 0,0-1 1 0 0,-2 13-1 0 0,4-16-106 0 0,0 1 0 0 0,0-1 0 0 0,1 1-1 0 0,-1 0 1 0 0,1-1 0 0 0,0 1 0 0 0,-1-1-1 0 0,1 1 1 0 0,0-1 0 0 0,1 1 0 0 0,-1-1-1 0 0,0 0 1 0 0,1 0 0 0 0,-1 0 0 0 0,1 1-1 0 0,3 2 1 0 0,-3-2-9 0 0,1-1-1 0 0,0 1 1 0 0,0 0-1 0 0,1-1 1 0 0,-1 0 0 0 0,0 0-1 0 0,1 0 1 0 0,0 0-1 0 0,-1 0 1 0 0,1-1 0 0 0,6 2-1 0 0,27 3 43 0 0,-32-7-57 0 0,-1 1-15 0 0,-1-1 0 0 0,1 1 0 0 0,0-1 1 0 0,-1 1-1 0 0,1-1 0 0 0,0 0 0 0 0,-1-1 1 0 0,1 1-1 0 0,-1-1 0 0 0,0 1 0 0 0,0-1 0 0 0,1 0 1 0 0,-1 0-1 0 0,0 0 0 0 0,3-4 0 0 0,2-2-30 0 0,-1 0-1 0 0,1-1 0 0 0,8-13 0 0 0,0 0-8 0 0,-15 21 432 0 0,0 4-173 0 0,0 1-130 0 0,0 1-1 0 0,0 0 1 0 0,1 0 0 0 0,0 0-1 0 0,0-1 1 0 0,0 1 0 0 0,0-1-1 0 0,1 0 1 0 0,0 1 0 0 0,0-1-1 0 0,0 0 1 0 0,0-1 0 0 0,1 1-1 0 0,-1-1 1 0 0,1 1-1 0 0,0-1 1 0 0,0 0 0 0 0,0 0-1 0 0,1-1 1 0 0,-1 1 0 0 0,0-1-1 0 0,10 3 1 0 0,-6-3-69 0 0,0 1 0 0 0,1-1 0 0 0,-1-1 0 0 0,1 0 0 0 0,0 0 0 0 0,-1-1 0 0 0,1 0 0 0 0,0 0 0 0 0,-1-1 1 0 0,1 0-1 0 0,0-1 0 0 0,-1 0 0 0 0,0 0 0 0 0,1-1 0 0 0,-1 0 0 0 0,9-5 0 0 0,-8 4-40 0 0,-1 0 0 0 0,1-1 0 0 0,-1 0 0 0 0,0-1 0 0 0,-1 0 0 0 0,1 0 0 0 0,-1 0 0 0 0,0-1 0 0 0,-1 0 0 0 0,0-1 0 0 0,0 1 0 0 0,0-1 0 0 0,-1 0 0 0 0,6-14 0 0 0,-8 14 75 0 0,0 0 0 0 0,0-1 0 0 0,-1 0 1 0 0,-1 0-1 0 0,0 1 0 0 0,1-15 0 0 0,-2 22-38 0 0,0 0 0 0 0,0 1-1 0 0,0-1 1 0 0,0 0 0 0 0,0 1-1 0 0,-1-1 1 0 0,1 0-1 0 0,0 1 1 0 0,0-1 0 0 0,0 1-1 0 0,-1-1 1 0 0,1 0 0 0 0,0 1-1 0 0,-1-1 1 0 0,1 1 0 0 0,-1-1-1 0 0,1 1 1 0 0,-1-1-1 0 0,1 1 1 0 0,0-1 0 0 0,-1 1-1 0 0,0 0 1 0 0,1-1 0 0 0,-1 1-1 0 0,1 0 1 0 0,-1-1 0 0 0,1 1-1 0 0,-1 0 1 0 0,0-1 0 0 0,1 1-1 0 0,-1 0 1 0 0,0 0-1 0 0,1 0 1 0 0,-2 0 0 0 0,-16 1 207 0 0,15 0-161 0 0,-5 22 171 0 0,9-21-201 0 0,-1 0-17 0 0,0-1 0 0 0,0 1 0 0 0,0-1 0 0 0,1 1 0 0 0,-1-1 0 0 0,0 1 0 0 0,1-1 0 0 0,-1 0 0 0 0,1 1 0 0 0,0-1 0 0 0,-1 0 0 0 0,1 1 0 0 0,0-1 0 0 0,0 0 0 0 0,0 0 0 0 0,0 0 0 0 0,0 1 0 0 0,0-1 0 0 0,0 0 0 0 0,0-1 0 0 0,0 1 1 0 0,1 0-1 0 0,-1 0 0 0 0,0 0 0 0 0,1-1 0 0 0,-1 1 0 0 0,2 0 0 0 0,8-1-64 0 0,1-1 1 0 0,0 0 0 0 0,-1-1-1 0 0,0 0 1 0 0,1-1 0 0 0,-1 0-1 0 0,0 0 1 0 0,0-1 0 0 0,-1-1-1 0 0,15-8 1 0 0,-25 13 48 0 0,1-1-1 0 0,0 1 1 0 0,0-1-1 0 0,-1 1 1 0 0,1-1-1 0 0,0 1 1 0 0,0 0-1 0 0,0-1 1 0 0,0 1-1 0 0,0 0 1 0 0,-1 0-1 0 0,1 0 1 0 0,0 0-1 0 0,0-1 1 0 0,0 1-1 0 0,0 1 1 0 0,0-1-1 0 0,0 0 1 0 0,0 0-1 0 0,0 0 1 0 0,-1 0-1 0 0,1 1 1 0 0,0-1-1 0 0,0 0 1 0 0,0 1-1 0 0,0-1 1 0 0,-1 0-1 0 0,1 1 1 0 0,0-1-1 0 0,0 1 1 0 0,-1 0-1 0 0,1-1 1 0 0,0 1-1 0 0,-1 0 1 0 0,1-1-1 0 0,0 1 1 0 0,0 1-1 0 0,1 3 34 0 0,0-1-1 0 0,0 1 0 0 0,-1-1 1 0 0,0 1-1 0 0,2 9 0 0 0,-1 0 47 0 0,28 96 595 0 0,-10-41-250 0 0,11 71-1 0 0,-28-119-361 0 0,-1 0 0 0 0,-1 0 0 0 0,0 0 0 0 0,-2 0 0 0 0,0 0 0 0 0,-1 0-1 0 0,-10 40 1 0 0,10-56-40 0 0,1 0 0 0 0,-1 1-1 0 0,-1-1 1 0 0,1 0 0 0 0,-1 0 0 0 0,0 0 0 0 0,0-1-1 0 0,0 1 1 0 0,-1-1 0 0 0,-3 5 0 0 0,5-8-16 0 0,1 0-1 0 0,0 0 1 0 0,-1 0 0 0 0,1 0 0 0 0,-1 0 0 0 0,1 0 0 0 0,-1 0 0 0 0,0-1 0 0 0,1 1 0 0 0,-1-1 0 0 0,0 1 0 0 0,1-1 0 0 0,-1 1 0 0 0,0-1 0 0 0,1 0 0 0 0,-1 0 0 0 0,0 0 0 0 0,0 0 0 0 0,1 0 0 0 0,-1 0 0 0 0,0 0 0 0 0,0-1 0 0 0,1 1 0 0 0,-1-1 0 0 0,0 1 0 0 0,1-1 0 0 0,-1 0 0 0 0,1 1 0 0 0,-1-1 0 0 0,1 0 0 0 0,-1 0 0 0 0,1 0 0 0 0,-1 0 0 0 0,1-1 0 0 0,-2-1 0 0 0,-4-4-57 0 0,2 0 0 0 0,-1 0 0 0 0,1 0 0 0 0,0-1 0 0 0,0 1 0 0 0,1-1 0 0 0,0 0 0 0 0,1-1 0 0 0,0 1 0 0 0,-4-15 0 0 0,-1-13-351 0 0,-5-43-1 0 0,12 71 308 0 0,-16-211-3307 0 0,14 73-3931 0 0,3 130 4642 0 0,2 1-723 0 0</inkml:trace>
</inkml:ink>
</file>

<file path=ppt/ink/ink3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05.7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8 1 328 0 0,'-3'0'367'0'0,"1"1"-1"0"0,-1 0 1 0 0,1 0-1 0 0,-1 0 1 0 0,1 0-1 0 0,0 1 1 0 0,-1-1-1 0 0,1 1 1 0 0,0-1-1 0 0,0 1 1 0 0,0 0-1 0 0,0 0 1 0 0,0 0-1 0 0,1 0 1 0 0,-1 0-1 0 0,0 0 1 0 0,1 0 0 0 0,0 0-1 0 0,-1 1 1 0 0,1-1-1 0 0,0 1 1 0 0,0-1-1 0 0,0 1 1 0 0,1-1-1 0 0,-1 1 1 0 0,1-1-1 0 0,-1 1 1 0 0,1 0-1 0 0,0-1 1 0 0,0 1-1 0 0,0 0 1 0 0,0-1-1 0 0,1 1 1 0 0,0 3 0 0 0,0-1-210 0 0,1 1 0 0 0,0 0 1 0 0,0-1-1 0 0,1 0 0 0 0,-1 1 1 0 0,1-1-1 0 0,0 0 0 0 0,1 0 1 0 0,-1 0-1 0 0,1-1 0 0 0,0 0 1 0 0,0 1-1 0 0,1-1 0 0 0,-1 0 1 0 0,1-1-1 0 0,0 1 0 0 0,0-1 1 0 0,0 0-1 0 0,0 0 0 0 0,1-1 1 0 0,-1 0-1 0 0,1 0 0 0 0,-1 0 1 0 0,1 0-1 0 0,0-1 0 0 0,10 1 1 0 0,-10-1-134 0 0,0 0 1 0 0,0-1 0 0 0,-1 1-1 0 0,1-1 1 0 0,0-1-1 0 0,-1 1 1 0 0,1-1 0 0 0,0 0-1 0 0,-1-1 1 0 0,1 1 0 0 0,-1-1-1 0 0,1 0 1 0 0,-1 0-1 0 0,0-1 1 0 0,0 1 0 0 0,0-1-1 0 0,0 0 1 0 0,0-1 0 0 0,-1 1-1 0 0,1-1 1 0 0,-1 0 0 0 0,0 0-1 0 0,0 0 1 0 0,-1-1-1 0 0,1 0 1 0 0,-1 1 0 0 0,0-1-1 0 0,3-7 1 0 0,21-59 1560 0 0,-26 69-1000 0 0,-2 5-307 0 0,-1 5-118 0 0,1 0 0 0 0,0 1 0 0 0,0-1 1 0 0,1 1-1 0 0,0-1 0 0 0,1 1 1 0 0,2 13-1 0 0,17 64 215 0 0,-6-31-1020 0 0,-4-9-1120 0 0,0 3-2182 0 0,-3-16-2971 0 0,-4-17 373 0 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9.4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43 556 0 0,'2'-3'1409'0'0,"2"-3"-891"0"0,1 1 0 0 0,0-1 1 0 0,0 1-1 0 0,1-1 0 0 0,0 1 0 0 0,0 1 0 0 0,0-1 1 0 0,0 1-1 0 0,7-3 0 0 0,9-3 533 0 0,34-12 1 0 0,-41 18-896 0 0,-1-1 0 0 0,0-1 0 0 0,0 0 0 0 0,0-1 0 0 0,-1 0 0 0 0,0-1 0 0 0,13-11 0 0 0,-23 17-127 0 0,-1 0 1 0 0,0-1 0 0 0,0 1 0 0 0,-1-1-1 0 0,1 1 1 0 0,0-1 0 0 0,1-4 0 0 0,-3 6-25 0 0,1 1 1 0 0,-1-1-1 0 0,0 0 1 0 0,0 1-1 0 0,0-1 1 0 0,0 1-1 0 0,1-1 1 0 0,-1 0-1 0 0,0 1 1 0 0,0-1-1 0 0,0 0 1 0 0,-1 1-1 0 0,1-1 1 0 0,0 1 0 0 0,0-1-1 0 0,0 0 1 0 0,0 1-1 0 0,-1-1 1 0 0,1-1-1 0 0,-1 2-1 0 0,0-1 0 0 0,1 0 0 0 0,-1 1 0 0 0,0-1 0 0 0,0 1 0 0 0,0-1 0 0 0,1 1 0 0 0,-1-1 0 0 0,0 1 0 0 0,0 0-1 0 0,0-1 1 0 0,0 1 0 0 0,0 0 0 0 0,0 0 0 0 0,0 0 0 0 0,0 0 0 0 0,0 0 0 0 0,-1 0 0 0 0,-10 0 99 0 0,-1 0-1 0 0,1 1 1 0 0,0 1 0 0 0,0 0-1 0 0,0 1 1 0 0,0 0 0 0 0,0 1-1 0 0,0 0 1 0 0,-13 8 0 0 0,18-9-16 0 0,-1 1 0 0 0,1 0 0 0 0,0 1 1 0 0,0 0-1 0 0,1 0 0 0 0,-1 0 0 0 0,1 1 0 0 0,0-1 0 0 0,0 2 1 0 0,1-1-1 0 0,0 1 0 0 0,0-1 0 0 0,1 1 0 0 0,0 1 0 0 0,-5 10 1 0 0,7-14-24 0 0,1-1 1 0 0,0 1-1 0 0,0 0 1 0 0,0 0-1 0 0,0-1 1 0 0,1 1-1 0 0,0 0 1 0 0,0 0-1 0 0,0 0 1 0 0,0 0-1 0 0,0 0 1 0 0,1 0 0 0 0,0-1-1 0 0,0 1 1 0 0,0 0-1 0 0,0 0 1 0 0,0-1-1 0 0,3 5 1 0 0,-1-4-9 0 0,-1 0 1 0 0,2 0-1 0 0,-1 0 1 0 0,0-1-1 0 0,1 1 1 0 0,-1-1 0 0 0,1 0-1 0 0,0 0 1 0 0,0 0-1 0 0,0-1 1 0 0,1 1-1 0 0,7 2 1 0 0,-1-1-11 0 0,0 0 1 0 0,0-1-1 0 0,1-1 1 0 0,-1 0-1 0 0,0 0 1 0 0,1-1-1 0 0,-1-1 1 0 0,1 1-1 0 0,0-2 1 0 0,-1 0-1 0 0,18-4 0 0 0,-20 3-85 0 0,0-1 0 0 0,-1-1-1 0 0,1 0 1 0 0,-1 0 0 0 0,0 0-1 0 0,-1-1 1 0 0,1 0-1 0 0,-1-1 1 0 0,0 1 0 0 0,0-1-1 0 0,0-1 1 0 0,-1 1 0 0 0,0-1-1 0 0,6-10 1 0 0,6-11-87 0 0,-2 0 0 0 0,22-52 0 0 0,1-2 1024 0 0,-39 82-895 0 0,0-1-1 0 0,0 1 1 0 0,0-1 0 0 0,0 1 0 0 0,0-1 0 0 0,1 1 0 0 0,-1 0 0 0 0,0-1-1 0 0,0 1 1 0 0,1-1 0 0 0,-1 1 0 0 0,0-1 0 0 0,0 1 0 0 0,1 0 0 0 0,-1-1-1 0 0,0 1 1 0 0,1 0 0 0 0,-1-1 0 0 0,1 1 0 0 0,-1 0 0 0 0,0-1 0 0 0,1 1-1 0 0,-1 0 1 0 0,1 0 0 0 0,-1 0 0 0 0,1-1 0 0 0,-1 1 0 0 0,1 0 0 0 0,-1 0-1 0 0,1 0 1 0 0,-1 0 0 0 0,1 0 0 0 0,-1 0 0 0 0,1 0 0 0 0,-1 0 0 0 0,1 0-1 0 0,-1 0 1 0 0,1 0 0 0 0,-1 0 0 0 0,1 0 0 0 0,-1 1 0 0 0,1-1-1 0 0,-1 0 1 0 0,1 0 0 0 0,-1 0 0 0 0,0 1 0 0 0,1-1 0 0 0,-1 0 0 0 0,1 1-1 0 0,-1-1 1 0 0,0 0 0 0 0,1 1 0 0 0,-1-1 0 0 0,0 0 0 0 0,1 1 0 0 0,-1-1-1 0 0,0 1 1 0 0,0-1 0 0 0,1 1 0 0 0,-1-1 0 0 0,0 0 0 0 0,0 1 0 0 0,0-1-1 0 0,1 2 1 0 0,13 39 223 0 0,-11-32-129 0 0,43 161 1702 0 0,-45-166-1798 0 0,-1-1 0 0 0,0 1 0 0 0,0-1 0 0 0,0 1 0 0 0,0-1 0 0 0,0 1-1 0 0,-1-1 1 0 0,0 1 0 0 0,0-1 0 0 0,0 0 0 0 0,0 1 0 0 0,0-1 0 0 0,0 0 0 0 0,-1 0-1 0 0,0 0 1 0 0,0 0 0 0 0,0 0 0 0 0,0 0 0 0 0,0 0 0 0 0,0-1 0 0 0,-1 1-1 0 0,1-1 1 0 0,-1 1 0 0 0,-4 2 0 0 0,-5 4-710 0 0,-1-1 0 0 0,0 0 0 0 0,0-1 0 0 0,-20 8 0 0 0,-70 22-6586 0 0,65-27 2419 0 0</inkml:trace>
</inkml:ink>
</file>

<file path=ppt/ink/ink3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4.9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 58 536 0 0,'-1'-3'979'0'0,"-14"-50"3841"0"0,15 51-4114 0 0,3 4-578 0 0,0-1 1 0 0,-1 1 0 0 0,1 0 0 0 0,-1 0 0 0 0,1 0 0 0 0,-1 0 0 0 0,0 0-1 0 0,0 1 1 0 0,0-1 0 0 0,0 1 0 0 0,2 3 0 0 0,56 68 700 0 0,129 126 0 0 0,-162-173-736 0 0,455 414 1081 0 0,-377-355-891 0 0,4-4 0 0 0,3-5 0 0 0,185 95 0 0 0,562 187 1048 0 0,-288-184-785 0 0,15-52-176 0 0,-374-89-235 0 0,1-10-1 0 0,0-10 0 0 0,2-8 0 0 0,332-35 1 0 0,-261-8-96 0 0,-215 24 28 0 0,136-43 0 0 0,-150 35 464 0 0,83-44 0 0 0,-121 53-294 0 0,-2 2-1978 0 0</inkml:trace>
</inkml:ink>
</file>

<file path=ppt/ink/ink3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6.5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9 38 300 0 0,'-23'12'3032'0'0,"-12"10"3004"0"0,51-19-4862 0 0,4-3-765 0 0,0-2 0 0 0,0 0 1 0 0,31-7-1 0 0,-2 0-110 0 0,40-5-101 0 0,126-16 629 0 0,-153 24-1655 0 0,92 4 1 0 0,-146 2 270 0 0,27 3-779 0 0,-14 5-3408 0 0,-13-2 1937 0 0</inkml:trace>
</inkml:ink>
</file>

<file path=ppt/ink/ink3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6.9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1 297 1112 0 0,'-50'36'8207'0'0,"50"-35"-8164"0"0,0-1 0 0 0,0 1 1 0 0,1-1-1 0 0,-1 1 0 0 0,0-1 0 0 0,0 0 0 0 0,1 1 1 0 0,-1-1-1 0 0,0 1 0 0 0,1-1 0 0 0,-1 0 1 0 0,1 1-1 0 0,-1-1 0 0 0,0 0 0 0 0,1 1 1 0 0,-1-1-1 0 0,1 0 0 0 0,-1 0 0 0 0,1 1 0 0 0,-1-1 1 0 0,1 0-1 0 0,-1 0 0 0 0,1 0 0 0 0,-1 0 1 0 0,1 1-1 0 0,-1-1 0 0 0,1 0 0 0 0,-1 0 1 0 0,1 0-1 0 0,-1 0 0 0 0,1 0 0 0 0,-1-1 0 0 0,1 1 1 0 0,-1 0-1 0 0,1 0 0 0 0,0 0 0 0 0,26-5 453 0 0,-21 4-392 0 0,32-6-107 0 0,0-2-1 0 0,0-2 0 0 0,-1-1 0 0 0,0-2 0 0 0,-1-1 0 0 0,0-2 1 0 0,53-35-1 0 0,-81 47-49 0 0,-1-2 1 0 0,1 1-1 0 0,-1-1 1 0 0,0 0-1 0 0,0 0 1 0 0,-1-1-1 0 0,0 0 0 0 0,0 0 1 0 0,-1-1-1 0 0,0 1 1 0 0,-1-1-1 0 0,0 0 1 0 0,0 0-1 0 0,-1-1 1 0 0,0 1-1 0 0,0-1 1 0 0,-1 0-1 0 0,1-15 1 0 0,-3 24 7 0 0,4-18 827 0 0,1 13-1 0 0,3 15-105 0 0,-2 5-471 0 0,-1 1 0 0 0,0-1 1 0 0,-1 1-1 0 0,0 0 0 0 0,-2 0 1 0 0,1 1-1 0 0,-2-1 0 0 0,0 23 0 0 0,-2-21-234 0 0,0 1 1 0 0,-1-1-1 0 0,-1 0 0 0 0,0 0 0 0 0,-1 0 0 0 0,-1 0 0 0 0,-10 23 0 0 0,9-28-487 0 0,0-1-1 0 0,0-1 1 0 0,-1 1 0 0 0,-12 13-1 0 0,15-20-266 0 0,0 0-1 0 0,0 0 0 0 0,0-1 1 0 0,0 1-1 0 0,-1-1 0 0 0,1 0 1 0 0,-7 3-1 0 0</inkml:trace>
</inkml:ink>
</file>

<file path=ppt/ink/ink3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7.7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5 28 1088 0 0,'-28'7'5258'0'0,"12"4"-326"0"0,324-33-3234 0 0,-155 8-2602 0 0,-51 5-3279 0 0,-99 9 3311 0 0</inkml:trace>
</inkml:ink>
</file>

<file path=ppt/ink/ink3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8.1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22 1324 0 0,'-1'-2'1554'0'0,"-2"-17"1687"0"0,4 31 107 0 0,6 38-633 0 0,20 123-320 0 0,-10-51-1889 0 0,4 42-994 0 0,-17-56-4018 0 0,-4-103 4067 0 0,-3 14-6807 0 0</inkml:trace>
</inkml:ink>
</file>

<file path=ppt/ink/ink3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8.44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1440 0 0,'14'15'3908'0'0,"-1"13"-2558"0"0,-1 0 0 0 0,-1 1 0 0 0,8 37 0 0 0,2 3-640 0 0,27 88-668 0 0,-23-51-4593 0 0,-22-92 2428 0 0,-1-2-299 0 0</inkml:trace>
</inkml:ink>
</file>

<file path=ppt/ink/ink3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8.8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2 135 772 0 0,'-4'0'1974'0'0,"-3"-1"-412"0"0,-1 0-1 0 0,0 0 1 0 0,-12-4-1 0 0,20 5-1529 0 0,0 0-1 0 0,0 0 1 0 0,-1 0-1 0 0,1-1 1 0 0,0 1-1 0 0,0 0 1 0 0,-1 0-1 0 0,1 0 1 0 0,0 0-1 0 0,0 0 1 0 0,0-1 0 0 0,-1 1-1 0 0,1 0 1 0 0,0 0-1 0 0,0 0 1 0 0,0-1-1 0 0,-1 1 1 0 0,1 0-1 0 0,0 0 1 0 0,0-1-1 0 0,0 1 1 0 0,0 0-1 0 0,0 0 1 0 0,0-1 0 0 0,0 1-1 0 0,0 0 1 0 0,-1-1-1 0 0,1 1 1 0 0,0 0-1 0 0,0 0 1 0 0,0-1-1 0 0,0 1 1 0 0,0 0-1 0 0,1-1 1 0 0,-1 1-1 0 0,0 0 1 0 0,0 0-1 0 0,0-1 1 0 0,0 1 0 0 0,0 0-1 0 0,0 0 1 0 0,0-1-1 0 0,0 1 1 0 0,1 0-1 0 0,-1 0 1 0 0,0-1-1 0 0,0 1 1 0 0,0 0-1 0 0,1 0 1 0 0,-1-1-1 0 0,10-8 283 0 0,-10 8-294 0 0,10-6 121 0 0,0 0 0 0 0,0 1 0 0 0,1 0 0 0 0,-1 1 0 0 0,24-9 0 0 0,59-12-604 0 0,-67 20 14 0 0,90-18-5601 0 0,-97 20 3636 0 0</inkml:trace>
</inkml:ink>
</file>

<file path=ppt/ink/ink3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9.1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 1 136 0 0,'0'0'5853'0'0,"-2"16"-3400"0"0,3 12-1844 0 0,2 0 0 0 0,1 0 0 0 0,1-1 0 0 0,2 0 0 0 0,1 0-1 0 0,0 0 1 0 0,20 38 0 0 0,-19-43-399 0 0,-2-6 250 0 0,0 1-1 0 0,18 27 0 0 0,-23-42-4 0 0,1-3-246 0 0,-2 1-202 0 0,-1 0 0 0 0,1 0 0 0 0,-1 0-1 0 0,1 0 1 0 0,-1 0 0 0 0,1 0 0 0 0,-1 0 0 0 0,1 0-1 0 0,-1 0 1 0 0,1-1 0 0 0,-1 1 0 0 0,1 0-1 0 0,-1 0 1 0 0,1-1 0 0 0,-1 1 0 0 0,1 0 0 0 0,-1 0-1 0 0,0-1 1 0 0,1 1 0 0 0,-1-1 0 0 0,1 1 0 0 0,-1 0-1 0 0,1-1 1 0 0,12-32 127 0 0,-8 22-135 0 0,-1 0 0 0 0,0-1 0 0 0,0 1 0 0 0,-1-1 0 0 0,3-21-1 0 0,-6 31-7 0 0,0 1 0 0 0,0 0-1 0 0,0 0 1 0 0,0 0 0 0 0,0 0-1 0 0,1 0 1 0 0,-1 1 0 0 0,0-1-1 0 0,1 0 1 0 0,-1 0 0 0 0,1 0-1 0 0,-1 0 1 0 0,1 0 0 0 0,-1 0-1 0 0,1 0 1 0 0,0 1 0 0 0,-1-1-1 0 0,1 0 1 0 0,0 1 0 0 0,-1-1-1 0 0,1 0 1 0 0,0 1 0 0 0,0-1-1 0 0,0 1 1 0 0,0-1 0 0 0,0 1-1 0 0,0-1 1 0 0,0 1 0 0 0,0 0-1 0 0,-1-1 1 0 0,1 1 0 0 0,0 0-1 0 0,0 0 1 0 0,0 0 0 0 0,1 0-1 0 0,-1 0 1 0 0,1 0 0 0 0,2 0 0 0 0,1 0-1 0 0,-1 1 1 0 0,0-1 0 0 0,1 1 0 0 0,6 2-1 0 0,135 52 994 0 0,-143-54-336 0 0,1 0 255 0 0,9-1-168 0 0,-12-3-666 0 0,1 0 1 0 0,-1 0-1 0 0,0 0 1 0 0,0 0-1 0 0,0 0 0 0 0,-1 0 1 0 0,1 0-1 0 0,0 0 1 0 0,-1 0-1 0 0,0 0 0 0 0,0 0 1 0 0,0-1-1 0 0,0 1 1 0 0,-1 0-1 0 0,1 0 0 0 0,-1 0 1 0 0,0 0-1 0 0,-1-5 1 0 0,-4-10-49 0 0,-13-29 0 0 0,18 47-17 0 0,-9-23-614 0 0,-1 1 0 0 0,-16-23 0 0 0,19 35-508 0 0,0 0 0 0 0,0 1 0 0 0,-12-12 0 0 0,-2 9-1681 0 0</inkml:trace>
</inkml:ink>
</file>

<file path=ppt/ink/ink3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19.8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 38 788 0 0,'13'-5'1899'0'0,"-1"0"0"0"0,19-10 0 0 0,-15 7 1037 0 0,-30 3-1906 0 0,11 5-934 0 0,0 1-1 0 0,-1-1 1 0 0,1 1-1 0 0,0 0 1 0 0,0 0 0 0 0,0 0-1 0 0,0 0 1 0 0,0 1 0 0 0,0-1-1 0 0,0 1 1 0 0,-3 2-1 0 0,-29 22 521 0 0,29-19-537 0 0,-1-1 0 0 0,1 1-1 0 0,-1 0 1 0 0,2 0 0 0 0,-1 1 0 0 0,1 0 0 0 0,1 0 0 0 0,-1 0 0 0 0,1 0 0 0 0,-3 10 0 0 0,6-13-49 0 0,-1 0 0 0 0,1-1 1 0 0,0 1-1 0 0,1 0 1 0 0,-1 0-1 0 0,1 0 0 0 0,0 0 1 0 0,1-1-1 0 0,-1 1 1 0 0,1 0-1 0 0,0 0 1 0 0,0 0-1 0 0,0-1 0 0 0,0 1 1 0 0,1-1-1 0 0,0 1 1 0 0,0-1-1 0 0,0 0 0 0 0,1 1 1 0 0,-1-1-1 0 0,4 4 1 0 0,0-2 0 0 0,-1 1 0 0 0,1-1 0 0 0,0 0 0 0 0,1 0 0 0 0,0-1 0 0 0,-1 0 0 0 0,2 0 0 0 0,-1-1 1 0 0,0 0-1 0 0,1 0 0 0 0,8 3 0 0 0,-11-6-54 0 0,0 1 0 0 0,-1-1 0 0 0,1 0 1 0 0,0 0-1 0 0,0-1 0 0 0,0 1 0 0 0,0-1 0 0 0,0 0 0 0 0,0-1 1 0 0,0 1-1 0 0,0-1 0 0 0,0 0 0 0 0,-1 0 0 0 0,1 0 1 0 0,0-1-1 0 0,0 0 0 0 0,-1 0 0 0 0,1 0 0 0 0,-1 0 0 0 0,6-5 1 0 0,-3 2-5 0 0,-2 0 1 0 0,1 0-1 0 0,0 0 1 0 0,-1-1-1 0 0,0 0 1 0 0,0 0 0 0 0,-1 0-1 0 0,0 0 1 0 0,0-1-1 0 0,0 0 1 0 0,4-13 0 0 0,-1-1 408 0 0,-1-1 0 0 0,4-36 1 0 0,-10 57-363 0 0,1 0-19 0 0,-1 1 1 0 0,0 0 0 0 0,0-1-1 0 0,0 1 1 0 0,0 0 0 0 0,0-1-1 0 0,0 1 1 0 0,0 0 0 0 0,0-1-1 0 0,0 1 1 0 0,0 0 0 0 0,0-1-1 0 0,0 1 1 0 0,0 0 0 0 0,0 0-1 0 0,0-1 1 0 0,0 1-1 0 0,0 0 1 0 0,0-1 0 0 0,0 1-1 0 0,0 0 1 0 0,0-1 0 0 0,-1 1-1 0 0,1 0 1 0 0,0-1 0 0 0,0 1-1 0 0,0 0 1 0 0,0 0 0 0 0,-1-1-1 0 0,1 1 1 0 0,0 0 0 0 0,0 0-1 0 0,-1 0 1 0 0,1-1 0 0 0,0 1-1 0 0,-1 0 1 0 0,1 0 0 0 0,0 0-1 0 0,0 0 1 0 0,-1 0 0 0 0,1-1-1 0 0,0 1 1 0 0,-1 0 0 0 0,1 0-1 0 0,0 0 1 0 0,-1 0 0 0 0,1 0-1 0 0,0 0 1 0 0,-1 0-1 0 0,1 0 1 0 0,0 0 0 0 0,-1 0-1 0 0,1 0 1 0 0,0 0 0 0 0,-1 1-1 0 0,1-1 1 0 0,0 0 0 0 0,-1 0-1 0 0,1 0 1 0 0,-1 0 0 0 0,0 1-4 0 0,0-1 1 0 0,0 1 0 0 0,1 0-1 0 0,-1-1 1 0 0,0 1 0 0 0,0 0-1 0 0,0-1 1 0 0,0 1 0 0 0,0 0 0 0 0,1 0-1 0 0,-1 0 1 0 0,0-1 0 0 0,1 1-1 0 0,-1 0 1 0 0,1 0 0 0 0,-1 0-1 0 0,1 0 1 0 0,-1 0 0 0 0,0 2-1 0 0,1 1 6 0 0,0-1-1 0 0,-1 1 1 0 0,1 0-1 0 0,1-1 1 0 0,-1 1-1 0 0,0-1 1 0 0,1 1-1 0 0,0-1 1 0 0,0 1-1 0 0,0-1 1 0 0,0 1 0 0 0,0-1-1 0 0,1 0 1 0 0,-1 1-1 0 0,1-1 1 0 0,0 0-1 0 0,0 0 1 0 0,0 0-1 0 0,1-1 1 0 0,-1 1-1 0 0,5 3 1 0 0,-3-2 4 0 0,1-1 0 0 0,0 0 1 0 0,-1 0-1 0 0,1 0 0 0 0,1 0 0 0 0,-1-1 1 0 0,0 0-1 0 0,1 0 0 0 0,-1-1 0 0 0,1 1 1 0 0,-1-1-1 0 0,1 0 0 0 0,0-1 1 0 0,-1 1-1 0 0,1-1 0 0 0,0 0 0 0 0,-1-1 1 0 0,8-1-1 0 0,-4 1-48 0 0,-1-1-1 0 0,0 0 1 0 0,0 0-1 0 0,0-1 1 0 0,0 0-1 0 0,0-1 1 0 0,-1 0-1 0 0,0 0 0 0 0,1 0 1 0 0,-2-1-1 0 0,13-10 1 0 0,-9 4 66 0 0,-1-1 1 0 0,1 0-1 0 0,-2-1 1 0 0,0 0-1 0 0,11-25 1 0 0,-17 35 49 0 0,5-15 167 0 0,-6 18-240 0 0,-1-1 0 0 0,0 1 1 0 0,0 0-1 0 0,1-1 0 0 0,-1 1 0 0 0,0-1 1 0 0,0 1-1 0 0,1-1 0 0 0,-1 1 0 0 0,0-1 1 0 0,0 1-1 0 0,0 0 0 0 0,0-1 0 0 0,0 1 1 0 0,0-1-1 0 0,0 1 0 0 0,0-1 0 0 0,0 1 1 0 0,0-1-1 0 0,0 1 0 0 0,0-1 0 0 0,0 1 1 0 0,0-1-1 0 0,0 1 0 0 0,-1-1 0 0 0,1 1 1 0 0,0-1-1 0 0,0 1 0 0 0,-1 0 0 0 0,1-1 1 0 0,0 1-1 0 0,0-1 0 0 0,-1 1 0 0 0,1 0 1 0 0,0-1-1 0 0,-1 1 0 0 0,-16 15 45 0 0,16-12-37 0 0,-1 0 0 0 0,1 0 0 0 0,0-1-1 0 0,1 1 1 0 0,-1 0 0 0 0,0 0 0 0 0,1 0 0 0 0,-1 0 0 0 0,1 0 0 0 0,0 0-1 0 0,0 0 1 0 0,0 0 0 0 0,1 0 0 0 0,-1 0 0 0 0,0 0 0 0 0,1-1 0 0 0,0 1-1 0 0,0 0 1 0 0,2 4 0 0 0,0 1 22 0 0,1-1-1 0 0,0 1 1 0 0,0-1-1 0 0,0 0 1 0 0,9 10-1 0 0,-9-13-39 0 0,-1-1 0 0 0,1 1-1 0 0,0 0 1 0 0,0-1 0 0 0,0 0 0 0 0,0 0 0 0 0,1 0-1 0 0,-1 0 1 0 0,1-1 0 0 0,0 0 0 0 0,0 0 0 0 0,0 0-1 0 0,0 0 1 0 0,0-1 0 0 0,0 0 0 0 0,0 0 0 0 0,9 0-1 0 0,-8-1-137 0 0,1 0 0 0 0,-1-1 1 0 0,1 0-1 0 0,-1 0 0 0 0,0-1 0 0 0,0 0 0 0 0,0 0 0 0 0,0 0 0 0 0,0-1 0 0 0,0 1 0 0 0,0-1 0 0 0,-1-1 0 0 0,9-6 0 0 0,67-61-1568 0 0,-81 71 1709 0 0,1 0 0 0 0,-1 0 0 0 0,0 0 0 0 0,1 0 1 0 0,-1 0-1 0 0,0 0 0 0 0,1 0 0 0 0,-1 1 0 0 0,0-1 1 0 0,0 0-1 0 0,1 0 0 0 0,-1 0 0 0 0,0 0 0 0 0,1 0 1 0 0,-1 1-1 0 0,0-1 0 0 0,0 0 0 0 0,1 0 0 0 0,-1 1 0 0 0,0-1 1 0 0,0 0-1 0 0,0 0 0 0 0,0 1 0 0 0,1-1 0 0 0,-1 0 1 0 0,0 1-1 0 0,0-1 0 0 0,0 0 0 0 0,0 0 0 0 0,0 1 1 0 0,0-1-1 0 0,0 0 0 0 0,0 1 0 0 0,0-1 0 0 0,0 0 0 0 0,0 1 1 0 0,0-1-1 0 0,0 0 0 0 0,0 1 0 0 0,0-1 0 0 0,0 0 1 0 0,0 1-1 0 0,0-1 0 0 0,0 1 0 0 0,0 16 76 0 0,0-17-74 0 0,-19 170 1063 0 0,8-94-471 0 0,11-75-579 0 0,-8 61 836 0 0,-18 65 1 0 0,22-108-580 0 0,-2-1 0 0 0,0 0 0 0 0,-2 0 0 0 0,0-1 1 0 0,0 0-1 0 0,-2-1 0 0 0,0 1 0 0 0,-14 15 0 0 0,23-30-216 0 0,-1 0 0 0 0,0 0-1 0 0,0 0 1 0 0,0 0 0 0 0,0 0-1 0 0,0-1 1 0 0,0 1 0 0 0,0-1-1 0 0,0 1 1 0 0,-1-1 0 0 0,1 0-1 0 0,-1 0 1 0 0,1 0 0 0 0,-1 0-1 0 0,1 0 1 0 0,-1-1 0 0 0,0 1-1 0 0,1-1 1 0 0,-1 0 0 0 0,0 0-1 0 0,1 0 1 0 0,-1 0 0 0 0,-4 0-1 0 0,4-2-35 0 0,-1 1-1 0 0,0 0 1 0 0,0-1-1 0 0,1 0 1 0 0,-1 1-1 0 0,1-1 1 0 0,0-1-1 0 0,-1 1 0 0 0,1-1 1 0 0,0 1-1 0 0,0-1 1 0 0,1 0-1 0 0,-1 0 1 0 0,1 0-1 0 0,-5-6 1 0 0,1-3-136 0 0,-1 0 1 0 0,1 0-1 0 0,1 0 1 0 0,1-1 0 0 0,-1 0-1 0 0,-2-19 1 0 0,-9-83-5300 0 0,16 112 4734 0 0,0-1 0 0 0,0 1 0 0 0,1-1 0 0 0,-1 1 0 0 0,1-1 0 0 0,-1 1-1 0 0,1 0 1 0 0,2-4 0 0 0,1-4-3150 0 0</inkml:trace>
</inkml:ink>
</file>

<file path=ppt/ink/ink3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0.7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 21 720 0 0,'-18'-17'7963'0'0,"18"16"-7890"0"0,0 1 1 0 0,0 0-1 0 0,0 0 1 0 0,-1-1-1 0 0,1 1 1 0 0,0 0 0 0 0,0 0-1 0 0,0 0 1 0 0,-1 0-1 0 0,1-1 1 0 0,0 1-1 0 0,0 0 1 0 0,-1 0-1 0 0,1 0 1 0 0,0 0-1 0 0,0 0 1 0 0,-1 0-1 0 0,1 0 1 0 0,0 0-1 0 0,-1-1 1 0 0,1 1 0 0 0,0 0-1 0 0,0 0 1 0 0,-1 0-1 0 0,1 1 1 0 0,0-1-1 0 0,-1 0 1 0 0,1 0-1 0 0,0 0 1 0 0,0 0-1 0 0,-1 0 1 0 0,1 0-1 0 0,0 0 1 0 0,0 0-1 0 0,-1 0 1 0 0,1 1 0 0 0,0-1-1 0 0,0 0 1 0 0,-1 0-1 0 0,1 0 1 0 0,0 1-1 0 0,0-1 1 0 0,-1 0-1 0 0,-4 18 1573 0 0,3 28-335 0 0,2-43-1135 0 0,11 176 821 0 0,6-62-7558 0 0,-14-106 3541 0 0,0 0-1043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1.2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4 4 0 0,'3'-1'1417'0'0,"-3"0"-1304"0"0,1 1-1 0 0,0-1 1 0 0,0 1-1 0 0,0 0 1 0 0,0 0-1 0 0,1-1 1 0 0,-1 1-1 0 0,0 0 0 0 0,0 0 1 0 0,0 0-1 0 0,0 0 1 0 0,0 0-1 0 0,0 0 1 0 0,0 0-1 0 0,0 1 1 0 0,0-1-1 0 0,0 0 0 0 0,0 1 1 0 0,0-1-1 0 0,0 0 1 0 0,0 1-1 0 0,0-1 1 0 0,0 1-1 0 0,0-1 1 0 0,-1 1-1 0 0,1 0 0 0 0,0-1 1 0 0,0 1-1 0 0,0 0 1 0 0,-1 0-1 0 0,1 0 1 0 0,-1-1-1 0 0,1 1 1 0 0,0 0-1 0 0,-1 0 0 0 0,1 0 1 0 0,-1 0-1 0 0,0 0 1 0 0,1 1-1 0 0,5 10 514 0 0,-1 0 1 0 0,0 0-1 0 0,-1 0 0 0 0,-1 1 0 0 0,4 20 1 0 0,4 70 1496 0 0,-7-54-1319 0 0,1 171 2363 0 0,-6-139-450 0 0,-1-70-1638 0 0,-4-11-375 0 0,6-1-695 0 0,-1 0 0 0 0,0 0 0 0 0,1 0 0 0 0,-1 0-1 0 0,1 0 1 0 0,-1 0 0 0 0,1 1 0 0 0,-1-1 0 0 0,1 0 0 0 0,-1 0 0 0 0,1 0 0 0 0,0-1 0 0 0,0 1 0 0 0,0 0 0 0 0,-1 0 0 0 0,1 0 0 0 0,0 0 0 0 0,1-1 0 0 0,0-8-82 0 0,1-1 1 0 0,0 1-1 0 0,1 0 1 0 0,1 1-1 0 0,-1-1 1 0 0,1 1-1 0 0,1-1 1 0 0,0 1 0 0 0,0 1-1 0 0,10-14 1 0 0,-3 7-58 0 0,1 0-1 0 0,0 0 1 0 0,2 1 0 0 0,24-19 0 0 0,-30 26 50 0 0,1 1 1 0 0,0 0-1 0 0,0 1 0 0 0,0 0 0 0 0,1 1 1 0 0,0 0-1 0 0,-1 0 0 0 0,1 1 0 0 0,20-3 1 0 0,-24 5 52 0 0,-1 1 1 0 0,0-1-1 0 0,1 1 1 0 0,-1 1 0 0 0,0-1-1 0 0,1 1 1 0 0,-1 0-1 0 0,0 1 1 0 0,0-1-1 0 0,0 1 1 0 0,0 0 0 0 0,0 1-1 0 0,0-1 1 0 0,-1 1-1 0 0,1 0 1 0 0,-1 1-1 0 0,1-1 1 0 0,8 9 0 0 0,-12-10 26 0 0,0 0 1 0 0,-1 0 0 0 0,1 0-1 0 0,0 0 1 0 0,-1 0 0 0 0,1 1-1 0 0,-1-1 1 0 0,0 0 0 0 0,1 1-1 0 0,-1-1 1 0 0,0 1 0 0 0,-1-1-1 0 0,1 1 1 0 0,0-1 0 0 0,-1 1-1 0 0,1 0 1 0 0,-1-1 0 0 0,0 1-1 0 0,0 4 1 0 0,-1-3 7 0 0,0 1-1 0 0,0-1 0 0 0,-1-1 1 0 0,1 1-1 0 0,-1 0 0 0 0,0 0 1 0 0,0 0-1 0 0,0-1 1 0 0,0 1-1 0 0,0-1 0 0 0,-6 5 1 0 0,-1 1 20 0 0,0 0 1 0 0,-1-1-1 0 0,0 0 1 0 0,0 0-1 0 0,-1-1 1 0 0,0-1-1 0 0,-15 7 1 0 0,6-5-75 0 0,-1 0 0 0 0,0-2 1 0 0,-24 4-1 0 0,34-7-459 0 0,0-2 1 0 0,0 0-1 0 0,0 0 0 0 0,0-1 0 0 0,0-1 0 0 0,0 1 0 0 0,-21-6 1 0 0,30 6 195 0 0,0-1 1 0 0,0 1 0 0 0,1-1 0 0 0,-1 0-1 0 0,0 0 1 0 0,0 0 0 0 0,1 0 0 0 0,-1 0 0 0 0,1 0-1 0 0,-1 0 1 0 0,1 0 0 0 0,-1-1 0 0 0,1 1-1 0 0,0-1 1 0 0,-1 1 0 0 0,1-1 0 0 0,0 1 0 0 0,0-1-1 0 0,0 0 1 0 0,1 1 0 0 0,-1-1 0 0 0,0 0-1 0 0,0-3 1 0 0,0-10-3693 0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09.7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0 1 172 0 0,'-8'5'1564'0'0,"-4"4"1464"0"0,0 0-1 0 0,-15 14 1 0 0,27-22-2938 0 0,0-1 0 0 0,0 1-1 0 0,0-1 1 0 0,0 1 0 0 0,0-1 0 0 0,0 1-1 0 0,0-1 1 0 0,0 1 0 0 0,0-1 0 0 0,0 1 0 0 0,0-1-1 0 0,0 1 1 0 0,0-1 0 0 0,1 1 0 0 0,-1-1 0 0 0,0 1-1 0 0,0-1 1 0 0,0 1 0 0 0,1-1 0 0 0,-1 0 0 0 0,0 1-1 0 0,0-1 1 0 0,1 1 0 0 0,-1-1 0 0 0,1 0-1 0 0,-1 1 1 0 0,0-1 0 0 0,1 0 0 0 0,0 1 0 0 0,4 1 171 0 0,0 0 0 0 0,1 0 1 0 0,-1 0-1 0 0,0-1 0 0 0,1 0 0 0 0,0 0 1 0 0,-1 0-1 0 0,1-1 0 0 0,7 0 1 0 0,6 1 171 0 0,355 8 1817 0 0,-178-10-4254 0 0,-157 2 1068 0 0,-5-1-1454 0 0,-1 1 0 0 0,55 9 0 0 0,-70-4-388 0 0,-8-1-739 0 0</inkml:trace>
  <inkml:trace contextRef="#ctx0" brushRef="#br0" timeOffset="1">567 270 284 0 0,'-204'62'10746'0'0,"169"-54"-6507"0"0,39-7-3647 0 0,14 2-358 0 0,0-2 1 0 0,0 0-1 0 0,0-1 1 0 0,36-5 0 0 0,10 1-353 0 0,207 6-4174 0 0,-152 1-1185 0 0,-58-3 734 0 0</inkml:trace>
</inkml:ink>
</file>

<file path=ppt/ink/ink4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1.0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3 96 1844 0 0,'-8'-16'1296'0'0,"2"3"-208"0"0,0 1-344 0 0,0 3-71 0 0,0-2-257 0 0,0 2-36 0 0,-2-5-744 0 0,2 3-881 0 0</inkml:trace>
</inkml:ink>
</file>

<file path=ppt/ink/ink4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1.4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296 0 0,'9'12'966'0'0,"0"0"0"0"0,-1 0 0 0 0,-1 1 1 0 0,0 0-1 0 0,0 0 0 0 0,6 23 0 0 0,21 89 2533 0 0,-19-62-2297 0 0,0 23 374 0 0,-9-50 1322 0 0,-6-53-2806 0 0,1 8-106 0 0,1-1 0 0 0,0 0 0 0 0,0 1 0 0 0,1 0 0 0 0,0-1 0 0 0,1 1 0 0 0,9-16 0 0 0,2-1-30 0 0,24-28 0 0 0,-34 47 35 0 0,1 0-1 0 0,0 0 0 0 0,0 1 1 0 0,0 0-1 0 0,1 0 1 0 0,0 1-1 0 0,0-1 0 0 0,1 1 1 0 0,-1 1-1 0 0,1 0 1 0 0,0 0-1 0 0,14-5 0 0 0,-18 9 15 0 0,0-1-1 0 0,0 1 0 0 0,0 0 0 0 0,-1 0 1 0 0,1 0-1 0 0,0 1 0 0 0,0-1 0 0 0,0 1 1 0 0,0 0-1 0 0,-1 0 0 0 0,1 1 1 0 0,0-1-1 0 0,-1 1 0 0 0,1-1 0 0 0,-1 1 1 0 0,0 0-1 0 0,1 0 0 0 0,-1 1 0 0 0,0-1 1 0 0,0 1-1 0 0,0-1 0 0 0,4 7 0 0 0,2 2-12 0 0,-1-1 0 0 0,0 2-1 0 0,-1-1 1 0 0,0 1 0 0 0,5 13-1 0 0,21 63-2636 0 0,-17-43-447 0 0,-14-38 2063 0 0,-2-5 696 0 0,0-1 0 0 0,1 0 0 0 0,-1 0 1 0 0,1 1-1 0 0,-1-1 0 0 0,1 0 0 0 0,-1 0 0 0 0,1 1 1 0 0,0-1-1 0 0,-1 0 0 0 0,1 0 0 0 0,0 0 1 0 0,0 0-1 0 0,1 2 0 0 0,7 3-1554 0 0</inkml:trace>
</inkml:ink>
</file>

<file path=ppt/ink/ink4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1.7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8 17 348 0 0,'0'-1'389'0'0,"0"1"-194"0"0,1 0 0 0 0,-1-1-1 0 0,0 1 1 0 0,0-1 0 0 0,0 1-1 0 0,1-1 1 0 0,-1 1-1 0 0,0-1 1 0 0,0 1 0 0 0,0-1-1 0 0,0 1 1 0 0,0-1 0 0 0,-5-8 3697 0 0,4 8-3697 0 0,0 1-35 0 0,-1 1 0 0 0,1-1-1 0 0,0 0 1 0 0,0 1 0 0 0,-1-1 0 0 0,1 1-1 0 0,0-1 1 0 0,-1 1 0 0 0,1-1 0 0 0,0 1-1 0 0,0 0 1 0 0,0 0 0 0 0,-1 1 0 0 0,-7 4 372 0 0,1 1 1 0 0,-13 16-1 0 0,16-15-420 0 0,0 0-1 0 0,0 0 1 0 0,1 0-1 0 0,1 1 1 0 0,0 0 0 0 0,0-1-1 0 0,0 1 1 0 0,1 1-1 0 0,0-1 1 0 0,1 0 0 0 0,0 0-1 0 0,1 0 1 0 0,-1 1 0 0 0,2-1-1 0 0,0 0 1 0 0,0 1-1 0 0,0-1 1 0 0,5 16 0 0 0,-4-18-224 0 0,1 0 1 0 0,0-1 0 0 0,-1 1 0 0 0,2-1-1 0 0,-1 1 1 0 0,1-1 0 0 0,0 0 0 0 0,0 0-1 0 0,1 0 1 0 0,0-1 0 0 0,5 5 0 0 0,-6-6-227 0 0,1-1-1 0 0,-1 0 1 0 0,1 0 0 0 0,0 0 0 0 0,0-1 0 0 0,-1 0 0 0 0,2 1 0 0 0,-1-2 0 0 0,0 1 0 0 0,0-1 0 0 0,0 0 0 0 0,1 0 0 0 0,-1 0-1 0 0,1-1 1 0 0,10 0 0 0 0,2-2-1661 0 0,4-3-163 0 0</inkml:trace>
</inkml:ink>
</file>

<file path=ppt/ink/ink4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3.1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 350 684 0 0,'19'-42'6877'0'0,"-18"41"-6325"0"0,3-12 1525 0 0,11-19 277 0 0,-14 30-1892 0 0,-9-13 1371 0 0,12 20-1841 0 0,0-1 0 0 0,0 0 0 0 0,0 1 0 0 0,0 0 0 0 0,-1 0 0 0 0,0 0 0 0 0,0 0 0 0 0,0 0 0 0 0,-1 1 0 0 0,1-1 0 0 0,-1 1 0 0 0,2 10 0 0 0,-2-8 8 0 0,0 1-1 0 0,-1 0 0 0 0,0 1 1 0 0,0-1-1 0 0,-1 0 0 0 0,0 0 1 0 0,-3 18-1 0 0,1-19 24 0 0,0-1 1 0 0,-1 0-1 0 0,0 1 0 0 0,0-2 1 0 0,-1 1-1 0 0,0 0 0 0 0,0-1 1 0 0,-1 1-1 0 0,0-1 0 0 0,0 0 1 0 0,0-1-1 0 0,-1 1 0 0 0,-8 6 1 0 0,12-11 10 0 0,-2-1-14 0 0,3 0-19 0 0,0-1 0 0 0,0 1 0 0 0,0 0 0 0 0,0-1 0 0 0,0 1 0 0 0,-1 0 0 0 0,1-1 0 0 0,0 1 0 0 0,0-1 0 0 0,0 0 0 0 0,0 1 0 0 0,0-1 0 0 0,1 0 0 0 0,-1 0 0 0 0,0 1 0 0 0,0-1 0 0 0,0 0 0 0 0,0-2 0 0 0,0 2-6 0 0,1-1 1 0 0,-1 1-1 0 0,1-1 0 0 0,-1 1 1 0 0,1-1-1 0 0,0 1 0 0 0,0-1 0 0 0,0 1 1 0 0,0-1-1 0 0,0 1 0 0 0,0-1 1 0 0,0 1-1 0 0,1-1 0 0 0,-1 1 1 0 0,0-1-1 0 0,1 1 0 0 0,-1-1 0 0 0,2-1 1 0 0,3-9-10 0 0,1 1 1 0 0,1 0-1 0 0,0 1 0 0 0,0-1 1 0 0,1 1-1 0 0,0 1 1 0 0,1 0-1 0 0,0 0 0 0 0,0 0 1 0 0,1 1-1 0 0,0 1 1 0 0,1 0-1 0 0,12-7 0 0 0,14-6-11 0 0,1 2-1 0 0,66-21 0 0 0,-39 20-44 0 0,-29 9 81 0 0,41-18 0 0 0,-67 24-84 0 0,1-2 0 0 0,-1 1 1 0 0,1-1-1 0 0,-2-1 0 0 0,1 0 0 0 0,-1 0 0 0 0,17-17 0 0 0,-24 21 43 0 0,1 0 0 0 0,-1 0 0 0 0,0 0 0 0 0,0 0 0 0 0,0-1 0 0 0,-1 1 0 0 0,1 0 0 0 0,-1-1 0 0 0,1 0 0 0 0,-1 1 0 0 0,0-1 0 0 0,-1 0-1 0 0,1 1 1 0 0,0-8 0 0 0,-1 10 22 0 0,-1-1-1 0 0,1 0 0 0 0,0 0 0 0 0,-1 0 0 0 0,1 1 0 0 0,-1-1 1 0 0,1 0-1 0 0,-1 1 0 0 0,0-1 0 0 0,0 0 0 0 0,1 1 0 0 0,-1-1 1 0 0,-1 1-1 0 0,1-1 0 0 0,0 1 0 0 0,0 0 0 0 0,0-1 0 0 0,-1 1 1 0 0,1 0-1 0 0,-1 0 0 0 0,1 0 0 0 0,-1 0 0 0 0,1 0 0 0 0,-1 0 1 0 0,1 0-1 0 0,-1 1 0 0 0,0-1 0 0 0,0 0 0 0 0,1 1 0 0 0,-1 0 1 0 0,0-1-1 0 0,-2 1 0 0 0,-4-1 12 0 0,0 1-1 0 0,0 0 1 0 0,0 0 0 0 0,0 0-1 0 0,0 1 1 0 0,0 1-1 0 0,0-1 1 0 0,0 1 0 0 0,1 1-1 0 0,-9 2 1 0 0,2 2 74 0 0,-1 0 0 0 0,1 0 0 0 0,1 1 1 0 0,-15 11-1 0 0,22-14-28 0 0,0-1 1 0 0,0 1 0 0 0,1 0 0 0 0,0 1-1 0 0,0-1 1 0 0,1 1 0 0 0,-1 0-1 0 0,1 1 1 0 0,1-1 0 0 0,-1 1 0 0 0,-4 11-1 0 0,7-15-31 0 0,0 0 0 0 0,0 0-1 0 0,1 1 1 0 0,-1-1-1 0 0,1 1 1 0 0,0-1 0 0 0,0 0-1 0 0,0 1 1 0 0,0-1 0 0 0,0 1-1 0 0,1-1 1 0 0,0 0-1 0 0,-1 1 1 0 0,1-1 0 0 0,0 0-1 0 0,1 0 1 0 0,-1 0-1 0 0,1 0 1 0 0,-1 0 0 0 0,1 0-1 0 0,0 0 1 0 0,0 0 0 0 0,0-1-1 0 0,0 1 1 0 0,1-1-1 0 0,-1 1 1 0 0,4 1 0 0 0,2 2-11 0 0,0-1 0 0 0,1 0 0 0 0,-1 0 0 0 0,1-1 0 0 0,0 0 0 0 0,0-1 0 0 0,1 0 0 0 0,-1 0 0 0 0,1-1 0 0 0,-1 0 0 0 0,1-1 0 0 0,0 0 0 0 0,0-1 0 0 0,-1 0 0 0 0,13-1 0 0 0,4-2-57 0 0,-1 0 1 0 0,0-2-1 0 0,1-1 0 0 0,37-14 1 0 0,-38 10 38 0 0,1 0 1 0 0,-1-2-1 0 0,25-17 1 0 0,-41 24 64 0 0,0-1 1 0 0,-1-1-1 0 0,0 1 1 0 0,0-1-1 0 0,0-1 1 0 0,-1 1-1 0 0,0-1 1 0 0,-1-1-1 0 0,1 1 1 0 0,-2-1-1 0 0,6-10 1 0 0,-11 18-54 0 0,0 1 0 0 0,1-1 0 0 0,-1 1 0 0 0,0-1 0 0 0,0 0 0 0 0,0 1 0 0 0,0-1 0 0 0,1 0 1 0 0,-1 1-1 0 0,0-1 0 0 0,0 1 0 0 0,0-1 0 0 0,-1 0 0 0 0,1 1 0 0 0,0-1 0 0 0,0 0 0 0 0,0 1 0 0 0,0-1 0 0 0,0 1 1 0 0,-1-1-1 0 0,1 0 0 0 0,0 1 0 0 0,-1-1 0 0 0,1 1 0 0 0,0-1 0 0 0,-1 1 0 0 0,1-1 0 0 0,-1 1 0 0 0,1 0 0 0 0,-1-1 1 0 0,1 1-1 0 0,-1-1 0 0 0,1 1 0 0 0,-1 0 0 0 0,1-1 0 0 0,-1 1 0 0 0,1 0 0 0 0,-1 0 0 0 0,1-1 0 0 0,-1 1 0 0 0,-1 0 0 0 0,-23-3 4 0 0,19 3-5 0 0,1 1 0 0 0,-1 1 1 0 0,1-1-1 0 0,0 1 0 0 0,-1 0 1 0 0,1 0-1 0 0,0 0 0 0 0,0 1 0 0 0,0 0 1 0 0,0 0-1 0 0,1 0 0 0 0,-1 0 1 0 0,1 1-1 0 0,0 0 0 0 0,0 0 0 0 0,0 0 1 0 0,1 0-1 0 0,-1 1 0 0 0,1 0 1 0 0,0-1-1 0 0,0 1 0 0 0,1 0 1 0 0,-1 0-1 0 0,1 1 0 0 0,0-1 0 0 0,-1 6 1 0 0,3-10-10 0 0,-1 1 0 0 0,1-1 0 0 0,0 1 0 0 0,0-1 0 0 0,0 0 0 0 0,0 1 0 0 0,0-1 0 0 0,0 1 0 0 0,0-1 0 0 0,0 1 0 0 0,1-1 0 0 0,-1 0 0 0 0,1 1 0 0 0,-1-1 0 0 0,1 1 1 0 0,-1-1-1 0 0,1 0 0 0 0,0 0 0 0 0,-1 1 0 0 0,1-1 0 0 0,2 2 0 0 0,-1-2-55 0 0,0 1 1 0 0,-1-1-1 0 0,1 0 0 0 0,0 0 1 0 0,0 0-1 0 0,1 0 1 0 0,-1 0-1 0 0,0 0 0 0 0,0-1 1 0 0,0 1-1 0 0,0-1 1 0 0,5 1-1 0 0,0-1-200 0 0,1 0-1 0 0,-1 0 1 0 0,0-1 0 0 0,1 1-1 0 0,-1-2 1 0 0,1 1 0 0 0,11-5-1 0 0,-6-1-48 0 0,1 0 0 0 0,-1-1 0 0 0,23-18 0 0 0,-20 14 255 0 0,-14 11 30 0 0,-5 17 318 0 0,4-3-58 0 0,-1-7-116 0 0,1 1-1 0 0,0-1 0 0 0,1 0 0 0 0,0-1 0 0 0,0 1 0 0 0,0 0 0 0 0,1 0 0 0 0,-1-1 1 0 0,1 0-1 0 0,0 1 0 0 0,1-1 0 0 0,0 0 0 0 0,-1 0 0 0 0,2-1 0 0 0,-1 1 0 0 0,0-1 1 0 0,1 0-1 0 0,0 0 0 0 0,0-1 0 0 0,0 1 0 0 0,6 2 0 0 0,-6-4-76 0 0,0-1-1 0 0,0 1 1 0 0,0-1-1 0 0,1 0 1 0 0,-1 0-1 0 0,1 0 1 0 0,-1-1-1 0 0,0 0 1 0 0,1 0-1 0 0,-1-1 1 0 0,1 1-1 0 0,-1-1 1 0 0,0 0-1 0 0,1-1 1 0 0,8-2-1 0 0,-8 1-57 0 0,1-1 0 0 0,0 1-1 0 0,-1-1 1 0 0,0 0 0 0 0,0-1-1 0 0,0 1 1 0 0,10-11 0 0 0,32-43-296 0 0,-41 46 240 0 0,1 1 0 0 0,1 1 0 0 0,0-1 0 0 0,1 2 0 0 0,0-1 0 0 0,19-13 0 0 0,-27 22 58 0 0,-1 0 13 0 0,0 0 0 0 0,0 1 0 0 0,0-1 0 0 0,0 1 1 0 0,0-1-1 0 0,0 1 0 0 0,0-1 0 0 0,1 1 0 0 0,-1 0 0 0 0,0 0 0 0 0,0-1 0 0 0,0 1 0 0 0,0 0 1 0 0,1 0-1 0 0,-1 0 0 0 0,2 1 0 0 0,-2-2 3 0 0,1 1 1 0 0,0 0-1 0 0,-1 0 1 0 0,1 0-1 0 0,-1 1 1 0 0,1-1-1 0 0,0 0 0 0 0,-1 1 1 0 0,1-1-1 0 0,-1 1 1 0 0,1-1-1 0 0,-1 1 1 0 0,1 0-1 0 0,-1-1 0 0 0,1 1 1 0 0,-1 0-1 0 0,1 0 1 0 0,-1 0-1 0 0,0 0 1 0 0,0 0-1 0 0,0 1 0 0 0,0-1 1 0 0,0 0-1 0 0,0 0 1 0 0,2 3-1 0 0,-2-1 2 0 0,0 0 0 0 0,0 0 0 0 0,-1 0 0 0 0,1 0 0 0 0,-1 0-1 0 0,1 1 1 0 0,-1-1 0 0 0,0 5 0 0 0,0-4-11 0 0,-1 1 9 0 0,1 0 1 0 0,-1 0 0 0 0,0 0 0 0 0,-1 0-1 0 0,1 0 1 0 0,-1-1 0 0 0,0 1 0 0 0,0 0-1 0 0,0-1 1 0 0,-1 1 0 0 0,0-1 0 0 0,1 0 0 0 0,-2 0-1 0 0,1 0 1 0 0,-4 4 0 0 0,-5 4 16 0 0,0-1 1 0 0,-1-1-1 0 0,-18 12 1 0 0,28-19-10 0 0,0-1 0 0 0,0 0 0 0 0,0 0 0 0 0,0 0 0 0 0,0 0 0 0 0,-1-1 1 0 0,1 1-1 0 0,-7 1 0 0 0,5-2-37 0 0,3-1-68 0 0,3-1-138 0 0,7-7 174 0 0,1 0 0 0 0,0 1 0 0 0,0 0 1 0 0,0 1-1 0 0,1 0 0 0 0,0 1 1 0 0,13-6-1 0 0,7-4-2 0 0,1-3 80 0 0,0-2 0 0 0,-1-1 0 0 0,-1-1 0 0 0,-1-2 0 0 0,-1 0 0 0 0,24-29 0 0 0,-48 49 17 0 0,0 1 1 0 0,-1 0-1 0 0,1-1 0 0 0,-1 1 1 0 0,3-8-1 0 0,-4 10-30 0 0,-1 0 1 0 0,0 0-1 0 0,1 1 1 0 0,-1-1-1 0 0,0 0 1 0 0,0 0-1 0 0,0 0 1 0 0,1 0-1 0 0,-1 0 1 0 0,0 1 0 0 0,0-1-1 0 0,0 0 1 0 0,-1 0-1 0 0,1 0 1 0 0,0 0-1 0 0,0 0 1 0 0,0 0-1 0 0,-1 1 1 0 0,1-1-1 0 0,0 0 1 0 0,-1 0-1 0 0,1 0 1 0 0,-1 1-1 0 0,1-1 1 0 0,-1 0-1 0 0,1 1 1 0 0,-1-1-1 0 0,1 0 1 0 0,-1 1-1 0 0,-1-2 1 0 0,1 1-31 0 0,-11 4 24 0 0,8-3 9 0 0,1 1 0 0 0,0-1 0 0 0,0 1 1 0 0,0 0-1 0 0,0 0 0 0 0,0 0 0 0 0,0 0 0 0 0,0 1 0 0 0,1-1 0 0 0,-1 1 0 0 0,0 0 0 0 0,1 0 1 0 0,-1 0-1 0 0,1 0 0 0 0,-3 3 0 0 0,2-2 2 0 0,1 0 0 0 0,0 0 0 0 0,0 0 1 0 0,0 0-1 0 0,0 0 0 0 0,1 0 0 0 0,-1 0 0 0 0,1 0 1 0 0,0 1-1 0 0,0-1 0 0 0,0 1 0 0 0,1-1 0 0 0,-1 1 1 0 0,1-1-1 0 0,-1 1 0 0 0,1-1 0 0 0,1 1 0 0 0,-1-1 0 0 0,0 1 1 0 0,1-1-1 0 0,-1 1 0 0 0,1-1 0 0 0,0 1 0 0 0,0-1 1 0 0,2 4-1 0 0,0-2 4 0 0,0 0 1 0 0,0 0-1 0 0,1-1 0 0 0,-1 1 1 0 0,1-1-1 0 0,0 0 0 0 0,0 0 1 0 0,1 0-1 0 0,-1-1 0 0 0,1 0 1 0 0,0 1-1 0 0,0-1 1 0 0,0-1-1 0 0,0 1 0 0 0,7 2 1 0 0,-1-1-51 0 0,0-1 0 0 0,1 0 0 0 0,-1-1 0 0 0,1 0 0 0 0,-1 0 0 0 0,1-1 0 0 0,-1-1 0 0 0,1 0 0 0 0,0-1 0 0 0,-1 0 0 0 0,1 0 0 0 0,12-4 0 0 0,-16 3 9 0 0,0-1 0 0 0,-1 0-1 0 0,0 0 1 0 0,1-1 0 0 0,-1 1-1 0 0,0-2 1 0 0,-1 1 0 0 0,1-1-1 0 0,-1 0 1 0 0,0 0 0 0 0,0 0-1 0 0,0-1 1 0 0,-1 0 0 0 0,0-1-1 0 0,0 1 1 0 0,-1-1 0 0 0,1 1-1 0 0,3-11 1 0 0,14-27 87 0 0,-21 42-66 0 0,3 5 132 0 0,-3-3-113 0 0,-1 0 0 0 0,1 0-1 0 0,-1 0 1 0 0,1 0 0 0 0,0 0 0 0 0,-1 0-1 0 0,1 1 1 0 0,-1-1 0 0 0,1 0 0 0 0,-1 0-1 0 0,1 1 1 0 0,0-1 0 0 0,-1 0 0 0 0,1 1-1 0 0,-1-1 1 0 0,0 0 0 0 0,1 1 0 0 0,-1-1-1 0 0,1 1 1 0 0,9 16 297 0 0,-1 0 0 0 0,-1 0 0 0 0,-1 1-1 0 0,0 0 1 0 0,-1 0 0 0 0,-1 1 0 0 0,3 26-1 0 0,-8-42-286 0 0,0 0-1 0 0,0 0 1 0 0,0-1-1 0 0,0 1 1 0 0,-1 0-1 0 0,1 0 1 0 0,-1-1-1 0 0,0 1 1 0 0,0 0-1 0 0,0-1 1 0 0,0 1-1 0 0,0-1 1 0 0,-1 1-1 0 0,1-1 1 0 0,-1 0-1 0 0,-1 3 1 0 0,-1-1-113 0 0,0 0 0 0 0,-1 0-1 0 0,1 0 1 0 0,-1 0 0 0 0,0-1 0 0 0,0 0 0 0 0,-6 3 0 0 0,-3 1-846 0 0,0-1-1 0 0,-1-1 0 0 0,0-1 0 0 0,0 0 1 0 0,-15 2-1 0 0,5-2-2093 0 0,-2-2-955 0 0</inkml:trace>
</inkml:ink>
</file>

<file path=ppt/ink/ink4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3.9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224 0 0,'0'0'4798'0'0,"1"10"-2826"0"0,0 131 2156 0 0,9-58-3669 0 0,37 146 0 0 0,-14-86-5164 0 0,-30-125 2441 0 0,-2-1-403 0 0</inkml:trace>
</inkml:ink>
</file>

<file path=ppt/ink/ink4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4.5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2 269 1160 0 0,'-54'-41'6746'0'0,"53"40"-6710"0"0,0 0 0 0 0,1 1 0 0 0,-1-1 0 0 0,1 1 1 0 0,-1-1-1 0 0,1 0 0 0 0,-1 1 0 0 0,1-1 0 0 0,0 0 0 0 0,-1 1 0 0 0,1-1 0 0 0,0 0 0 0 0,-1 1 0 0 0,1-1 0 0 0,0 0 1 0 0,0 0-1 0 0,0 0 0 0 0,0 1 0 0 0,0-1 0 0 0,0 0 0 0 0,0 0 0 0 0,0 1 0 0 0,0-1 0 0 0,0 0 0 0 0,0 0 0 0 0,0 0 1 0 0,1 1-1 0 0,-1-1 0 0 0,0 0 0 0 0,1 1 0 0 0,-1-1 0 0 0,0 0 0 0 0,1 0 0 0 0,-1 1 0 0 0,1-1 0 0 0,-1 1 0 0 0,1-1 1 0 0,-1 0-1 0 0,1 1 0 0 0,-1-1 0 0 0,2 0 0 0 0,2-2 38 0 0,0 0 1 0 0,0 0 0 0 0,1 0-1 0 0,7-4 1 0 0,25-9 54 0 0,0 2 1 0 0,1 2-1 0 0,47-9 0 0 0,13-4-35 0 0,18-15 243 0 0,28-8 1347 0 0,-141 47-1652 0 0,-1 1 0 0 0,1 0 0 0 0,0-1-1 0 0,-1 1 1 0 0,1 0 0 0 0,-1 0 0 0 0,1 0-1 0 0,0 0 1 0 0,-1 1 0 0 0,1-1 0 0 0,0 1 0 0 0,-1 0-1 0 0,1-1 1 0 0,-1 1 0 0 0,0 0 0 0 0,1 1 0 0 0,-1-1-1 0 0,0 0 1 0 0,1 1 0 0 0,-1-1 0 0 0,0 1 0 0 0,0-1-1 0 0,0 1 1 0 0,0 0 0 0 0,-1 0 0 0 0,1 0 0 0 0,2 3-1 0 0,2 6 64 0 0,1 0 0 0 0,-2 0 1 0 0,1 0-1 0 0,5 19 0 0 0,-3-10-18 0 0,2 6 164 0 0,-1-1 0 0 0,-1 2 1 0 0,-1-1-1 0 0,-2 1 0 0 0,0 0 1 0 0,1 38-1 0 0,-7-60-88 0 0,0-6-102 0 0,-4-10-165 0 0,0-22-365 0 0,5 27 397 0 0,1-1-1 0 0,0 0 1 0 0,1 1-1 0 0,-1-1 1 0 0,1 1-1 0 0,1 0 1 0 0,-1-1 0 0 0,1 1-1 0 0,0 0 1 0 0,0 0-1 0 0,1 1 1 0 0,0-1 0 0 0,7-8-1 0 0,-8 11 64 0 0,0 0 1 0 0,0 1-1 0 0,1-1 0 0 0,-1 1 1 0 0,0-1-1 0 0,1 1 0 0 0,0 0 1 0 0,0 0-1 0 0,-1 1 0 0 0,1-1 1 0 0,0 1-1 0 0,0 0 0 0 0,1 0 1 0 0,-1 0-1 0 0,0 1 0 0 0,0-1 1 0 0,0 1-1 0 0,0 0 0 0 0,1 0 1 0 0,-1 0-1 0 0,0 1 0 0 0,7 1 1 0 0,78 27-107 0 0,8 1 80 0 0,-86-28 40 0 0,1 0 0 0 0,-1 0 0 0 0,0-2-1 0 0,0 1 1 0 0,1-1 0 0 0,20-3 0 0 0,-27 2-59 0 0,0 0 0 0 0,0 0 0 0 0,0-1 0 0 0,0 0 0 0 0,0 0 0 0 0,-1 0 0 0 0,1-1 0 0 0,-1 1 1 0 0,0-1-1 0 0,0 0 0 0 0,0 0 0 0 0,0 0 0 0 0,0-1 0 0 0,-1 1 0 0 0,1-1 0 0 0,3-5 1 0 0,-6 6 17 0 0,1 1 0 0 0,-1-1 1 0 0,1 0-1 0 0,-1 1 0 0 0,0-1 1 0 0,0 0-1 0 0,0 0 0 0 0,0 0 1 0 0,-1 0-1 0 0,1 0 0 0 0,-1 1 1 0 0,0-1-1 0 0,0 0 0 0 0,0 0 1 0 0,0 0-1 0 0,0 0 0 0 0,-1 0 1 0 0,1 0-1 0 0,-1 0 0 0 0,0 0 1 0 0,0 0-1 0 0,0 0 0 0 0,0 1 1 0 0,0-1-1 0 0,-1 0 0 0 0,1 1 1 0 0,-1-1-1 0 0,-2-2 0 0 0,2 2 40 0 0,0 1-1 0 0,-1 0 1 0 0,1 0-1 0 0,0 0 0 0 0,-1 0 1 0 0,1 1-1 0 0,-1-1 1 0 0,1 0-1 0 0,-1 1 1 0 0,0 0-1 0 0,0 0 0 0 0,0 0 1 0 0,0 0-1 0 0,-5-1 1 0 0,-1 1 15 0 0,1 0 0 0 0,-1 1 0 0 0,-16 1 0 0 0,24-1 5 0 0,-1 0 0 0 0,0 0 0 0 0,0 0 0 0 0,0 1 0 0 0,0-1 0 0 0,1 1 1 0 0,-1-1-1 0 0,0 1 0 0 0,0 0 0 0 0,1 0 0 0 0,-1-1 0 0 0,-3 4 0 0 0,5-4-2 0 0,-1 1 0 0 0,0 0 0 0 0,1 0 0 0 0,-1-1 0 0 0,0 1 0 0 0,1 0 0 0 0,-1 0 0 0 0,1 0 0 0 0,0 0 0 0 0,-1 0 0 0 0,1 0 0 0 0,0 0 0 0 0,-1 0 0 0 0,1 0 0 0 0,0 0 0 0 0,0 0 0 0 0,0 1 0 0 0,0 2 11 0 0,1-1 1 0 0,-1 0-1 0 0,1 1 1 0 0,0-1-1 0 0,0 0 0 0 0,1 0 1 0 0,-1 0-1 0 0,0 0 1 0 0,1 0-1 0 0,0 0 0 0 0,2 3 1 0 0,3 3-302 0 0,1 0 0 0 0,0-1 1 0 0,0 0-1 0 0,1 0 1 0 0,18 13-1 0 0,22 8-5650 0 0</inkml:trace>
</inkml:ink>
</file>

<file path=ppt/ink/ink4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5.0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 2 140 0 0,'0'0'4846'0'0,"-2"0"-4223"0"0,-9-1-150 0 0,8 0 407 0 0,2 15 1053 0 0,16 31-151 0 0,1 0-1 0 0,29 56 0 0 0,-18-41-773 0 0,-18-37 271 0 0,-7-15-438 0 0,-4-14 606 0 0,1 2-1454 0 0,0-1-1 0 0,0 0 1 0 0,0 1 0 0 0,1-1-1 0 0,-1 0 1 0 0,1 1-1 0 0,0-1 1 0 0,1 0-1 0 0,-1 1 1 0 0,1-1-1 0 0,2-8 1 0 0,1 1-73 0 0,0 0 1 0 0,11-23-1 0 0,-14 33 67 0 0,0 0 0 0 0,1 0 0 0 0,-1 0 0 0 0,0 0 0 0 0,1 0 0 0 0,-1 0 0 0 0,1 0 0 0 0,-1 0 0 0 0,1 1 0 0 0,0-1 0 0 0,0 0 0 0 0,0 1 1 0 0,0 0-1 0 0,0-1 0 0 0,0 1 0 0 0,0 0 0 0 0,0 0 0 0 0,0 0 0 0 0,1 0 0 0 0,-1 1 0 0 0,5-2 0 0 0,-4 2 7 0 0,0 0 0 0 0,0 1 1 0 0,-1-1-1 0 0,1 1 1 0 0,0-1-1 0 0,0 1 0 0 0,-1 0 1 0 0,1 0-1 0 0,0 0 1 0 0,-1 1-1 0 0,1-1 0 0 0,-1 1 1 0 0,1-1-1 0 0,-1 1 1 0 0,0 0-1 0 0,0 0 1 0 0,1 0-1 0 0,2 4 0 0 0,4 5-263 0 0,0 0 0 0 0,-1 0 0 0 0,0 1 0 0 0,-1 0 0 0 0,0 0 0 0 0,-1 1 0 0 0,9 24 0 0 0,-11-21-2171 0 0,1 1 0 0 0,-2 0-1 0 0,2 22 1 0 0,-5-28-1337 0 0</inkml:trace>
</inkml:ink>
</file>

<file path=ppt/ink/ink4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5.8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3 67 636 0 0,'0'-3'1200'0'0,"0"0"-1072"0"0,0 0 0 0 0,0 1-1 0 0,0-1 1 0 0,-1 1 0 0 0,1-1-1 0 0,-1 0 1 0 0,1 1 0 0 0,-1-1-1 0 0,0 1 1 0 0,0-1 0 0 0,-1 1-1 0 0,1 0 1 0 0,0-1 0 0 0,-1 1-1 0 0,1 0 1 0 0,-1 0 0 0 0,0 0-1 0 0,0 0 1 0 0,1 0 0 0 0,-1 1-1 0 0,-1-1 1 0 0,1 0 0 0 0,0 1-1 0 0,0 0 1 0 0,-1-1 0 0 0,1 1-1 0 0,0 0 1 0 0,-1 0 0 0 0,1 0 0 0 0,-1 1-1 0 0,1-1 1 0 0,-1 0 0 0 0,0 1-1 0 0,1 0 1 0 0,-1 0 0 0 0,0 0-1 0 0,-4 0 1 0 0,-1 1 17 0 0,0 0 0 0 0,1 1 1 0 0,-1 0-1 0 0,0 0 0 0 0,1 0 0 0 0,0 1 0 0 0,-1 1 1 0 0,1-1-1 0 0,0 1 0 0 0,1 0 0 0 0,-1 0 0 0 0,1 1 1 0 0,0 0-1 0 0,-6 6 0 0 0,4-4 19 0 0,1 1 0 0 0,0 0 0 0 0,0 1 0 0 0,1-1 0 0 0,0 1-1 0 0,0 0 1 0 0,1 1 0 0 0,1-1 0 0 0,-7 19 0 0 0,10-24-118 0 0,-1 0 1 0 0,2 0-1 0 0,-1 0 0 0 0,0 0 1 0 0,1 1-1 0 0,0-1 0 0 0,0 0 1 0 0,0 0-1 0 0,0 0 0 0 0,1 1 1 0 0,0-1-1 0 0,0 0 0 0 0,0 0 1 0 0,0 0-1 0 0,0 0 1 0 0,1 0-1 0 0,0-1 0 0 0,0 1 1 0 0,0 0-1 0 0,0-1 0 0 0,1 1 1 0 0,-1-1-1 0 0,1 0 0 0 0,0 0 1 0 0,0 0-1 0 0,0 0 0 0 0,0 0 1 0 0,0-1-1 0 0,1 1 0 0 0,4 2 1 0 0,-6-5-56 0 0,0 1 0 0 0,0-1 0 0 0,0 1-1 0 0,0-1 1 0 0,0 1 0 0 0,0-1 0 0 0,0 0 0 0 0,0 0 0 0 0,1 0 0 0 0,-1-1 0 0 0,0 1 0 0 0,0 0 0 0 0,0-1 0 0 0,0 1 0 0 0,0-1 0 0 0,3-1 0 0 0,-1 1-74 0 0,0-1 1 0 0,0 0-1 0 0,0 0 1 0 0,-1 0 0 0 0,1-1-1 0 0,6-5 1 0 0,3-6 144 0 0,-2-2 0 0 0,1 1 0 0 0,-2-2 0 0 0,0 1 1 0 0,11-29-1 0 0,-20 43 18 0 0,6-2 124 0 0,-4 10-55 0 0,-2-2-127 0 0,0-1-2 0 0,7 30-302 0 0,14 34 0 0 0,-19-59-237 0 0,0 1 0 0 0,1-1-1 0 0,1 0 1 0 0,-1 0 0 0 0,1 0 0 0 0,1-1-1 0 0,-1 1 1 0 0,1-1 0 0 0,10 9 0 0 0,-5-9-1345 0 0,1-1-171 0 0</inkml:trace>
</inkml:ink>
</file>

<file path=ppt/ink/ink4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6.1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1 32 740 0 0,'0'-2'274'0'0,"-1"0"1"0"0,0 1-1 0 0,1-1 0 0 0,-1 0 0 0 0,0 0 1 0 0,0 1-1 0 0,-1-1 0 0 0,1 1 0 0 0,0-1 1 0 0,0 1-1 0 0,-1 0 0 0 0,1-1 0 0 0,-1 1 0 0 0,1 0 1 0 0,-1 0-1 0 0,1 0 0 0 0,-1 0 0 0 0,0 0 1 0 0,1 0-1 0 0,-4 0 0 0 0,2 0-62 0 0,-1 0 0 0 0,1 1-1 0 0,-1 0 1 0 0,1 0 0 0 0,-1 0-1 0 0,1 0 1 0 0,-1 0 0 0 0,1 1 0 0 0,0-1-1 0 0,-6 3 1 0 0,-2 1 131 0 0,0 0 0 0 0,0 1 0 0 0,1 0 0 0 0,0 1 0 0 0,-16 11 0 0 0,18-11-191 0 0,0 1 0 0 0,1 0 0 0 0,0 0 0 0 0,1 0-1 0 0,-1 1 1 0 0,1-1 0 0 0,1 2 0 0 0,-1-1 0 0 0,1 1 0 0 0,1-1 0 0 0,0 1 0 0 0,-5 16 0 0 0,7-18-116 0 0,0 0 0 0 0,1 1 0 0 0,0-1 0 0 0,0 0 0 0 0,1 1 0 0 0,0-1-1 0 0,0 0 1 0 0,1 0 0 0 0,0 1 0 0 0,0-1 0 0 0,0 0 0 0 0,1 0 0 0 0,0 0 0 0 0,1 0 0 0 0,0 0-1 0 0,0 0 1 0 0,6 10 0 0 0,-5-11-137 0 0,0-1-1 0 0,1 1 1 0 0,-1-1-1 0 0,1 1 1 0 0,0-1-1 0 0,0-1 1 0 0,0 1-1 0 0,1-1 1 0 0,0 0-1 0 0,0 0 1 0 0,0 0-1 0 0,0-1 1 0 0,0 0-1 0 0,9 2 1 0 0,-7-2-309 0 0,-1-2 0 0 0,1 1 0 0 0,0-1 0 0 0,0 0 0 0 0,0-1 0 0 0,0 0 0 0 0,0 0 0 0 0,1-1 0 0 0,-1 0 0 0 0,-1 0 0 0 0,1-1 0 0 0,9-3 0 0 0,8-5-1623 0 0,2-2-185 0 0</inkml:trace>
</inkml:ink>
</file>

<file path=ppt/ink/ink4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6.5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8 28 156 0 0,'0'-3'1357'0'0,"1"2"-1241"0"0,-1 0 1 0 0,0 0-1 0 0,0 0 0 0 0,0 1 1 0 0,-1-1-1 0 0,1 0 1 0 0,0 0-1 0 0,0 0 0 0 0,0 0 1 0 0,-1 0-1 0 0,1 0 1 0 0,0 0-1 0 0,-1 1 0 0 0,1-1 1 0 0,-1 0-1 0 0,1 0 0 0 0,-1 0 1 0 0,1 1-1 0 0,-1-1 1 0 0,0 0-1 0 0,1 1 0 0 0,-1-1 1 0 0,0 0-1 0 0,0 1 1 0 0,1-1-1 0 0,-1 1 0 0 0,0-1 1 0 0,0 1-1 0 0,0 0 1 0 0,0-1-1 0 0,1 1 0 0 0,-1 0 1 0 0,0-1-1 0 0,0 1 1 0 0,0 0-1 0 0,0 0 0 0 0,0 0 1 0 0,0 0-1 0 0,0 0 0 0 0,0 0 1 0 0,-1 0-1 0 0,-6 2 56 0 0,0-1-1 0 0,0 2 1 0 0,0-1-1 0 0,0 1 1 0 0,0 0-1 0 0,0 0 0 0 0,1 1 1 0 0,-1 0-1 0 0,1 1 1 0 0,0 0-1 0 0,0 0 1 0 0,1 0-1 0 0,0 1 1 0 0,0 0-1 0 0,0 0 0 0 0,0 0 1 0 0,1 1-1 0 0,0 0 1 0 0,1 0-1 0 0,-6 10 1 0 0,8-12-158 0 0,-1 0 1 0 0,1 0 0 0 0,0 1 0 0 0,0-1-1 0 0,0 1 1 0 0,1-1 0 0 0,0 1 0 0 0,0 0-1 0 0,0 0 1 0 0,1-1 0 0 0,0 1-1 0 0,0 0 1 0 0,1 0 0 0 0,-1 0 0 0 0,1-1-1 0 0,0 1 1 0 0,1 0 0 0 0,-1-1 0 0 0,1 1-1 0 0,0-1 1 0 0,1 0 0 0 0,-1 1-1 0 0,1-1 1 0 0,0 0 0 0 0,0-1 0 0 0,1 1-1 0 0,0 0 1 0 0,-1-1 0 0 0,1 0 0 0 0,7 6-1 0 0,-6-6-131 0 0,0-1 0 0 0,0 1 0 0 0,1-1 0 0 0,-1 0 0 0 0,1 0 0 0 0,-1-1 0 0 0,1 1-1 0 0,0-1 1 0 0,0-1 0 0 0,0 1 0 0 0,0-1 0 0 0,11 1 0 0 0,-7-2-99 0 0,-1 0 1 0 0,1 0-1 0 0,-1-2 0 0 0,1 1 0 0 0,0-1 1 0 0,-1 0-1 0 0,14-6 0 0 0,-4 0 134 0 0,0-1 0 0 0,-1 0 0 0 0,-1-2 0 0 0,1 0 0 0 0,-2-1 0 0 0,1 0-1 0 0,14-17 1 0 0,-26 25 382 0 0,-1-1 0 0 0,0 0 1 0 0,0 0-1 0 0,-1-1 0 0 0,1 1 0 0 0,-1-1 0 0 0,0 1 0 0 0,-1-1 0 0 0,1 0 0 0 0,-1 0 1 0 0,0 0-1 0 0,-1-1 0 0 0,0 1 0 0 0,1-11 0 0 0,-5 18-90 0 0,2 0-183 0 0,-1 0 0 0 0,1-1 0 0 0,-1 1 1 0 0,1 0-1 0 0,0 0 0 0 0,0 0 0 0 0,-1 0 0 0 0,1 0 0 0 0,0 0 0 0 0,0 0 0 0 0,0 0 1 0 0,0 1-1 0 0,0-1 0 0 0,0 0 0 0 0,-1 3 0 0 0,1 0 20 0 0,0-1 1 0 0,0 1-1 0 0,1 0 1 0 0,-1 0-1 0 0,1-1 1 0 0,-1 1-1 0 0,1 5 0 0 0,1-4-31 0 0,-1 1 0 0 0,1 0-1 0 0,0 0 1 0 0,0 0 0 0 0,0 0-1 0 0,1 0 1 0 0,0-1-1 0 0,0 1 1 0 0,1-1 0 0 0,-1 1-1 0 0,1-1 1 0 0,0 0-1 0 0,1 0 1 0 0,-1 0 0 0 0,1-1-1 0 0,0 1 1 0 0,0-1-1 0 0,0 0 1 0 0,1 0 0 0 0,0 0-1 0 0,-1-1 1 0 0,1 0 0 0 0,0 0-1 0 0,1 0 1 0 0,-1 0-1 0 0,1-1 1 0 0,-1 0 0 0 0,1 0-1 0 0,-1 0 1 0 0,1-1-1 0 0,0 0 1 0 0,0 0 0 0 0,0 0-1 0 0,0-1 1 0 0,6 0-1 0 0,-3-1-119 0 0,0 0 0 0 0,-1-1 0 0 0,1-1-1 0 0,0 1 1 0 0,-1-1 0 0 0,0 0-1 0 0,0-1 1 0 0,0 0 0 0 0,0-1-1 0 0,0 1 1 0 0,13-12 0 0 0,-12 7 103 0 0,0 0 1 0 0,0 0 0 0 0,0-1-1 0 0,-2 0 1 0 0,1 0-1 0 0,-1-1 1 0 0,10-20 0 0 0,-5-15 954 0 0,-12 44-363 0 0,0 2-580 0 0,-1 0 0 0 0,0 0-1 0 0,0 1 1 0 0,1-1 0 0 0,-1 0 0 0 0,0 1-1 0 0,1-1 1 0 0,-1 1 0 0 0,1-1 0 0 0,-1 1-1 0 0,0-1 1 0 0,1 1 0 0 0,-1-1 0 0 0,1 1-1 0 0,-1 0 1 0 0,1-1 0 0 0,0 1 0 0 0,-1 0-1 0 0,1-1 1 0 0,0 1 0 0 0,-1 0 0 0 0,1 0-1 0 0,0-1 1 0 0,0 1 0 0 0,0 0 0 0 0,-1 0-1 0 0,1-1 1 0 0,0 1 0 0 0,0 0 0 0 0,0 0-1 0 0,0 0 1 0 0,1-1 0 0 0,-1 2-1 0 0,1 32 113 0 0,-1-31-109 0 0,2 14-491 0 0,1 1-1 0 0,1 0 1 0 0,0-1-1 0 0,1 0 1 0 0,10 21-1 0 0,-2-4-4850 0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05.8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 0 1740 0 0,'-5'2'872'0'0,"1"1"0"0"0,0-1 0 0 0,0 1 0 0 0,0 0-1 0 0,1 0 1 0 0,-1 0 0 0 0,1 0 0 0 0,-4 5 0 0 0,7-8-835 0 0,0 1-1 0 0,0-1 1 0 0,0 1 0 0 0,0-1 0 0 0,0 0-1 0 0,0 1 1 0 0,0-1 0 0 0,0 0-1 0 0,0 1 1 0 0,1-1 0 0 0,-1 0 0 0 0,0 1-1 0 0,0-1 1 0 0,0 0 0 0 0,1 1 0 0 0,-1-1-1 0 0,0 0 1 0 0,0 1 0 0 0,1-1 0 0 0,-1 0-1 0 0,0 0 1 0 0,0 1 0 0 0,1-1-1 0 0,-1 0 1 0 0,0 0 0 0 0,1 0 0 0 0,-1 1-1 0 0,0-1 1 0 0,1 0 0 0 0,-1 0 0 0 0,1 0-1 0 0,-1 0 1 0 0,1 0 0 0 0,11 6 468 0 0,20 1 48 0 0,-1-2 1 0 0,1-1-1 0 0,-1-1 1 0 0,40-2-1 0 0,-30 0-282 0 0,227 7 339 0 0,-264-8-871 0 0,-2 0-648 0 0,4 0 1286 0 0</inkml:trace>
</inkml:ink>
</file>

<file path=ppt/ink/ink4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7.1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2 1624 0 0,'2'-1'1596'0'0,"-1"-1"-1391"0"0,0 1 0 0 0,0 0 0 0 0,0 0 0 0 0,0 0 0 0 0,0 0 0 0 0,1 0 0 0 0,-1 0 0 0 0,0 0 0 0 0,1 1 0 0 0,-1-1 0 0 0,0 0 0 0 0,1 1 0 0 0,-1-1 0 0 0,1 1 0 0 0,-1-1 0 0 0,1 1 0 0 0,-1 0 0 0 0,1 0 0 0 0,-1 0 0 0 0,1-1 0 0 0,-1 1 0 0 0,4 1 0 0 0,-3 0-49 0 0,1 0 0 0 0,-1 0-1 0 0,0 0 1 0 0,0 0 0 0 0,1 0-1 0 0,-1 0 1 0 0,0 1 0 0 0,0-1-1 0 0,0 1 1 0 0,0 0 0 0 0,-1 0-1 0 0,4 3 1 0 0,0 2 3 0 0,0 1 1 0 0,0-1-1 0 0,-1 1 0 0 0,0 0 0 0 0,0 0 1 0 0,-1 0-1 0 0,3 11 0 0 0,-4-10-99 0 0,-1 1-1 0 0,0 0 1 0 0,-1-1-1 0 0,0 1 0 0 0,-1-1 1 0 0,0 1-1 0 0,-1 0 1 0 0,1-1-1 0 0,-2 0 1 0 0,1 1-1 0 0,-2-1 1 0 0,-5 13-1 0 0,3-14 33 0 0,2-11-413 0 0,4 2 285 0 0,-1 0 0 0 0,1 0 0 0 0,0-1 0 0 0,0 1 0 0 0,0 0 0 0 0,0 0-1 0 0,0 0 1 0 0,0 0 0 0 0,0 0 0 0 0,0 0 0 0 0,1 0 0 0 0,-1 0 0 0 0,0 0-1 0 0,1 0 1 0 0,-1 0 0 0 0,1-1 0 0 0,5-6-168 0 0,1 0 0 0 0,0 0 1 0 0,1 0-1 0 0,0 1 0 0 0,16-12 0 0 0,48-24-274 0 0,59-17 23 0 0,-98 47 691 0 0,0-2 0 0 0,0 0-1 0 0,54-37 1 0 0,-64 30 348 0 0,-23 22-566 0 0,1-1-1 0 0,-1 1 0 0 0,0-1 1 0 0,1 1-1 0 0,-1-1 0 0 0,1 1 0 0 0,-1-1 1 0 0,0 1-1 0 0,1-1 0 0 0,-1 1 1 0 0,0-1-1 0 0,1 1 0 0 0,-1-1 0 0 0,0 0 1 0 0,0 1-1 0 0,0-1 0 0 0,0 1 0 0 0,0-1 1 0 0,1 0-1 0 0,-1 1 0 0 0,0-1 1 0 0,0 0-1 0 0,-1 1 0 0 0,1-1 0 0 0,0 1 1 0 0,0-1-1 0 0,0 0 0 0 0,0 1 1 0 0,0-1-1 0 0,-1 1 0 0 0,1-1 0 0 0,0 0 1 0 0,0 1-1 0 0,-1-1 0 0 0,1 1 1 0 0,-1-1-1 0 0,1 1 0 0 0,0-1 0 0 0,-1 0 1 0 0,0 1-10 0 0,0 0 0 0 0,0-1 1 0 0,0 1-1 0 0,-1 0 0 0 0,1 0 0 0 0,0 0 1 0 0,0 0-1 0 0,0 0 0 0 0,0 0 1 0 0,0 0-1 0 0,0 0 0 0 0,0 0 0 0 0,0 0 1 0 0,0 1-1 0 0,0-1 0 0 0,-2 1 1 0 0,1 0 2 0 0,-8 1 8 0 0,0 0 0 0 0,0 1-1 0 0,1 0 1 0 0,-1 1 0 0 0,1 0 0 0 0,0 1-1 0 0,0 0 1 0 0,0 0 0 0 0,1 1-1 0 0,0 0 1 0 0,0 0 0 0 0,0 1-1 0 0,1 0 1 0 0,0 0 0 0 0,0 1 0 0 0,1 0-1 0 0,0 0 1 0 0,0 1 0 0 0,1-1-1 0 0,0 1 1 0 0,-6 17 0 0 0,10-23-63 0 0,0 0 0 0 0,0 0 0 0 0,0-1 0 0 0,1 1 0 0 0,-1 0 0 0 0,1 0 0 0 0,0 0 0 0 0,0 0 0 0 0,0 0 0 0 0,0 0 1 0 0,0 0-1 0 0,1 0 0 0 0,0 0 0 0 0,-1 0 0 0 0,1 0 0 0 0,0 0 0 0 0,0-1 0 0 0,0 1 0 0 0,1 0 0 0 0,-1-1 0 0 0,1 1 0 0 0,-1-1 0 0 0,1 1 0 0 0,0-1 1 0 0,2 3-1 0 0,-3-5-41 0 0,1 1 0 0 0,-1-1 1 0 0,0 1-1 0 0,0-1 0 0 0,0 1 1 0 0,0-1-1 0 0,1 0 0 0 0,-1 0 1 0 0,0 0-1 0 0,0 1 1 0 0,1-1-1 0 0,-1 0 0 0 0,0-1 1 0 0,0 1-1 0 0,1 0 0 0 0,-1 0 1 0 0,0 0-1 0 0,0-1 0 0 0,0 1 1 0 0,1-1-1 0 0,0 0 0 0 0,22-14-1474 0 0,-17 6 1508 0 0,0 0-1 0 0,0 0 1 0 0,-1-1-1 0 0,0 0 1 0 0,8-19 0 0 0,3-5 3391 0 0,-16 35-3298 0 0,0-1 1 0 0,0 1 0 0 0,0 0 0 0 0,0-1-1 0 0,-1 1 1 0 0,1 0 0 0 0,0 0-1 0 0,0-1 1 0 0,-1 1 0 0 0,1 0 0 0 0,-1 0-1 0 0,1 0 1 0 0,-1 0 0 0 0,1 0 0 0 0,-1 0-1 0 0,1 0 1 0 0,-1 0 0 0 0,0 0-1 0 0,0 0 1 0 0,1 0 0 0 0,-1 0 0 0 0,0 0-1 0 0,0 0 1 0 0,0 2 0 0 0,2 6 84 0 0,2 7-34 0 0,2 0-1 0 0,0-1 1 0 0,1 0 0 0 0,0 0-1 0 0,11 15 1 0 0,-14-24-369 0 0,1 0 1 0 0,0-1 0 0 0,0 1 0 0 0,0-1-1 0 0,11 8 1 0 0,-12-10-280 0 0,1 0 0 0 0,0 0 0 0 0,0-1 0 0 0,-1 1 0 0 0,2-1-1 0 0,-1 0 1 0 0,0-1 0 0 0,10 2 0 0 0,2 0-2402 0 0</inkml:trace>
</inkml:ink>
</file>

<file path=ppt/ink/ink4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7.5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2 4 1656 0 0,'-6'-1'381'0'0,"-1"0"0"0"0,1 0 1 0 0,-1 1-1 0 0,1-1 0 0 0,-1 1 0 0 0,1 1 0 0 0,-1-1 1 0 0,1 1-1 0 0,-1 1 0 0 0,1-1 0 0 0,-1 1 0 0 0,1 0 0 0 0,0 0 1 0 0,0 1-1 0 0,0 0 0 0 0,0 0 0 0 0,0 0 0 0 0,-8 7 0 0 0,9-6-271 0 0,0-1-1 0 0,1 1 0 0 0,-1 0 0 0 0,1 0 0 0 0,0 0 0 0 0,0 0 0 0 0,0 1 0 0 0,1 0 1 0 0,-1-1-1 0 0,1 2 0 0 0,0-1 0 0 0,1 0 0 0 0,-1 0 0 0 0,1 1 0 0 0,0-1 0 0 0,0 1 0 0 0,1 0 1 0 0,0 0-1 0 0,0-1 0 0 0,0 1 0 0 0,1 8 0 0 0,0-12-97 0 0,0 0-1 0 0,0 0 1 0 0,1 1 0 0 0,-1-1-1 0 0,1 0 1 0 0,0 0 0 0 0,-1 1-1 0 0,1-1 1 0 0,0 0 0 0 0,0 0 0 0 0,0 0-1 0 0,1 0 1 0 0,-1-1 0 0 0,0 1-1 0 0,1 0 1 0 0,-1 0 0 0 0,1-1-1 0 0,0 1 1 0 0,0-1 0 0 0,3 3-1 0 0,-2-2-91 0 0,1-1-1 0 0,0 1 1 0 0,0-1 0 0 0,-1 0-1 0 0,1 0 1 0 0,0 0-1 0 0,1 0 1 0 0,-1-1 0 0 0,0 1-1 0 0,8-1 1 0 0,-2-1-313 0 0,0 0 1 0 0,0-1-1 0 0,0 0 0 0 0,0 0 1 0 0,0-1-1 0 0,-1 0 0 0 0,1-1 1 0 0,14-8-1 0 0,14-17-2620 0 0,-22 12 1304 0 0</inkml:trace>
</inkml:ink>
</file>

<file path=ppt/ink/ink4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7.84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31 2664 0 0,'8'-18'2454'0'0,"10"-35"1"0"0,-12 32 277 0 0,0 50-1573 0 0,-4-20-1024 0 0,2 0-1 0 0,-1 1 1 0 0,1-2 0 0 0,1 1 0 0 0,0-1 0 0 0,0 1 0 0 0,0-1 0 0 0,11 11 0 0 0,-13-15-153 0 0,1 0 0 0 0,0-1 0 0 0,0 1 0 0 0,0-1 0 0 0,1 0 0 0 0,-1-1 1 0 0,1 1-1 0 0,-1-1 0 0 0,1 1 0 0 0,0-2 0 0 0,0 1 0 0 0,0 0 1 0 0,0-1-1 0 0,0 0 0 0 0,0 0 0 0 0,1 0 0 0 0,-1-1 0 0 0,7 0 0 0 0,-1-1-475 0 0,0-1 0 0 0,0 0 0 0 0,0 0 0 0 0,0-1 0 0 0,-1-1 0 0 0,1 0-1 0 0,-1 0 1 0 0,0-1 0 0 0,0 0 0 0 0,-1-1 0 0 0,0 0 0 0 0,0-1-1 0 0,0 0 1 0 0,9-9 0 0 0,-2-1-920 0 0,-2 2 289 0 0</inkml:trace>
  <inkml:trace contextRef="#ctx0" brushRef="#br0" timeOffset="1">424 34 2828 0 0,'6'-7'-44'0'0,"-2"3"156"0"0,0 0 0 0 0,0 1 0 0 0,1-1 1 0 0,8-5-1 0 0,-13 9-77 0 0,1-1 0 0 0,0 1 0 0 0,-1 0 0 0 0,1-1 0 0 0,-1 1 1 0 0,1 0-1 0 0,0 0 0 0 0,-1 0 0 0 0,1-1 0 0 0,0 1 0 0 0,-1 0 0 0 0,1 0 0 0 0,0 0 0 0 0,-1 0 1 0 0,1 0-1 0 0,0 0 0 0 0,-1 0 0 0 0,1 1 0 0 0,0-1 0 0 0,-1 0 0 0 0,1 0 0 0 0,0 0 0 0 0,-1 1 1 0 0,1-1-1 0 0,-1 0 0 0 0,1 1 0 0 0,0-1 0 0 0,-1 0 0 0 0,1 1 0 0 0,-1-1 0 0 0,1 1 0 0 0,-1-1 1 0 0,0 1-1 0 0,1-1 0 0 0,-1 1 0 0 0,1-1 0 0 0,-1 1 0 0 0,0 0 0 0 0,1-1 0 0 0,-1 1 0 0 0,0-1 1 0 0,0 1-1 0 0,1 0 0 0 0,-1-1 0 0 0,0 1 0 0 0,0 0 0 0 0,0-1 0 0 0,0 1 0 0 0,0 1 0 0 0,9 48 1579 0 0,-3 0 0 0 0,1 74 0 0 0,-5-63-951 0 0,2-8-95 0 0,-1 107 660 0 0,-4-144-1073 0 0,0-1 1 0 0,-1 0-1 0 0,-1 0 0 0 0,-1 0 0 0 0,0 0 0 0 0,-1 0 1 0 0,0-1-1 0 0,-9 16 0 0 0,13-27-128 0 0,-1 0 0 0 0,0 0 0 0 0,0 0 1 0 0,-1 0-1 0 0,1-1 0 0 0,0 1 0 0 0,-1-1 0 0 0,0 0 0 0 0,1 1 0 0 0,-1-1 1 0 0,0-1-1 0 0,0 1 0 0 0,0 0 0 0 0,0-1 0 0 0,-1 1 0 0 0,1-1 0 0 0,0 0 1 0 0,-1 0-1 0 0,1 0 0 0 0,0-1 0 0 0,-1 1 0 0 0,1-1 0 0 0,-1 0 0 0 0,1 0 1 0 0,-1 0-1 0 0,1 0 0 0 0,-1 0 0 0 0,1-1 0 0 0,-1 0 0 0 0,1 0 0 0 0,0 0 1 0 0,-1 0-1 0 0,1 0 0 0 0,-4-3 0 0 0,-2-1-26 0 0,0 0-1 0 0,0-1 1 0 0,1 0 0 0 0,0-1 0 0 0,0 1-1 0 0,0-1 1 0 0,1-1 0 0 0,0 0-1 0 0,1 0 1 0 0,0 0 0 0 0,0-1-1 0 0,-9-18 1 0 0,10 16-403 0 0,0 0 0 0 0,1-1 0 0 0,0 1 0 0 0,-3-19 0 0 0,5 21-698 0 0,1-1 1 0 0,0 0 0 0 0,1 1 0 0 0,0-1 0 0 0,3-17 0 0 0,0 9-2649 0 0</inkml:trace>
</inkml:ink>
</file>

<file path=ppt/ink/ink4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8.2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392 0 0,'9'8'1685'0'0,"-2"0"-1"0"0,1 1 1 0 0,12 18-1 0 0,-11-13-748 0 0,-1 1 0 0 0,7 17 0 0 0,1 11-691 0 0,11 47 0 0 0,-22-71-153 0 0,9 57-4090 0 0,-12-62 1676 0 0,0-2-474 0 0</inkml:trace>
</inkml:ink>
</file>

<file path=ppt/ink/ink4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8.6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0 82 200 0 0,'-10'-14'1496'0'0,"0"1"-536"0"0,2 2-128 0 0,-2 0-300 0 0,0 4 32 0 0,-2 0-268 0 0,0 0-80 0 0,-6 0-572 0 0,-2 3-1452 0 0</inkml:trace>
</inkml:ink>
</file>

<file path=ppt/ink/ink4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9.0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5 29 228 0 0,'11'-9'3484'0'0,"-10"8"-3429"0"0,-1 1 0 0 0,0 0 0 0 0,1-1 0 0 0,-1 1-1 0 0,0-1 1 0 0,0 1 0 0 0,0-1 0 0 0,1 1 0 0 0,-1-1-1 0 0,0 1 1 0 0,0 0 0 0 0,0-1 0 0 0,0 1 0 0 0,0-1 0 0 0,0 1-1 0 0,0-1 1 0 0,0 1 0 0 0,0-1 0 0 0,0 1 0 0 0,0-1-1 0 0,0 1 1 0 0,0-1 0 0 0,0 1 0 0 0,0-1 0 0 0,0 1-1 0 0,-1-1 1 0 0,1 1 0 0 0,0-1 0 0 0,0 1 0 0 0,-1-1 0 0 0,1 1-1 0 0,-1-1 1 0 0,0 0 34 0 0,0 1-1 0 0,0-1 1 0 0,0 1 0 0 0,0-1-1 0 0,0 1 1 0 0,-1 0 0 0 0,1-1-1 0 0,0 1 1 0 0,0 0 0 0 0,-1 0-1 0 0,1 0 1 0 0,-2 0 0 0 0,-37 7 612 0 0,37-6-679 0 0,0 1-1 0 0,0-1 0 0 0,0 1 0 0 0,0-1 0 0 0,0 1 0 0 0,0 0 1 0 0,1 0-1 0 0,-1 0 0 0 0,1 0 0 0 0,-1 1 0 0 0,1-1 1 0 0,0 1-1 0 0,0 0 0 0 0,0-1 0 0 0,0 1 0 0 0,0 0 1 0 0,1 0-1 0 0,-1 0 0 0 0,1 0 0 0 0,0 1 0 0 0,0-1 1 0 0,0 0-1 0 0,0 0 0 0 0,0 1 0 0 0,1-1 0 0 0,0 0 1 0 0,0 1-1 0 0,0-1 0 0 0,0 0 0 0 0,0 1 0 0 0,1 3 0 0 0,1 5 118 0 0,0 1 0 0 0,1-1 0 0 0,0 0 0 0 0,1 0 0 0 0,0 0 0 0 0,12 21 0 0 0,5 4 113 0 0,-13-24-144 0 0,0 0-1 0 0,-1 1 1 0 0,0 0-1 0 0,-1 0 1 0 0,8 28 0 0 0,-14-40-90 0 0,0-1 0 0 0,0 1 0 0 0,0-1 1 0 0,0 1-1 0 0,0-1 0 0 0,0 1 0 0 0,0-1 0 0 0,0 1 1 0 0,0-1-1 0 0,-1 1 0 0 0,1-1 0 0 0,-1 0 1 0 0,1 1-1 0 0,-1-1 0 0 0,1 1 0 0 0,-1-1 1 0 0,0 0-1 0 0,0 0 0 0 0,0 1 0 0 0,-1 1 1 0 0,-1-1 9 0 0,1 0 0 0 0,-1 0 0 0 0,0 0-1 0 0,0 0 1 0 0,1-1 0 0 0,-1 1 0 0 0,0-1 0 0 0,0 1 0 0 0,-4 0 0 0 0,-5 1-218 0 0,-1 0 0 0 0,0-1 0 0 0,-19 1 0 0 0,30-3 103 0 0,-6 0-884 0 0,0 1 0 0 0,-1-2-1 0 0,1 1 1 0 0,-8-3 0 0 0</inkml:trace>
</inkml:ink>
</file>

<file path=ppt/ink/ink4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29.9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137 1020 0 0,'-4'-6'4944'0'0,"6"28"-3887"0"0,1-1 0 0 0,1 0-1 0 0,13 41 1 0 0,-5-20-303 0 0,-11-38-697 0 0,19 69 1155 0 0,15 116 1 0 0,-35-183-1152 0 0,0 1 0 0 0,0-1 0 0 0,0 1 0 0 0,-1-1 0 0 0,0 0 0 0 0,0 1-1 0 0,-1-1 1 0 0,1 0 0 0 0,-1 0 0 0 0,-1 0 0 0 0,-5 10 0 0 0,8-15-54 0 0,-1 0 0 0 0,0 0 0 0 0,0 0 1 0 0,0 0-1 0 0,0 0 0 0 0,0 0 0 0 0,0-1 0 0 0,0 1 0 0 0,0 0 0 0 0,0-1 1 0 0,0 1-1 0 0,0-1 0 0 0,0 1 0 0 0,0-1 0 0 0,0 1 0 0 0,0-1 0 0 0,-1 0 1 0 0,1 0-1 0 0,0 1 0 0 0,0-1 0 0 0,0 0 0 0 0,-1 0 0 0 0,1 0 0 0 0,0-1 1 0 0,0 1-1 0 0,0 0 0 0 0,-1 0 0 0 0,1-1 0 0 0,0 1 0 0 0,0 0 1 0 0,0-1-1 0 0,0 1 0 0 0,0-1 0 0 0,0 1 0 0 0,-1-1 0 0 0,1 0 0 0 0,1 0 1 0 0,-1 1-1 0 0,0-1 0 0 0,0 0 0 0 0,0 0 0 0 0,0 0 0 0 0,1 0 0 0 0,-1 0 1 0 0,0 0-1 0 0,1 0 0 0 0,-1 0 0 0 0,1 0 0 0 0,-1 0 0 0 0,1 0 0 0 0,-1-1 1 0 0,1 1-1 0 0,0 0 0 0 0,0 0 0 0 0,-1 0 0 0 0,1-3 0 0 0,1-4-48 0 0,0 0-1 0 0,0-1 1 0 0,0 1-1 0 0,1 0 0 0 0,0 0 1 0 0,1 0-1 0 0,0 0 1 0 0,0 1-1 0 0,1-1 0 0 0,0 1 1 0 0,0 0-1 0 0,1 0 1 0 0,0 0-1 0 0,0 1 0 0 0,0-1 1 0 0,10-7-1 0 0,-10 8-17 0 0,1 1 0 0 0,0 0-1 0 0,1 1 1 0 0,-1-1-1 0 0,1 1 1 0 0,0 1 0 0 0,0-1-1 0 0,0 1 1 0 0,0 0 0 0 0,1 1-1 0 0,-1 0 1 0 0,1 0 0 0 0,0 0-1 0 0,-1 1 1 0 0,1 0 0 0 0,0 1-1 0 0,13 0 1 0 0,-19 0 30 0 0,1 1 1 0 0,0-1 0 0 0,0 1-1 0 0,-1-1 1 0 0,1 1-1 0 0,0 0 1 0 0,0 0-1 0 0,-1 0 1 0 0,1 0-1 0 0,-1 0 1 0 0,1 1 0 0 0,-1-1-1 0 0,0 1 1 0 0,0 0-1 0 0,1 0 1 0 0,-1-1-1 0 0,0 1 1 0 0,0 1-1 0 0,-1-1 1 0 0,1 0 0 0 0,0 0-1 0 0,-1 1 1 0 0,1-1-1 0 0,-1 1 1 0 0,2 4-1 0 0,-2-4 18 0 0,-1 1-1 0 0,1-1 1 0 0,-1 1-1 0 0,0-1 1 0 0,0 1-1 0 0,0-1 1 0 0,0 1-1 0 0,0-1 1 0 0,-1 1-1 0 0,0-1 1 0 0,0 1-1 0 0,0-1 1 0 0,0 0-1 0 0,0 0 1 0 0,-1 1-1 0 0,1-1 1 0 0,-1 0-1 0 0,0 0 1 0 0,-4 5-1 0 0,-6 5 82 0 0,-1 0 0 0 0,0-1 0 0 0,-1-1 0 0 0,0 0 0 0 0,-1-1 0 0 0,0 0 0 0 0,0-1-1 0 0,-1-1 1 0 0,-27 10 0 0 0,24-8 432 0 0,18-9-339 0 0,5-1-51 0 0,35-8-52 0 0,-27 5-127 0 0,52-12-231 0 0,0-4 0 0 0,-2-2 0 0 0,107-52 0 0 0,-153 65 210 0 0,-1 0 0 0 0,0-2 1 0 0,0 0-1 0 0,-1 0 0 0 0,0-1 0 0 0,-1-1 0 0 0,12-14 0 0 0,-23 24 84 0 0,-1 0-1 0 0,1 0 0 0 0,-1 0 0 0 0,0-1 0 0 0,0 1 0 0 0,0 0 1 0 0,0-1-1 0 0,-1 1 0 0 0,1-1 0 0 0,0-4 0 0 0,-1 6 8 0 0,0 0 0 0 0,0 0 0 0 0,0 1 0 0 0,0-1 0 0 0,0 0 0 0 0,0 0 0 0 0,0 0 0 0 0,0 0 0 0 0,0 0-1 0 0,0 0 1 0 0,-1 1 0 0 0,1-1 0 0 0,0 0 0 0 0,-1 0 0 0 0,1 0 0 0 0,-1 1 0 0 0,1-1 0 0 0,-1 0 0 0 0,1 0 0 0 0,-1 1-1 0 0,0-1 1 0 0,1 0 0 0 0,-1 1 0 0 0,0-1 0 0 0,1 1 0 0 0,-1-1 0 0 0,0 1 0 0 0,0-1 0 0 0,1 1 0 0 0,-1 0 0 0 0,0-1-1 0 0,0 1 1 0 0,0 0 0 0 0,0 0 0 0 0,0-1 0 0 0,0 1 0 0 0,-5-1 39 0 0,0 1-1 0 0,-1-1 1 0 0,1 1 0 0 0,0 1-1 0 0,0-1 1 0 0,0 1 0 0 0,0 0-1 0 0,0 0 1 0 0,-6 3 0 0 0,10-3-5 0 0,-1 0-1 0 0,0 0 1 0 0,1 0 0 0 0,-1 0 0 0 0,0 1 0 0 0,1-1 0 0 0,0 1 0 0 0,-1 0 0 0 0,1 0 0 0 0,0 0-1 0 0,0 0 1 0 0,0 0 0 0 0,0 0 0 0 0,0 0 0 0 0,1 1 0 0 0,-1-1 0 0 0,1 0 0 0 0,-1 1 0 0 0,1 0-1 0 0,0-1 1 0 0,-1 6 0 0 0,1-6-19 0 0,1 0 0 0 0,0 0 0 0 0,1 0-1 0 0,-1 0 1 0 0,0 0 0 0 0,0 0 0 0 0,1-1 0 0 0,-1 1 0 0 0,1 0-1 0 0,0 0 1 0 0,-1 0 0 0 0,1-1 0 0 0,0 1 0 0 0,0 0 0 0 0,0-1-1 0 0,0 1 1 0 0,1-1 0 0 0,-1 1 0 0 0,0-1 0 0 0,1 1 0 0 0,2 1-1 0 0,1 1 22 0 0,0 1-1 0 0,1-2 0 0 0,-1 1 0 0 0,11 4 1 0 0,-10-5-23 0 0,0 0 1 0 0,0-1-1 0 0,1 0 1 0 0,-1 0 0 0 0,1-1-1 0 0,-1 0 1 0 0,1 0 0 0 0,-1 0-1 0 0,1-1 1 0 0,-1 0-1 0 0,1 0 1 0 0,0-1 0 0 0,-1 0-1 0 0,1 0 1 0 0,-1 0 0 0 0,0-1-1 0 0,1 0 1 0 0,-1 0-1 0 0,9-5 1 0 0,-8 3-60 0 0,-1 0 1 0 0,0-1-1 0 0,0 0 0 0 0,0 0 1 0 0,0 0-1 0 0,-1-1 0 0 0,0 1 1 0 0,0-1-1 0 0,0 0 0 0 0,-1-1 1 0 0,0 1-1 0 0,0-1 0 0 0,-1 0 1 0 0,0 0-1 0 0,0 0 1 0 0,2-10-1 0 0,1-8-111 0 0,-1 0 0 0 0,-1 0 0 0 0,-1-1 0 0 0,-1-34 0 0 0,-12-103 2104 0 0,10 161-1910 0 0,-1-12 300 0 0,1 3-3 0 0,-2-1 1 0 0,1 1 0 0 0,-6-21-1 0 0,6 30-113 0 0,-12 28 534 0 0,11-6-512 0 0,1 1 0 0 0,1-1 0 0 0,0 1 0 0 0,7 33 0 0 0,22 82 87 0 0,-20-101-240 0 0,-8-32-88 0 0,39 154-625 0 0,-6-56-3639 0 0,-32-96 3762 0 0,7 16-1495 0 0,1-7-2092 0 0</inkml:trace>
</inkml:ink>
</file>

<file path=ppt/ink/ink4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30.2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 160 1332 0 0,'-1'-1'572'0'0,"-1"0"1"0"0,1-1-1 0 0,-1 0 0 0 0,1 1 0 0 0,0-1 0 0 0,0 0 1 0 0,0 1-1 0 0,-1-4 0 0 0,15-2-55 0 0,0 0 1 0 0,1 0-1 0 0,0 2 0 0 0,19-6 1 0 0,-17 6-401 0 0,0-1 0 0 0,-1 0 0 0 0,23-12 1 0 0,16-25 598 0 0,-21 16 719 0 0,-32 26-1064 0 0,0 2-326 0 0,0-1 0 0 0,0 0-1 0 0,0 1 1 0 0,0 0-1 0 0,0-1 1 0 0,0 1 0 0 0,-1-1-1 0 0,1 1 1 0 0,0 0-1 0 0,0 0 1 0 0,-1-1 0 0 0,1 1-1 0 0,0 0 1 0 0,-1 0-1 0 0,1 0 1 0 0,-1 0 0 0 0,1 0-1 0 0,-1 0 1 0 0,0 0-1 0 0,1 0 1 0 0,-1 1 0 0 0,10 28 518 0 0,-7-20-408 0 0,69 191 495 0 0,-28-66-7053 0 0,-42-124 3905 0 0,0 0-607 0 0</inkml:trace>
</inkml:ink>
</file>

<file path=ppt/ink/ink4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30.7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66 228 0 0,'10'-8'1892'0'0,"17"2"-1201"0"0,-1 0 1 0 0,42-1-1 0 0,38-7 738 0 0,1-13 4453 0 0,-105 26-5591 0 0,1 1-55 0 0,2-2-183 0 0,-1 2-1 0 0,1-1 1 0 0,0 1 0 0 0,0-1 0 0 0,0 1 0 0 0,0 0 0 0 0,-1 1-1 0 0,1 0 1 0 0,0-1 0 0 0,0 1 0 0 0,0 1 0 0 0,5 1-1 0 0,5 1 11 0 0,-4-1-38 0 0,0-1 0 0 0,1 0-1 0 0,-1-1 1 0 0,1 0 0 0 0,-1-1-1 0 0,13-1 1 0 0,-17 1-56 0 0,0-1 0 0 0,0 0 0 0 0,0-1 0 0 0,0 0 0 0 0,0 0 0 0 0,-1 0-1 0 0,1-1 1 0 0,-1 0 0 0 0,1 0 0 0 0,-1-1 0 0 0,8-5 0 0 0,-12 7-16 0 0,0 0 0 0 0,0-1 0 0 0,0 1 0 0 0,-1 0 0 0 0,1-1-1 0 0,0 1 1 0 0,-1-1 0 0 0,1 1 0 0 0,-1-1 0 0 0,0 0 0 0 0,0 0 0 0 0,0 1 0 0 0,0-1 0 0 0,-1 0 0 0 0,1 0-1 0 0,-1-3 1 0 0,0 5 46 0 0,0-1-1 0 0,0 1 0 0 0,0-1 0 0 0,0 1 0 0 0,-1 0 1 0 0,1-1-1 0 0,0 1 0 0 0,-1 0 0 0 0,1-1 0 0 0,-1 1 1 0 0,0 0-1 0 0,1 0 0 0 0,-1-1 0 0 0,0 1 1 0 0,0 0-1 0 0,1 0 0 0 0,-1 0 0 0 0,0 0 0 0 0,0 0 1 0 0,-1 0-1 0 0,1 0 0 0 0,0 0 0 0 0,0 1 1 0 0,0-1-1 0 0,0 0 0 0 0,-1 1 0 0 0,1-1 0 0 0,0 1 1 0 0,-1-1-1 0 0,1 1 0 0 0,0 0 0 0 0,-1-1 1 0 0,1 1-1 0 0,0 0 0 0 0,-1 0 0 0 0,1 0 0 0 0,-1 0 1 0 0,1 0-1 0 0,-3 1 0 0 0,-3-1 85 0 0,1 1 0 0 0,-1-1-1 0 0,1 2 1 0 0,-1-1 0 0 0,1 1 0 0 0,-1 0 0 0 0,1 0-1 0 0,0 1 1 0 0,0-1 0 0 0,0 1 0 0 0,0 1-1 0 0,0-1 1 0 0,1 1 0 0 0,-1 0 0 0 0,-8 9 0 0 0,11-9-45 0 0,0-1 0 0 0,0 1 1 0 0,0 0-1 0 0,0-1 0 0 0,1 1 1 0 0,-1 1-1 0 0,1-1 0 0 0,0 0 1 0 0,1 0-1 0 0,-1 1 0 0 0,1-1 1 0 0,-1 1-1 0 0,2 0 0 0 0,-1-1 1 0 0,0 1-1 0 0,1 0 0 0 0,0-1 1 0 0,0 1-1 0 0,0 0 0 0 0,1 0 1 0 0,-1-1-1 0 0,1 1 0 0 0,0-1 1 0 0,3 7-1 0 0,0-1-116 0 0,0 1-1 0 0,1-2 1 0 0,1 1 0 0 0,0 0-1 0 0,0-1 1 0 0,1 0 0 0 0,13 14-1 0 0,-15-18-360 0 0,0 0 0 0 0,0-1 0 0 0,1 1 0 0 0,-1-1 0 0 0,1 0 0 0 0,0 0 0 0 0,0-1 0 0 0,1 0 0 0 0,-1 0 0 0 0,1-1 0 0 0,-1 1 0 0 0,1-1 0 0 0,7 1 0 0 0,-7-3-1790 0 0,16-2-357 0 0</inkml:trace>
</inkml:ink>
</file>

<file path=ppt/ink/ink4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2:31.0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6 1444 0 0,'3'-2'1389'0'0,"-2"1"-1180"0"0,0 0-1 0 0,1 0 1 0 0,-1 1-1 0 0,1-1 1 0 0,-1 1 0 0 0,1-1-1 0 0,-1 1 1 0 0,1-1-1 0 0,-1 1 1 0 0,1 0 0 0 0,0-1-1 0 0,-1 1 1 0 0,1 0 0 0 0,-1 0-1 0 0,1 0 1 0 0,0 0-1 0 0,-1 1 1 0 0,1-1 0 0 0,-1 0-1 0 0,1 1 1 0 0,-1-1-1 0 0,4 2 1 0 0,-2 0 17 0 0,0 0 0 0 0,1 1 0 0 0,-1-1 0 0 0,0 1-1 0 0,-1-1 1 0 0,1 1 0 0 0,0 0 0 0 0,-1 0 0 0 0,4 5 0 0 0,0 1 93 0 0,-1 0-1 0 0,0 1 1 0 0,-1 0 0 0 0,0-1 0 0 0,0 2 0 0 0,3 16 0 0 0,-6-23-102 0 0,0 0-1 0 0,-1 0 1 0 0,1 0 0 0 0,-1 0 0 0 0,0 0 0 0 0,0 0 0 0 0,-1 0-1 0 0,1 0 1 0 0,-1 0 0 0 0,0 0 0 0 0,0-1 0 0 0,0 1-1 0 0,0 0 1 0 0,-3 4 0 0 0,3-6 172 0 0,-5-25 872 0 0,7 14-1163 0 0,0 0 0 0 0,0 0 0 0 0,1 0 0 0 0,0 0 0 0 0,1 0 0 0 0,0 1 0 0 0,0-1 0 0 0,1 1 0 0 0,0-1 0 0 0,6-7 0 0 0,-3 5-682 0 0,0 0 0 0 0,1 1 0 0 0,14-15 1 0 0,-20 23 291 0 0,-1 1 1 0 0,1-1-1 0 0,0 0 0 0 0,0 1 1 0 0,0 0-1 0 0,1-1 1 0 0,-1 1-1 0 0,3-1 0 0 0,15-2-5757 0 0,-3 4 1360 0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06.24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 40 520 0 0,'-4'-13'5417'0'0,"0"-14"2645"0"0,0 41-7400 0 0,0 1 0 0 0,1-1-1 0 0,1 0 1 0 0,0 1 0 0 0,1-1-1 0 0,1 29 1 0 0,-1-4-163 0 0,-1 119 528 0 0,0-56-1597 0 0,-1 1-3305 0 0,2-89 2699 0 0,-1 10-1230 0 0,0-8-3069 0 0</inkml:trace>
</inkml:ink>
</file>

<file path=ppt/ink/ink4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04.9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60 68 0 0,'-1'-47'3889'0'0,"0"45"-3418"0"0,3-9 804 0 0,4 18-1077 0 0,0 0 0 0 0,0 0-1 0 0,-1 0 1 0 0,0 1 0 0 0,0-1-1 0 0,6 17 1 0 0,20 56 296 0 0,-27-71-430 0 0,69 252 597 0 0,-19 8 201 0 0,-2-10 81 0 0,127 637 362 0 0,-142-620-1020 0 0,3 352 0 0 0,-46-210-156 0 0,4-332-92 0 0,0-34-26 0 0,-1-22-9 0 0,2 0 1 0 0,2 0 0 0 0,0 1 0 0 0,2-1 0 0 0,11 46 0 0 0,-12-70 2 0 0,0-1 1 0 0,1 1 0 0 0,0 0-1 0 0,0-1 1 0 0,0 1-1 0 0,1-1 1 0 0,0 0 0 0 0,0 0-1 0 0,0-1 1 0 0,1 1-1 0 0,0-1 1 0 0,0 0 0 0 0,0 0-1 0 0,0 0 1 0 0,0-1-1 0 0,1 0 1 0 0,-1 0 0 0 0,1 0-1 0 0,0-1 1 0 0,0 0-1 0 0,10 3 1 0 0,8 0 10 0 0,0 0 1 0 0,1-1-1 0 0,0-2 1 0 0,27 0-1 0 0,55-3 59 0 0,116-16-1 0 0,104-31 114 0 0,-246 35-169 0 0,1453-266 1767 0 0,-1429 258-1410 0 0,340-58-220 0 0,-429 79-2612 0 0</inkml:trace>
</inkml:ink>
</file>

<file path=ppt/ink/ink4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06.3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 34 296 0 0,'-14'-18'3844'0'0,"-2"2"2182"0"0,41 115-3994 0 0,0-2-1283 0 0,-9-2-341 0 0,10 55-3627 0 0,-20-132 2146 0 0,0 2-3534 0 0</inkml:trace>
</inkml:ink>
</file>

<file path=ppt/ink/ink4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06.6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7 1464 0 0,'1'-1'206'0'0,"-1"0"0"0"0,0 0 0 0 0,1 0 0 0 0,0 0 0 0 0,-1 0 0 0 0,1 0 0 0 0,0 0 0 0 0,-1 0-1 0 0,1 0 1 0 0,0 0 0 0 0,0 0 0 0 0,0 0 0 0 0,0 1 0 0 0,0-1 0 0 0,1 0 0 0 0,-1 0-87 0 0,-1 1-1 0 0,1 0 1 0 0,0 0 0 0 0,-1 0 0 0 0,1 0-1 0 0,0 0 1 0 0,-1 0 0 0 0,1 0-1 0 0,-1 0 1 0 0,1 0 0 0 0,0 0 0 0 0,-1 0-1 0 0,1 0 1 0 0,0 0 0 0 0,-1 1-1 0 0,1-1 1 0 0,-1 0 0 0 0,1 0 0 0 0,-1 1-1 0 0,2 0 1 0 0,2 2 165 0 0,-1 0-1 0 0,0 1 1 0 0,1-1 0 0 0,-1 1-1 0 0,0 0 1 0 0,2 4 0 0 0,-4-7-300 0 0,23 36 7 0 0,-2 1 0 0 0,-1 1 1 0 0,26 69-1 0 0,-44-101-829 0 0,0 1 1 0 0,-1 0-1 0 0,0 0 0 0 0,-1-1 1 0 0,1 15-1 0 0,-2-11-919 0 0</inkml:trace>
</inkml:ink>
</file>

<file path=ppt/ink/ink4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07.0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 293 1672 0 0,'-3'0'1420'0'0,"3"0"-1337"0"0,-1-1 0 0 0,0 1 0 0 0,1 0-1 0 0,-1 0 1 0 0,1 0 0 0 0,-1 0 0 0 0,0-1-1 0 0,1 1 1 0 0,-1 0 0 0 0,1-1 0 0 0,-1 1-1 0 0,0 0 1 0 0,1-1 0 0 0,-1 1 0 0 0,1-1-1 0 0,-1 1 1 0 0,1-1 0 0 0,0 1 0 0 0,-1-1-1 0 0,1 1 1 0 0,-1-1 0 0 0,1 1 0 0 0,0-1-1 0 0,-1 0 1 0 0,1 1 0 0 0,0-1 0 0 0,0 1-1 0 0,0-1 1 0 0,-1 0 0 0 0,1 1 0 0 0,0-1-1 0 0,0 0 1 0 0,0 1 0 0 0,0-1 0 0 0,0 0-1 0 0,0 0 1 0 0,1-1 52 0 0,0-1 1 0 0,0 1-1 0 0,1 0 1 0 0,-1 0-1 0 0,0 0 0 0 0,1 0 1 0 0,-1 0-1 0 0,1 1 1 0 0,0-1-1 0 0,3-2 1 0 0,8-7 278 0 0,1 1-1 0 0,16-9 1 0 0,-29 18-362 0 0,62-34 706 0 0,2 3 0 0 0,127-44 0 0 0,35 16-3589 0 0,-191 54 372 0 0</inkml:trace>
</inkml:ink>
</file>

<file path=ppt/ink/ink4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07.5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 299 1116 0 0,'-3'1'1104'0'0,"0"0"-445"0"0,-1 0 1 0 0,0 0-1 0 0,0-1 0 0 0,0 1 1 0 0,0-1-1 0 0,0 0 0 0 0,0 0 0 0 0,1-1 1 0 0,-5 0-1 0 0,8 1-639 0 0,0-1-1 0 0,0 1 1 0 0,-1 0 0 0 0,1-1 0 0 0,0 1-1 0 0,0 0 1 0 0,0-1 0 0 0,0 1 0 0 0,1 0-1 0 0,-1-1 1 0 0,0 1 0 0 0,0 0 0 0 0,0-1-1 0 0,0 1 1 0 0,0 0 0 0 0,0-1-1 0 0,0 1 1 0 0,1 0 0 0 0,-1-1 0 0 0,0 1-1 0 0,0 0 1 0 0,0-1 0 0 0,1 1 0 0 0,-1 0-1 0 0,0 0 1 0 0,0-1 0 0 0,1 1 0 0 0,-1 0-1 0 0,0 0 1 0 0,1-1 0 0 0,8-8 129 0 0,17-10 45 0 0,0 1 1 0 0,45-23 0 0 0,62-22-52 0 0,-108 52-91 0 0,245-110-1569 0 0,-252 111-2978 0 0</inkml:trace>
</inkml:ink>
</file>

<file path=ppt/ink/ink4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07.8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 120 0 0,'2'-10'4531'0'0,"-1"9"-4380"0"0,1 2-12 0 0,1 0 0 0 0,-1 0 0 0 0,0 0 0 0 0,0 0 0 0 0,0 0 0 0 0,1 1 0 0 0,-1-1 0 0 0,0 1 0 0 0,0-1 0 0 0,-1 1 0 0 0,1 0 0 0 0,0 0 0 0 0,-1 0 0 0 0,1 0 0 0 0,-1 0 0 0 0,1 0 1 0 0,0 2-1 0 0,26 49 1300 0 0,-18-32-909 0 0,185 401 3105 0 0,-175-367-4183 0 0,0-1-3946 0 0</inkml:trace>
</inkml:ink>
</file>

<file path=ppt/ink/ink4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08.2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2 2 164 0 0,'-3'0'1223'0'0,"-3"-1"-947"0"0,0 1-1 0 0,0 0 0 0 0,0 0 1 0 0,1 0-1 0 0,-1 1 0 0 0,0 0 0 0 0,0 0 1 0 0,1 1-1 0 0,-1-1 0 0 0,0 1 0 0 0,1 0 1 0 0,0 1-1 0 0,-1 0 0 0 0,1-1 0 0 0,0 1 1 0 0,0 1-1 0 0,1-1 0 0 0,-8 8 1 0 0,9-9-210 0 0,0 1 0 0 0,0 0 1 0 0,1 0-1 0 0,-1 0 1 0 0,1 0-1 0 0,0 0 1 0 0,0 1-1 0 0,0-1 1 0 0,0 1-1 0 0,1 0 0 0 0,-1-1 1 0 0,1 1-1 0 0,0 0 1 0 0,0 0-1 0 0,0 0 1 0 0,1 0-1 0 0,-1 0 0 0 0,1-1 1 0 0,0 1-1 0 0,0 0 1 0 0,0 0-1 0 0,1 0 1 0 0,0 0-1 0 0,-1 0 1 0 0,1 0-1 0 0,0 0 0 0 0,1 0 1 0 0,-1-1-1 0 0,3 5 1 0 0,5 6 10 0 0,1 1-1 0 0,1-2 1 0 0,0 1 0 0 0,1-2-1 0 0,0 1 1 0 0,1-2 0 0 0,16 13 0 0 0,-9-8 80 0 0,-1 1 1 0 0,20 22 0 0 0,-38-38-123 0 0,0 1-1 0 0,0-1 1 0 0,0 0 0 0 0,0 1-1 0 0,0-1 1 0 0,0 1-1 0 0,0-1 1 0 0,0 1 0 0 0,0 0-1 0 0,-1-1 1 0 0,1 1-1 0 0,-1-1 1 0 0,1 1 0 0 0,-1 0-1 0 0,0 0 1 0 0,1-1-1 0 0,-1 1 1 0 0,0 0 0 0 0,0 0-1 0 0,0-1 1 0 0,-1 1-1 0 0,1 0 1 0 0,0 0 0 0 0,-1 1-1 0 0,-1 0-4 0 0,1-1 0 0 0,-1 1 1 0 0,1-1-1 0 0,-1 0 0 0 0,0 0 0 0 0,0 0 0 0 0,0 0 0 0 0,0 0 0 0 0,0 0 0 0 0,-1 0 0 0 0,1-1 1 0 0,-1 1-1 0 0,-3 1 0 0 0,-6 2-8 0 0,0 0 0 0 0,0-1 0 0 0,0 0 0 0 0,0-1 1 0 0,-20 2-1 0 0,22-4-514 0 0,0 0 0 0 0,1-1 0 0 0,-1-1 0 0 0,-14-1-1 0 0,23 2 337 0 0,0 0-1 0 0,0-1 0 0 0,0 1 0 0 0,-1 0 0 0 0,1-1 1 0 0,0 1-1 0 0,0 0 0 0 0,0-1 0 0 0,0 1 0 0 0,0-1 1 0 0,0 0-1 0 0,0 1 0 0 0,0-1 0 0 0,1 0 0 0 0,-1 1 1 0 0,0-1-1 0 0,0 0 0 0 0,0 0 0 0 0,1 0 0 0 0,-1 0 1 0 0,0 0-1 0 0,1 0 0 0 0,-1 0 0 0 0,1 0 0 0 0,-1 0 1 0 0,0-2-1 0 0,-1-7-1863 0 0</inkml:trace>
</inkml:ink>
</file>

<file path=ppt/ink/ink4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08.8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 788 0 0,'1'-1'207'0'0,"1"0"1"0"0,-1 1-1 0 0,1-1 1 0 0,-1 1-1 0 0,1-1 0 0 0,-1 1 1 0 0,1 0-1 0 0,0 0 1 0 0,-1 0-1 0 0,1-1 1 0 0,-1 1-1 0 0,1 1 0 0 0,-1-1 1 0 0,1 0-1 0 0,0 0 1 0 0,-1 1-1 0 0,1-1 0 0 0,-1 1 1 0 0,1-1-1 0 0,-1 1 1 0 0,0-1-1 0 0,1 1 0 0 0,-1 0 1 0 0,0 0-1 0 0,1 0 1 0 0,-1 0-1 0 0,0 0 0 0 0,2 2 1 0 0,2 3 334 0 0,-1 0 0 0 0,1 0 0 0 0,-1 0 0 0 0,-1 1 1 0 0,4 6-1 0 0,-7-13-536 0 0,24 57 2417 0 0,28 98 0 0 0,-46-134-2095 0 0,-3-8 824 0 0,-1-25-892 0 0,-2 2-320 0 0,1 1 0 0 0,0 0 0 0 0,0 0 0 0 0,1 0 0 0 0,0 1 0 0 0,4-12 0 0 0,-4 15 33 0 0,0 0 1 0 0,1 0-1 0 0,-1 1 1 0 0,1-1-1 0 0,0 0 1 0 0,0 1-1 0 0,0 0 1 0 0,1 0 0 0 0,-1 0-1 0 0,1 0 1 0 0,4-3-1 0 0,-4 5 16 0 0,-1 0-1 0 0,0 0 1 0 0,1 1-1 0 0,0-1 1 0 0,-1 1-1 0 0,1 0 1 0 0,0 0-1 0 0,-1 0 1 0 0,1 0-1 0 0,0 1 1 0 0,0 0 0 0 0,4 0-1 0 0,46 6-21 0 0,-48-5 32 0 0,20 4 20 0 0,-1-2 1 0 0,1 0 0 0 0,47-2 0 0 0,-65-2-47 0 0,0 0 1 0 0,-1 0 0 0 0,1-1-1 0 0,0 1 1 0 0,-1-2 0 0 0,1 1-1 0 0,-1-1 1 0 0,0 0-1 0 0,0-1 1 0 0,0 0 0 0 0,-1 0-1 0 0,1 0 1 0 0,-1-1 0 0 0,0 0-1 0 0,0 0 1 0 0,0 0 0 0 0,6-9-1 0 0,-7 7-29 0 0,0 0-1 0 0,0-1 1 0 0,-1 1-1 0 0,0-1 1 0 0,0 0-1 0 0,-1-1 1 0 0,3-9-1 0 0,-6 18 53 0 0,0-1 0 0 0,0 1 1 0 0,0-1-1 0 0,0 1 0 0 0,0 0 0 0 0,0-1 0 0 0,0 1 0 0 0,0 0 0 0 0,0-1 0 0 0,0 1 0 0 0,0 0 0 0 0,0-1 0 0 0,0 1 0 0 0,-1 0 0 0 0,1-1 0 0 0,0 1 0 0 0,0 0 0 0 0,0 0 0 0 0,-1-1 0 0 0,1 1 0 0 0,0 0 1 0 0,0 0-1 0 0,-1-1 0 0 0,1 1 0 0 0,0 0 0 0 0,-1 0 0 0 0,1 0 0 0 0,0-1 0 0 0,-1 1 0 0 0,1 0 0 0 0,0 0 0 0 0,-1 0 0 0 0,1 0 0 0 0,0 0 0 0 0,-1 0 0 0 0,1 0 0 0 0,0 0 0 0 0,-1 0 0 0 0,1 0 0 0 0,0 0 0 0 0,-1 0 1 0 0,1 0-1 0 0,0 0 0 0 0,-1 0 0 0 0,-18 4-69 0 0,17-3 67 0 0,0 0 1 0 0,1 0-1 0 0,-1 0 1 0 0,0 0-1 0 0,1 0 1 0 0,-1 0 0 0 0,1 1-1 0 0,0-1 1 0 0,-1 0-1 0 0,1 1 1 0 0,0-1-1 0 0,0 1 1 0 0,0-1-1 0 0,0 1 1 0 0,0 0 0 0 0,0-1-1 0 0,0 1 1 0 0,0 3-1 0 0,-1 0-8 0 0,1-3 16 0 0,1-1 0 0 0,-1 1 0 0 0,1 0 0 0 0,0-1 0 0 0,-1 1-1 0 0,1 0 1 0 0,0-1 0 0 0,0 1 0 0 0,0 0 0 0 0,0-1 0 0 0,0 1 0 0 0,1 0-1 0 0,-1-1 1 0 0,0 1 0 0 0,1 0 0 0 0,-1-1 0 0 0,1 1 0 0 0,0-1-1 0 0,-1 1 1 0 0,1-1 0 0 0,0 1 0 0 0,0-1 0 0 0,0 0 0 0 0,0 1 0 0 0,0-1-1 0 0,0 0 1 0 0,1 0 0 0 0,-1 0 0 0 0,0 0 0 0 0,2 2 0 0 0,2 0 16 0 0,0 0 0 0 0,0 0 0 0 0,0-1 0 0 0,0 1 1 0 0,0-1-1 0 0,11 3 0 0 0,-7-3 9 0 0,-1-1-1 0 0,1 0 1 0 0,0 0 0 0 0,0-1 0 0 0,-1 0-1 0 0,1-1 1 0 0,0 0 0 0 0,15-4-1 0 0,-20 5-9 0 0,0-1-1 0 0,0 0 0 0 0,0-1 0 0 0,0 1 0 0 0,-1-1 0 0 0,1 1 1 0 0,0-1-1 0 0,-1 0 0 0 0,1-1 0 0 0,-1 1 0 0 0,0-1 0 0 0,0 1 1 0 0,0-1-1 0 0,0 0 0 0 0,0 0 0 0 0,-1 0 0 0 0,1 0 0 0 0,-1-1 1 0 0,0 1-1 0 0,0-1 0 0 0,3-5 0 0 0,-5 7-24 0 0,1 1-1 0 0,-1 0 0 0 0,0-1 1 0 0,0 1-1 0 0,1 0 1 0 0,-1-1-1 0 0,0 1 1 0 0,0 0-1 0 0,0-1 1 0 0,0 1-1 0 0,-1 0 1 0 0,1-1-1 0 0,0 1 1 0 0,0 0-1 0 0,-1-1 1 0 0,1 1-1 0 0,-1 0 0 0 0,1-1 1 0 0,-1 1-1 0 0,0 0 1 0 0,1 0-1 0 0,-1 0 1 0 0,0 0-1 0 0,-1-2 1 0 0,0 1-56 0 0,-1 0 0 0 0,0 1 1 0 0,1-1-1 0 0,-1 0 1 0 0,0 1-1 0 0,0-1 0 0 0,0 1 1 0 0,0 0-1 0 0,0 0 0 0 0,-3-1 1 0 0,-7 0-628 0 0,0 0 0 0 0,0 0 1 0 0,-20 1-1 0 0,-58 7-6432 0 0</inkml:trace>
</inkml:ink>
</file>

<file path=ppt/ink/ink4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09.1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9 1556 0 0,'1'-1'203'0'0,"1"0"0"0"0,-1 0 0 0 0,0 0 0 0 0,1 0 0 0 0,-1 0 0 0 0,1 1 0 0 0,-1-1 0 0 0,1 1 0 0 0,-1-1-1 0 0,1 1 1 0 0,-1 0 0 0 0,1-1 0 0 0,-1 1 0 0 0,1 0 0 0 0,0 0 0 0 0,-1 0 0 0 0,1 0 0 0 0,-1 1 0 0 0,1-1 0 0 0,-1 0 0 0 0,1 1 0 0 0,-1-1 0 0 0,1 1 0 0 0,-1-1-1 0 0,1 1 1 0 0,-1-1 0 0 0,1 1 0 0 0,-1 0 0 0 0,0 0 0 0 0,1 0 0 0 0,-1 0 0 0 0,0 0 0 0 0,0 0 0 0 0,0 0 0 0 0,1 2 0 0 0,5 5 88 0 0,-1 0 0 0 0,-1 0-1 0 0,1 1 1 0 0,6 14 0 0 0,-6-11 53 0 0,12 24 43 0 0,26 72-1 0 0,-24-31-2147 0 0,-17-59 40 0 0,0 0 0 0 0,-1 23-1 0 0,-2-25-382 0 0</inkml:trace>
</inkml:ink>
</file>

<file path=ppt/ink/ink4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09.5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13 1340 0 0,'14'-22'1323'0'0,"2"1"-1"0"0,0 0 1 0 0,1 1-1 0 0,34-30 0 0 0,-31 30-658 0 0,0 0 0 0 0,-1-1-1 0 0,30-43 1 0 0,-43 53-274 0 0,0-1 0 0 0,5-17 0 0 0,-10 27-273 0 0,0 5-89 0 0,1-1 0 0 0,-1 1 1 0 0,0-1-1 0 0,0 1 1 0 0,0 0-1 0 0,0 0 0 0 0,0 4 1 0 0,2 4 60 0 0,13 35 203 0 0,-11-34-164 0 0,-1-1 0 0 0,0 1 0 0 0,-1 0 0 0 0,0 1 1 0 0,1 12-1 0 0,-4-21-196 0 0,0 0 0 0 0,0 0 1 0 0,0 0-1 0 0,-1 0 0 0 0,0 0 0 0 0,0 0 1 0 0,0 0-1 0 0,0 0 0 0 0,0-1 0 0 0,-1 1 1 0 0,1 0-1 0 0,-1-1 0 0 0,0 1 1 0 0,0-1-1 0 0,-1 0 0 0 0,1 0 0 0 0,-1 0 1 0 0,1 0-1 0 0,-1 0 0 0 0,-5 3 0 0 0,1 1-878 0 0,-2-1 0 0 0,1-1 0 0 0,-1 0 0 0 0,1 0-1 0 0,-11 3 1 0 0,-6 2-2821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06.8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9 132 1712 0 0,'-4'-5'581'0'0,"-2"0"102"0"0,1 0 0 0 0,0 0 0 0 0,1-1 0 0 0,-1 0 0 0 0,1 1-1 0 0,0-2 1 0 0,1 1 0 0 0,-6-11 0 0 0,9 15-638 0 0,0 1-1 0 0,1 0 0 0 0,-1 0 0 0 0,0 0 0 0 0,0 0 1 0 0,0 0-1 0 0,1-1 0 0 0,-1 1 0 0 0,1 0 0 0 0,-1 0 1 0 0,1 0-1 0 0,-1 0 0 0 0,1 0 0 0 0,-1 0 1 0 0,1 0-1 0 0,0 0 0 0 0,0 1 0 0 0,-1-1 0 0 0,1 0 1 0 0,0 0-1 0 0,0 1 0 0 0,0-1 0 0 0,0 0 0 0 0,0 1 1 0 0,0-1-1 0 0,1 0 0 0 0,27-12 448 0 0,-1 6-172 0 0,-1 2-1 0 0,1 1 1 0 0,36-1-1 0 0,-26 3-71 0 0,263 0 1376 0 0,-145 5-88 0 0,-135-3-1247 0 0,141 5 2131 0 0,-159-4-2413 0 0,1 0-1 0 0,0 0 1 0 0,-1 1 0 0 0,1-1-1 0 0,0 1 1 0 0,-1 0-1 0 0,0 0 1 0 0,1 0 0 0 0,-1 0-1 0 0,0 1 1 0 0,0-1-1 0 0,0 1 1 0 0,0 0 0 0 0,-1 0-1 0 0,1 0 1 0 0,-1 0-1 0 0,0 0 1 0 0,4 7 0 0 0,1 2 38 0 0,-1 1 1 0 0,0 1-1 0 0,6 21 1 0 0,-3 1 214 0 0,-1 1 0 0 0,-2 0 1 0 0,-2 1-1 0 0,-1 0 1 0 0,-2-1-1 0 0,-6 62 0 0 0,4-83-162 0 0,1-8 425 0 0,-1 0 1 0 0,0 1-1 0 0,-4 14 0 0 0,4-21 429 0 0,1-2-949 0 0,-1 0 0 0 0,1-1 0 0 0,-1 1 1 0 0,0 0-1 0 0,1-1 0 0 0,-1 1 0 0 0,1-1 0 0 0,-1 1 0 0 0,1 0 1 0 0,0-1-1 0 0,-1 1 0 0 0,1-1 0 0 0,-1 1 0 0 0,1-1 1 0 0,0 0-1 0 0,-1 1 0 0 0,1-1 0 0 0,0 1 0 0 0,0-1 1 0 0,-1 0-1 0 0,1 1 0 0 0,0-1 0 0 0,0 1 0 0 0,0-1 1 0 0,0 0-1 0 0,0 1 0 0 0,0-1 0 0 0,0 0 0 0 0,0 1 1 0 0,0-1-1 0 0,0 0 0 0 0,0 1 0 0 0,0-1 0 0 0,1 1 1 0 0,-1-2-1 0 0,6-24-232 0 0,-2 15 163 0 0,1 0 1 0 0,0 1 0 0 0,0 0 0 0 0,1 0-1 0 0,0 0 1 0 0,1 1 0 0 0,0 0-1 0 0,1 0 1 0 0,10-9 0 0 0,-12 12 35 0 0,0 1 1 0 0,0 0 0 0 0,1 0-1 0 0,-1 0 1 0 0,1 1 0 0 0,1 0 0 0 0,-1 0-1 0 0,0 0 1 0 0,1 1 0 0 0,0 1-1 0 0,0-1 1 0 0,0 1 0 0 0,12-2-1 0 0,-13 4 27 0 0,0 0 0 0 0,0 1 0 0 0,0-1 0 0 0,0 1 0 0 0,0 0 0 0 0,0 1 1 0 0,-1 0-1 0 0,1 0 0 0 0,-1 0 0 0 0,1 1 0 0 0,-1 0 0 0 0,0 0 0 0 0,0 1 0 0 0,0 0 0 0 0,0 0 0 0 0,-1 0 0 0 0,0 1 0 0 0,0-1 0 0 0,0 1 0 0 0,0 0 0 0 0,-1 1 0 0 0,6 8 0 0 0,-3-4-373 0 0,-2 0-1 0 0,1 0 1 0 0,-1 1 0 0 0,-1 0 0 0 0,5 15-1 0 0,-5-12-1169 0 0,-1-1-1 0 0,-1 1 1 0 0,0 0 0 0 0,-1 17-1 0 0,-1-7-4435 0 0</inkml:trace>
</inkml:ink>
</file>

<file path=ppt/ink/ink4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0.6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2 1 1376 0 0,'0'0'1872'0'0,"-2"19"792"0"0,43 187 1997 0 0,44 99-2167 0 0,-64-234-1807 0 0,-8-21 148 0 0,-13-49-824 0 0,0 0-1 0 0,0-1 0 0 0,0 1 0 0 0,0-1 1 0 0,0 1-1 0 0,0 0 0 0 0,0-1 1 0 0,0 1-1 0 0,0-1 0 0 0,0 1 0 0 0,0 0 1 0 0,0-1-1 0 0,0 1 0 0 0,-1-1 1 0 0,1 1-1 0 0,0 0 0 0 0,0-1 0 0 0,-1 1 1 0 0,1-1-1 0 0,0 1 0 0 0,-1-1 1 0 0,1 1-1 0 0,-1-1 0 0 0,1 0 0 0 0,0 1 1 0 0,-1-1-1 0 0,1 1 0 0 0,-1-1 1 0 0,1 0-1 0 0,-1 1 0 0 0,0-1 0 0 0,1 0 1 0 0,-1 0-1 0 0,1 1 0 0 0,-1-1 0 0 0,1 0 1 0 0,-1 0-1 0 0,0 0 0 0 0,1 0 1 0 0,-1 0-1 0 0,1 0 0 0 0,-2 0 0 0 0,-24-3-116 0 0,20 0 51 0 0,-1-1 1 0 0,1 1-1 0 0,0-1 0 0 0,1 0 0 0 0,-1-1 0 0 0,0 1 0 0 0,1-1 0 0 0,0 0 0 0 0,0 0 0 0 0,1-1 0 0 0,-5-6 0 0 0,-5-10-215 0 0,-18-35-1 0 0,31 56 268 0 0,-14-27-115 0 0,2 0 1 0 0,1-1-1 0 0,1 0 0 0 0,1-1 1 0 0,1 0-1 0 0,2-1 0 0 0,2 0 1 0 0,-4-54-1 0 0,9 79 129 0 0,0 0-1 0 0,0 0 1 0 0,1 1-1 0 0,0-1 1 0 0,0 0 0 0 0,0 1-1 0 0,1-1 1 0 0,0 1-1 0 0,0-1 1 0 0,0 1 0 0 0,1 0-1 0 0,0-1 1 0 0,0 1-1 0 0,0 1 1 0 0,0-1-1 0 0,1 0 1 0 0,0 1 0 0 0,0 0-1 0 0,0 0 1 0 0,6-5-1 0 0,-3 5 29 0 0,0 0-1 0 0,1 0 0 0 0,-1 0 1 0 0,1 1-1 0 0,-1 0 1 0 0,1 1-1 0 0,0 0 0 0 0,0 0 1 0 0,0 0-1 0 0,0 1 0 0 0,1 1 1 0 0,-1-1-1 0 0,16 2 1 0 0,-1 2-118 0 0,1 2 1 0 0,0 0-1 0 0,-1 1 1 0 0,0 2-1 0 0,0 0 1 0 0,-1 1-1 0 0,0 2 1 0 0,-1 0 0 0 0,0 1-1 0 0,-1 1 1 0 0,23 19-1 0 0,-35-25-302 0 0,1 0-1 0 0,-1 1 0 0 0,0 1 1 0 0,13 17-1 0 0,-18-22-46 0 0,0 1-1 0 0,0-1 0 0 0,-1 1 1 0 0,0 0-1 0 0,1 0 0 0 0,-2-1 1 0 0,1 1-1 0 0,-1 1 1 0 0,0-1-1 0 0,0 0 0 0 0,0 0 1 0 0,0 10-1 0 0,-3 2-2168 0 0</inkml:trace>
</inkml:ink>
</file>

<file path=ppt/ink/ink4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1.0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8 514 208 0 0,'-3'0'369'0'0,"-1"0"0"0"0,1-1 0 0 0,0 1 0 0 0,-1-1 0 0 0,1 0 0 0 0,0 0 0 0 0,-1 0 0 0 0,1-1 0 0 0,0 1 0 0 0,0-1 1 0 0,0 1-1 0 0,0-1 0 0 0,0 0 0 0 0,1 0 0 0 0,-1-1 0 0 0,1 1 0 0 0,-1 0 0 0 0,-3-6 0 0 0,5 5-303 0 0,0 1 0 0 0,0-1 0 0 0,0 1 0 0 0,0-1 1 0 0,1 1-1 0 0,-1-1 0 0 0,1 0 0 0 0,0 1 0 0 0,-1-1 0 0 0,1 0 0 0 0,0 0 1 0 0,1 1-1 0 0,-1-1 0 0 0,1 0 0 0 0,-1 1 0 0 0,1-1 0 0 0,0 1 0 0 0,0-1 1 0 0,0 1-1 0 0,0-1 0 0 0,0 1 0 0 0,0-1 0 0 0,1 1 0 0 0,2-4 0 0 0,8-11 11 0 0,1 1 0 0 0,1-1-1 0 0,0 2 1 0 0,17-15 0 0 0,71-51-551 0 0,-62 51 102 0 0,48-46-1 0 0,-78 67 406 0 0,-1-1 0 0 0,-1 0 1 0 0,1 0-1 0 0,-2-1 0 0 0,0 0 0 0 0,0-1 0 0 0,-1 1 1 0 0,8-20-1 0 0,-14 17 125 0 0,-7 11 102 0 0,6 4-226 0 0,-1-1-1 0 0,0 0 1 0 0,1 1 0 0 0,-1 0 0 0 0,1-1-1 0 0,-1 1 1 0 0,1 0 0 0 0,-1 0 0 0 0,1 0-1 0 0,-3 2 1 0 0,-2 3 66 0 0,0 1 0 0 0,1-1 0 0 0,-1 1-1 0 0,1 0 1 0 0,1 0 0 0 0,0 1 0 0 0,0-1 0 0 0,0 1 0 0 0,1 0-1 0 0,0 0 1 0 0,0 0 0 0 0,1 1 0 0 0,0-1 0 0 0,-1 13-1 0 0,2-12-53 0 0,1 1 0 0 0,0 0 0 0 0,0-1 0 0 0,0 1 0 0 0,1-1 0 0 0,1 1-1 0 0,0 0 1 0 0,0-1 0 0 0,1 0 0 0 0,0 0 0 0 0,1 0 0 0 0,5 12 0 0 0,-4-15-134 0 0,0 1 1 0 0,0-1-1 0 0,0 0 0 0 0,1 0 1 0 0,0 0-1 0 0,0-1 1 0 0,1 0-1 0 0,-1 0 1 0 0,1-1-1 0 0,0 0 0 0 0,0 0 1 0 0,1 0-1 0 0,-1-1 1 0 0,1 0-1 0 0,0-1 1 0 0,-1 1-1 0 0,1-2 0 0 0,0 1 1 0 0,0-1-1 0 0,14 0 1 0 0,-12 0-298 0 0,0-1 1 0 0,1 0 0 0 0,-1-1-1 0 0,0 0 1 0 0,0-1 0 0 0,0 0-1 0 0,0 0 1 0 0,0-1-1 0 0,-1-1 1 0 0,1 1 0 0 0,-1-1-1 0 0,0-1 1 0 0,0 0 0 0 0,0 0-1 0 0,15-14 1 0 0,-7 1-443 0 0</inkml:trace>
</inkml:ink>
</file>

<file path=ppt/ink/ink4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1.32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9 104 784 0 0,'1'-2'225'0'0,"-1"-1"0"0"0,0 1 0 0 0,0-1 0 0 0,0 1 0 0 0,0-1 1 0 0,0 1-1 0 0,-1-1 0 0 0,1 1 0 0 0,-1-1 0 0 0,0 1 0 0 0,1 0 0 0 0,-1-1 0 0 0,0 1 0 0 0,0 0 0 0 0,-1 0 0 0 0,1-1 0 0 0,0 1 0 0 0,-1 0 0 0 0,1 0 1 0 0,-1 0-1 0 0,0 1 0 0 0,0-1 0 0 0,0 0 0 0 0,1 1 0 0 0,-4-2 0 0 0,3 2-126 0 0,0 1 0 0 0,0 0 0 0 0,0 0 1 0 0,0 0-1 0 0,0 0 0 0 0,0 0 0 0 0,0 1 0 0 0,0-1 0 0 0,1 0 1 0 0,-1 1-1 0 0,0 0 0 0 0,0-1 0 0 0,0 1 0 0 0,0 0 0 0 0,1 0 1 0 0,-1 0-1 0 0,0 0 0 0 0,1 0 0 0 0,-1 1 0 0 0,1-1 0 0 0,-1 0 0 0 0,1 1 1 0 0,-1-1-1 0 0,1 1 0 0 0,0-1 0 0 0,0 1 0 0 0,0 0 0 0 0,0-1 1 0 0,0 1-1 0 0,0 0 0 0 0,0 0 0 0 0,0 3 0 0 0,0-1-54 0 0,1 0 0 0 0,0-1-1 0 0,0 1 1 0 0,1 0 0 0 0,-1-1 0 0 0,1 1-1 0 0,-1 0 1 0 0,1-1 0 0 0,0 1-1 0 0,0-1 1 0 0,1 1 0 0 0,-1-1-1 0 0,1 1 1 0 0,0-1 0 0 0,0 0 0 0 0,0 0-1 0 0,0 0 1 0 0,3 3 0 0 0,0-1 1 0 0,0-1 0 0 0,0 0 0 0 0,0 0 0 0 0,0 0 0 0 0,1-1 0 0 0,0 0 0 0 0,-1 0 0 0 0,1 0 0 0 0,0-1 0 0 0,8 3 0 0 0,-6-3-95 0 0,1 0 0 0 0,0 0 0 0 0,-1 0 0 0 0,1-1 0 0 0,0-1 0 0 0,0 1 0 0 0,0-1 0 0 0,0-1 0 0 0,0 0 0 0 0,-1 0 0 0 0,1-1 0 0 0,0 0 0 0 0,-1 0 0 0 0,1-1 0 0 0,-1 0 0 0 0,9-5 0 0 0,-12 4 4 0 0,-1 0-1 0 0,1 0 1 0 0,-1 0 0 0 0,0-1 0 0 0,-1 1-1 0 0,1-1 1 0 0,-1 0 0 0 0,0 0-1 0 0,0 0 1 0 0,0-1 0 0 0,-1 1 0 0 0,0-1-1 0 0,0 0 1 0 0,0 1 0 0 0,-1-1-1 0 0,1 0 1 0 0,-2 0 0 0 0,1 0-1 0 0,-1 0 1 0 0,1 0 0 0 0,-2 0 0 0 0,1 0-1 0 0,-1 0 1 0 0,0 0 0 0 0,0 0-1 0 0,-2-6 1 0 0,2 11 61 0 0,1-1-1 0 0,-1 1 1 0 0,1 0 0 0 0,-1-1-1 0 0,0 1 1 0 0,1 0 0 0 0,-1 0-1 0 0,0-1 1 0 0,0 1-1 0 0,0 0 1 0 0,0 0 0 0 0,0 0-1 0 0,0 0 1 0 0,0 0-1 0 0,0 1 1 0 0,-1-1 0 0 0,1 0-1 0 0,0 0 1 0 0,0 1 0 0 0,-1-1-1 0 0,1 1 1 0 0,0-1-1 0 0,-1 1 1 0 0,1-1 0 0 0,-1 1-1 0 0,1 0 1 0 0,0 0 0 0 0,-1 0-1 0 0,1 0 1 0 0,-1 0-1 0 0,1 0 1 0 0,-1 0 0 0 0,1 0-1 0 0,0 1 1 0 0,-1-1-1 0 0,1 0 1 0 0,-1 1 0 0 0,1-1-1 0 0,0 1 1 0 0,-1 0 0 0 0,1-1-1 0 0,0 1 1 0 0,0 0-1 0 0,0 0 1 0 0,0 0 0 0 0,-1 0-1 0 0,1 0 1 0 0,0 0-1 0 0,0 0 1 0 0,1 0 0 0 0,-1 0-1 0 0,0 0 1 0 0,-1 3 0 0 0,2-3-7 0 0,-1 0 1 0 0,1 0-1 0 0,0 0 1 0 0,0 0-1 0 0,0 1 1 0 0,-1-1-1 0 0,1 0 1 0 0,0 0-1 0 0,0 1 1 0 0,1-1 0 0 0,-1 0-1 0 0,0 0 1 0 0,0 0-1 0 0,1 1 1 0 0,-1-1-1 0 0,0 0 1 0 0,1 0-1 0 0,-1 0 1 0 0,2 1-1 0 0,10 18 96 0 0,-8-16-400 0 0,0 1-1 0 0,1-1 1 0 0,0 1-1 0 0,-1-1 1 0 0,1-1-1 0 0,1 1 1 0 0,-1-1 0 0 0,1 0-1 0 0,-1 0 1 0 0,1 0-1 0 0,10 2 1 0 0,3-2-2102 0 0,-15-3 1881 0 0,0 0-969 0 0</inkml:trace>
</inkml:ink>
</file>

<file path=ppt/ink/ink4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1.6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84 0 0,'12'4'4504'0'0</inkml:trace>
</inkml:ink>
</file>

<file path=ppt/ink/ink4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2.6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1 2810 1348 0 0,'0'0'1152'0'0,"-3"0"-39"0"0,-9 0-63 0 0,9 0-128 0 0,0 0-748 0 0,0 0-1 0 0,1-1 0 0 0,-1 1 1 0 0,0-1-1 0 0,0 1 0 0 0,1-1 1 0 0,-1 0-1 0 0,0 0 0 0 0,1 0 1 0 0,-1-1-1 0 0,1 1 0 0 0,-1 0 1 0 0,1-1-1 0 0,0 0 0 0 0,-1 1 1 0 0,1-1-1 0 0,0 0 0 0 0,0 0 1 0 0,0-1-1 0 0,1 1 0 0 0,-1 0 1 0 0,0 0-1 0 0,1-1 1 0 0,0 1-1 0 0,-1-1 0 0 0,1 1 1 0 0,0-1-1 0 0,0 0 0 0 0,1 0 1 0 0,-2-4-1 0 0,-1-9 12 0 0,1 0 1 0 0,0 0-1 0 0,1 0 1 0 0,1-19-1 0 0,0 20 62 0 0,2-38-55 0 0,17-106 0 0 0,26-51-148 0 0,-39 185-25 0 0,21-81-28 0 0,5 1-1 0 0,4 2 0 0 0,5 1 0 0 0,4 3 0 0 0,5 1 0 0 0,3 3 0 0 0,5 2 0 0 0,4 2 0 0 0,4 4 0 0 0,3 2 0 0 0,142-133 0 0 0,258-152 197 0 0,32 43-97 0 0,-199 125 1569 0 0,-288 190-3909 0 0</inkml:trace>
</inkml:ink>
</file>

<file path=ppt/ink/ink4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5.4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5 27 976 0 0,'0'0'1522'0'0,"0"3"-348"0"0,-8 116 2291 0 0,1-19-1942 0 0,2 144 1557 0 0,5-242-2992 0 0,0-1 0 0 0,1 0 0 0 0,-2 1 0 0 0,1-1 0 0 0,0 0 0 0 0,0 0 0 0 0,0 1 0 0 0,0-1 0 0 0,-1 0 0 0 0,1 1 0 0 0,-1-1 0 0 0,1 0 0 0 0,-1 1 0 0 0,0-1-81 0 0,1-1 0 0 0,0 0-1 0 0,0 0 1 0 0,-1 0-1 0 0,1 0 1 0 0,0 0-1 0 0,0 0 1 0 0,-1 0-1 0 0,1 0 1 0 0,0 0-1 0 0,0 0 1 0 0,-1 0-1 0 0,1 0 1 0 0,0 0-1 0 0,-1 0 1 0 0,1 0-1 0 0,0 0 1 0 0,0 0-1 0 0,-1 0 1 0 0,1 0-1 0 0,0 0 1 0 0,0 0-1 0 0,0 0 1 0 0,-1-1-1 0 0,1 1 1 0 0,0 0 0 0 0,0 0-1 0 0,-1 0 1 0 0,1 0-1 0 0,0-1 1 0 0,0 1-1 0 0,0 0 1 0 0,0 0-1 0 0,-1 0 1 0 0,1-1-1 0 0,-16-27-380 0 0,5-3 142 0 0,1-1 0 0 0,2-1 0 0 0,2 1 1 0 0,1-1-1 0 0,1-1 0 0 0,2 1 0 0 0,1 0 0 0 0,2-1 0 0 0,1 1 0 0 0,9-47 0 0 0,-10 76 259 0 0,0 0-1 0 0,0-1 1 0 0,0 1-1 0 0,1 0 1 0 0,-1 0-1 0 0,1 0 1 0 0,0 0-1 0 0,0 0 1 0 0,1 0-1 0 0,-1 1 1 0 0,1-1-1 0 0,0 1 1 0 0,0 0-1 0 0,6-6 1 0 0,-6 7 18 0 0,-1 1 0 0 0,1 0 0 0 0,-1 0 1 0 0,1 0-1 0 0,0 0 0 0 0,-1 0 0 0 0,1 0 0 0 0,0 1 0 0 0,0-1 0 0 0,-1 1 1 0 0,1 0-1 0 0,0 0 0 0 0,0 0 0 0 0,0 0 0 0 0,0 0 0 0 0,-1 1 0 0 0,1-1 0 0 0,0 1 1 0 0,0 0-1 0 0,-1-1 0 0 0,1 1 0 0 0,0 1 0 0 0,-1-1 0 0 0,5 3 0 0 0,7 4 101 0 0,-1 1 0 0 0,1 0 0 0 0,-1 1 0 0 0,13 14 0 0 0,45 51 202 0 0,-55-58-287 0 0,15 19 109 0 0,36 53 1 0 0,-52-67-767 0 0,-2 0 0 0 0,-1 1-1 0 0,0 0 1 0 0,8 28 0 0 0,-18-47 23 0 0,-1 1-1 0 0,0-1 1 0 0,0 0 0 0 0,-1 1 0 0 0,1-1 0 0 0,-1 0-1 0 0,0 1 1 0 0,0 7 0 0 0,-4-1-2171 0 0</inkml:trace>
</inkml:ink>
</file>

<file path=ppt/ink/ink4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5.7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299 444 0 0,'-8'-9'1538'0'0,"5"7"-1023"0"0,1-1 0 0 0,-1 0 0 0 0,1 0 0 0 0,0 1 0 0 0,0-1-1 0 0,0 0 1 0 0,0-1 0 0 0,1 1 0 0 0,-3-7 0 0 0,4 9-477 0 0,0 0 1 0 0,0 0-1 0 0,0 0 0 0 0,0 0 1 0 0,0 0-1 0 0,0 0 1 0 0,1 0-1 0 0,-1 0 1 0 0,0 0-1 0 0,1 0 1 0 0,-1 0-1 0 0,1 0 1 0 0,-1 0-1 0 0,1 0 1 0 0,-1 1-1 0 0,1-1 0 0 0,-1 0 1 0 0,1 0-1 0 0,0 0 1 0 0,0 1-1 0 0,-1-1 1 0 0,1 0-1 0 0,0 1 1 0 0,0-1-1 0 0,0 1 1 0 0,0-1-1 0 0,0 1 0 0 0,1-1 1 0 0,27-13 308 0 0,-28 14-346 0 0,35-11-1223 0 0,69-11 0 0 0,-7 1-1782 0 0,-64 12 2262 0 0</inkml:trace>
  <inkml:trace contextRef="#ctx0" brushRef="#br0" timeOffset="1">646 40 572 0 0,'6'-3'446'0'0,"-1"0"-1"0"0,0 0 1 0 0,1-1-1 0 0,-1 1 1 0 0,-1-1-1 0 0,1 0 1 0 0,0-1-1 0 0,4-6 920 0 0,-14 12-1170 0 0,-1-1 1 0 0,0 1-1 0 0,1 0 0 0 0,-1 1 1 0 0,1-1-1 0 0,0 1 0 0 0,-1 0 0 0 0,1 1 1 0 0,0-1-1 0 0,0 1 0 0 0,0 0 0 0 0,1 0 1 0 0,-1 0-1 0 0,1 1 0 0 0,0 0 1 0 0,0 0-1 0 0,0 0 0 0 0,0 0 0 0 0,0 1 1 0 0,1-1-1 0 0,-5 10 0 0 0,4-8-162 0 0,1 0 0 0 0,0 0 0 0 0,1 0 0 0 0,-1 0 0 0 0,1 0 0 0 0,0 1 0 0 0,1-1 0 0 0,0 1 1 0 0,0 0-1 0 0,0-1 0 0 0,0 1 0 0 0,1 0 0 0 0,1-1 0 0 0,-1 1 0 0 0,1 0 0 0 0,0-1 0 0 0,0 1 0 0 0,3 7 0 0 0,-1-7-89 0 0,1 0 1 0 0,0-1-1 0 0,0 1 1 0 0,0-1-1 0 0,1 0 1 0 0,0 0-1 0 0,0 0 1 0 0,0-1-1 0 0,1 0 0 0 0,0 0 1 0 0,0 0-1 0 0,0-1 1 0 0,1 0-1 0 0,-1 0 1 0 0,1 0-1 0 0,9 3 1 0 0,-10-5-426 0 0,1 1 1 0 0,0-1 0 0 0,0-1-1 0 0,0 1 1 0 0,0-1 0 0 0,0 0-1 0 0,0-1 1 0 0,0 1 0 0 0,0-2-1 0 0,13 0 1 0 0,0-3-1313 0 0</inkml:trace>
</inkml:ink>
</file>

<file path=ppt/ink/ink4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6.3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3 80 828 0 0,'3'-11'1383'0'0,"-2"10"-1175"0"0,-1-1 1 0 0,1 1-1 0 0,-1 0 0 0 0,1 0 0 0 0,-1 0 0 0 0,1-1 0 0 0,-1 1 0 0 0,0 0 0 0 0,0 0 0 0 0,0-1 0 0 0,0 1 0 0 0,0 0 0 0 0,0 0 1 0 0,0-1-1 0 0,0 1 0 0 0,-1 0 0 0 0,1 0 0 0 0,0-1 0 0 0,-1 1 0 0 0,1 0 0 0 0,-1 0 0 0 0,0-1 0 0 0,0 1-133 0 0,1 1 0 0 0,-1 0 0 0 0,0 0 0 0 0,0 0 0 0 0,0 0 0 0 0,0 0-1 0 0,1 0 1 0 0,-1 0 0 0 0,0 0 0 0 0,0 1 0 0 0,0-1 0 0 0,1 0 0 0 0,-1 0 0 0 0,0 1-1 0 0,0-1 1 0 0,0 0 0 0 0,1 1 0 0 0,-1-1 0 0 0,0 1 0 0 0,1-1 0 0 0,-1 1 0 0 0,0-1 0 0 0,0 2-1 0 0,-16 12 540 0 0,13-10-554 0 0,2-1 1 0 0,-1 0 0 0 0,0 1 0 0 0,1 0-1 0 0,0 0 1 0 0,0 0 0 0 0,0 0 0 0 0,0 0 0 0 0,0 0-1 0 0,1 0 1 0 0,0 1 0 0 0,0-1 0 0 0,0 0-1 0 0,0 1 1 0 0,1-1 0 0 0,0 1 0 0 0,0-1 0 0 0,0 1-1 0 0,0-1 1 0 0,1 0 0 0 0,0 1 0 0 0,0-1 0 0 0,0 1-1 0 0,0-1 1 0 0,1 0 0 0 0,-1 0 0 0 0,1 0-1 0 0,4 6 1 0 0,-3-5-48 0 0,1 0 0 0 0,0 0 0 0 0,0-1 0 0 0,0 1-1 0 0,0-1 1 0 0,1 0 0 0 0,-1-1 0 0 0,1 1 0 0 0,0-1 0 0 0,1 0-1 0 0,-1 0 1 0 0,0 0 0 0 0,1-1 0 0 0,-1 0 0 0 0,1 0 0 0 0,0 0-1 0 0,0-1 1 0 0,0 0 0 0 0,0 0 0 0 0,11 0 0 0 0,-10-1-62 0 0,-1 0 0 0 0,1-1 0 0 0,-1 0 0 0 0,0 0 0 0 0,1-1-1 0 0,-1 1 1 0 0,0-1 0 0 0,0 0 0 0 0,0-1 0 0 0,0 0 0 0 0,-1 0 0 0 0,1 0 0 0 0,-1 0 0 0 0,0-1 0 0 0,0 0 0 0 0,0 0 0 0 0,0-1 0 0 0,5-5 0 0 0,-5 3 23 0 0,1-1 0 0 0,-1 0 0 0 0,0 0 0 0 0,-1 0 0 0 0,0 0-1 0 0,0-1 1 0 0,-1 1 0 0 0,0-1 0 0 0,-1 0 0 0 0,0 0 0 0 0,0 0 0 0 0,0-10 0 0 0,2-49 382 0 0,-4 66-347 0 0,5-5 481 0 0,13 65 43 0 0,-14-42-498 0 0,0 0 1 0 0,1-1-1 0 0,1 0 0 0 0,1 0 0 0 0,10 19 0 0 0,-12-28-14 0 0,-1 0 0 0 0,0 0 0 0 0,1 0 1 0 0,9 8-1 0 0,-1-4 24 0 0,6-2-1 0 0,-15-6-39 0 0,0-1 1 0 0,0-1-1 0 0,1 1 0 0 0,-1 0 0 0 0,0-1 1 0 0,0 0-1 0 0,0 0 0 0 0,0 0 0 0 0,0-1 0 0 0,0 1 1 0 0,0-1-1 0 0,0 0 0 0 0,0 0 0 0 0,0 0 1 0 0,0-1-1 0 0,0 0 0 0 0,0 1 0 0 0,-1-1 1 0 0,1 0-1 0 0,-1-1 0 0 0,5-3 0 0 0,-3 2-8 0 0,-1-1 0 0 0,1 1-1 0 0,-1-1 1 0 0,0 0-1 0 0,-1-1 1 0 0,1 1 0 0 0,-1-1-1 0 0,0 1 1 0 0,0-1 0 0 0,-1 0-1 0 0,0 0 1 0 0,0 0-1 0 0,1-7 1 0 0,1-5 187 0 0,-2 0 0 0 0,0 0 0 0 0,-2-34 0 0 0,0 51-144 0 0,-1 3-38 0 0,1-1-1 0 0,-1 2 1 0 0,0-1 0 0 0,1 0-1 0 0,-1 0 1 0 0,1 0 0 0 0,0 0-1 0 0,0 0 1 0 0,0 0 0 0 0,0 0-1 0 0,0 0 1 0 0,1 4 0 0 0,23 87 237 0 0,3 12-2475 0 0,-19-76-3220 0 0</inkml:trace>
</inkml:ink>
</file>

<file path=ppt/ink/ink4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7.4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0 1072 0 0,'3'-1'255'0'0,"0"-1"1"0"0,0 1-1 0 0,0 0 0 0 0,0 1 1 0 0,1-1-1 0 0,-1 0 0 0 0,0 1 1 0 0,0 0-1 0 0,0 0 0 0 0,1 0 1 0 0,-1 0-1 0 0,0 0 0 0 0,0 0 1 0 0,1 1-1 0 0,-1 0 0 0 0,0 0 0 0 0,3 1 1 0 0,-1 0-3 0 0,0 1 0 0 0,0 0 0 0 0,-1 0 1 0 0,1 0-1 0 0,-1 0 0 0 0,1 1 0 0 0,-1-1 0 0 0,-1 1 0 0 0,6 6 1 0 0,0 3 41 0 0,0 0 0 0 0,-1 1 0 0 0,0 0 0 0 0,-1 0 0 0 0,-1 0 0 0 0,6 19 0 0 0,-9-22-137 0 0,-1 1 0 0 0,0-1 0 0 0,-1 1 0 0 0,0 0 0 0 0,-1-1 0 0 0,-2 15 0 0 0,1 6 1962 0 0,1-31-2088 0 0,0-1 1 0 0,0 0-1 0 0,0 1 1 0 0,0-1 0 0 0,0 0-1 0 0,0 1 1 0 0,0-1 0 0 0,0 0-1 0 0,0 1 1 0 0,0-1-1 0 0,0 0 1 0 0,0 1 0 0 0,0-1-1 0 0,0 0 1 0 0,-1 1 0 0 0,1-1-1 0 0,0 0 1 0 0,0 1 0 0 0,0-1-1 0 0,0 0 1 0 0,-1 0-1 0 0,1 1 1 0 0,0-1 0 0 0,0 0-1 0 0,-1 0 1 0 0,1 0 0 0 0,0 1-1 0 0,-1-1 1 0 0,1 0-1 0 0,0 0 1 0 0,0 0 0 0 0,-1 0-1 0 0,0 1 1 0 0,1-1-12 0 0,0 0-1 0 0,0-1 1 0 0,-1 1 0 0 0,1 0-1 0 0,0 0 1 0 0,0 0 0 0 0,-1 0-1 0 0,1-1 1 0 0,0 1 0 0 0,0 0-1 0 0,-1 0 1 0 0,1 0 0 0 0,0-1 0 0 0,0 1-1 0 0,0 0 1 0 0,0 0 0 0 0,-1-1-1 0 0,1 1 1 0 0,0 0 0 0 0,0-1-1 0 0,0 1 1 0 0,0 0 0 0 0,0 0-1 0 0,0-1 1 0 0,0 1 0 0 0,0 0-1 0 0,0-1 1 0 0,0 1 0 0 0,0 0 0 0 0,0-1-1 0 0,0 1 1 0 0,0 0 0 0 0,0 0-1 0 0,0-1 1 0 0,0 1 0 0 0,0 0-1 0 0,0 0 1 0 0,1-1 0 0 0,3-16-120 0 0,1 0 0 0 0,0 0 0 0 0,2 1 0 0 0,0 0 1 0 0,0 0-1 0 0,2 0 0 0 0,0 1 0 0 0,13-16 0 0 0,-14 21-260 0 0,0 1 0 0 0,1 0 0 0 0,0 0-1 0 0,0 0 1 0 0,1 1 0 0 0,0 1 0 0 0,1 0 0 0 0,0 0-1 0 0,0 1 1 0 0,0 1 0 0 0,0-1 0 0 0,20-4 0 0 0,32-6-758 0 0,-36 10 909 0 0,-1-1 0 0 0,0-1 1 0 0,47-21-1 0 0,-71 28 231 0 0,-1 0 0 0 0,0 0 1 0 0,0 0-1 0 0,0 0 0 0 0,0 0 0 0 0,0 0 1 0 0,-1 0-1 0 0,1 0 0 0 0,0 0 0 0 0,0 0 0 0 0,-1-1 1 0 0,1 1-1 0 0,-1 0 0 0 0,1 0 0 0 0,0-3 1 0 0,-3-4 465 0 0,1 8-455 0 0,0 0 0 0 0,0 0 0 0 0,1-1 0 0 0,-1 1 0 0 0,0 0-1 0 0,1 0 1 0 0,-1 0 0 0 0,0 0 0 0 0,1 0 0 0 0,-1 0 0 0 0,0 0 0 0 0,0 1 0 0 0,1-1-1 0 0,-1 0 1 0 0,0 0 0 0 0,1 0 0 0 0,-2 1 0 0 0,-9 4 129 0 0,-1 0 0 0 0,1 1 1 0 0,0 0-1 0 0,1 1 0 0 0,0 0 1 0 0,0 0-1 0 0,0 1 0 0 0,-12 14 0 0 0,19-18-130 0 0,-1 0-1 0 0,1 1 1 0 0,0-1-1 0 0,0 1 0 0 0,0-1 1 0 0,1 1-1 0 0,0 0 1 0 0,0 0-1 0 0,0 0 0 0 0,-1 6 1 0 0,2-7-11 0 0,1 0-1 0 0,0-1 1 0 0,0 1 0 0 0,0 0 0 0 0,0 0 0 0 0,0 0-1 0 0,1-1 1 0 0,0 1 0 0 0,-1 0 0 0 0,2 0 0 0 0,-1-1-1 0 0,0 1 1 0 0,1-1 0 0 0,-1 1 0 0 0,5 5 0 0 0,-4-6-22 0 0,0 0 0 0 0,1 0-1 0 0,0 0 1 0 0,-1 0 0 0 0,1 0 0 0 0,0-1 0 0 0,0 1 0 0 0,1-1 0 0 0,-1 0 0 0 0,0 0 0 0 0,1 0-1 0 0,-1 0 1 0 0,1-1 0 0 0,0 1 0 0 0,0-1 0 0 0,-1 0 0 0 0,1 0 0 0 0,0-1 0 0 0,0 1 0 0 0,0-1 0 0 0,0 1-1 0 0,0-1 1 0 0,0-1 0 0 0,0 1 0 0 0,0 0 0 0 0,0-1 0 0 0,-1 0 0 0 0,1 0 0 0 0,0 0 0 0 0,0 0-1 0 0,-1-1 1 0 0,1 0 0 0 0,-1 1 0 0 0,1-1 0 0 0,-1 0 0 0 0,0-1 0 0 0,4-2 0 0 0,3-3-4 0 0,0-1-1 0 0,14-17 1 0 0,0 0 245 0 0,-22 25-226 0 0,1-4 76 0 0,3 10 6 0 0,4 12 24 0 0,-9-12-173 0 0,1 0-1 0 0,-1 1 1 0 0,2-1-1 0 0,-1 0 1 0 0,0 0-1 0 0,1-1 1 0 0,0 1-1 0 0,0 0 0 0 0,0-1 1 0 0,1 0-1 0 0,-1 0 1 0 0,1 0-1 0 0,0 0 1 0 0,0 0-1 0 0,1-1 1 0 0,-1 0-1 0 0,1 0 0 0 0,-1 0 1 0 0,1 0-1 0 0,0-1 1 0 0,0 0-1 0 0,0 0 1 0 0,0 0-1 0 0,10 2 1 0 0,-4-3-263 0 0,-1 1 1 0 0,0-2-1 0 0,1 1 1 0 0,-1-1-1 0 0,1-1 1 0 0,-1 0-1 0 0,0 0 1 0 0,1-1-1 0 0,-1-1 1 0 0,0 1 0 0 0,0-2-1 0 0,15-6 1 0 0,-16 5 12 0 0,0 0 1 0 0,0 0 0 0 0,0-1 0 0 0,-1 0 0 0 0,0-1 0 0 0,13-13-1 0 0,-16 15 378 0 0,-1 0-1 0 0,0 0 1 0 0,0-1-1 0 0,0 0 1 0 0,-1 0-1 0 0,0 0 1 0 0,0 0-1 0 0,0 0 1 0 0,-1 0-1 0 0,0-1 1 0 0,2-8 0 0 0,-4 14-7 0 0,0 0 1 0 0,0 0-1 0 0,0 0 1 0 0,0 0-1 0 0,0 0 1 0 0,0 0-1 0 0,0 0 1 0 0,0-1-1 0 0,-1 1 1 0 0,1 0 0 0 0,0 0-1 0 0,-1 0 1 0 0,1 0-1 0 0,0 0 1 0 0,-1 0-1 0 0,0 0 1 0 0,1 0-1 0 0,-1 0 1 0 0,0 0 0 0 0,1 1-1 0 0,-1-1 1 0 0,0 0-1 0 0,0 0 1 0 0,1 1-1 0 0,-1-1 1 0 0,0 0-1 0 0,0 1 1 0 0,0-1 0 0 0,0 1-1 0 0,0-1 1 0 0,0 1-1 0 0,0-1 1 0 0,0 1-1 0 0,0 0 1 0 0,-2-1-1 0 0,0 1 68 0 0,1-1-1 0 0,-1 1 0 0 0,0 0 1 0 0,1-1-1 0 0,-1 1 0 0 0,0 0 0 0 0,1 1 1 0 0,-1-1-1 0 0,0 0 0 0 0,1 1 0 0 0,-1 0 1 0 0,1-1-1 0 0,-4 2 0 0 0,4-1-82 0 0,0 0 0 0 0,0 1 0 0 0,0-1 0 0 0,0 0 0 0 0,0 1 0 0 0,0-1 0 0 0,0 1 0 0 0,1-1 0 0 0,-1 1 0 0 0,1 0 0 0 0,-1 0 0 0 0,1-1 0 0 0,0 1 0 0 0,-1 0 0 0 0,1 1 0 0 0,0-1 0 0 0,0 0 0 0 0,1 0 0 0 0,-1 0 0 0 0,0 0 0 0 0,1 1 0 0 0,-1-1 0 0 0,1 0 0 0 0,0 1 0 0 0,0-1 0 0 0,-1 0 0 0 0,2 1 0 0 0,-1-1 0 0 0,1 4 0 0 0,0-3-17 0 0,0 0 0 0 0,0 1-1 0 0,0-1 1 0 0,0-1-1 0 0,1 1 1 0 0,-1 0-1 0 0,1 0 1 0 0,0 0-1 0 0,0-1 1 0 0,0 1-1 0 0,0-1 1 0 0,1 1-1 0 0,-1-1 1 0 0,0 0 0 0 0,1 0-1 0 0,0 0 1 0 0,-1 0-1 0 0,1-1 1 0 0,0 1-1 0 0,4 1 1 0 0,-1-1-72 0 0,0 0 0 0 0,1 0 1 0 0,0-1-1 0 0,-1 0 0 0 0,1 0 1 0 0,-1 0-1 0 0,1-1 0 0 0,0 0 0 0 0,0 0 1 0 0,-1 0-1 0 0,1-1 0 0 0,0 0 1 0 0,-1-1-1 0 0,1 1 0 0 0,-1-1 0 0 0,1-1 1 0 0,-1 1-1 0 0,0-1 0 0 0,0 0 1 0 0,8-5-1 0 0,-7 2-57 0 0,1 0 0 0 0,-1 0 1 0 0,0-1-1 0 0,0 0 0 0 0,0 0 0 0 0,-1 0 0 0 0,0-1 0 0 0,-1 0 1 0 0,0 0-1 0 0,0-1 0 0 0,-1 1 0 0 0,0-1 0 0 0,4-12 1 0 0,-7 19 19 0 0,-1-9-81 0 0,-1 12 156 0 0,1 0 0 0 0,0 0 1 0 0,0 0-1 0 0,0 0 0 0 0,0 0 0 0 0,0 1 1 0 0,0-1-1 0 0,0 0 0 0 0,0 0 0 0 0,0 0 0 0 0,0 0 1 0 0,0 0-1 0 0,1 0 0 0 0,-1 1 0 0 0,1-1 1 0 0,-1 0-1 0 0,1 0 0 0 0,-1 0 0 0 0,1 0 0 0 0,-1 0 1 0 0,1 0-1 0 0,0-1 0 0 0,-1 1 0 0 0,3 1 1 0 0,-2 0 10 0 0,1-1 1 0 0,0-1-1 0 0,0 1 1 0 0,0 0-1 0 0,0 0 1 0 0,0-1-1 0 0,0 1 1 0 0,0-1-1 0 0,0 1 1 0 0,0-1 0 0 0,0 0-1 0 0,4 0 1 0 0,1-1 5 0 0,1 1 0 0 0,-1-2 1 0 0,1 1-1 0 0,-1-1 0 0 0,1 0 1 0 0,10-5-1 0 0,38-21-237 0 0,-55 27 223 0 0,-1 1-1 0 0,1 0 0 0 0,-1 0 0 0 0,1 0 1 0 0,0 0-1 0 0,-1 0 0 0 0,1 0 0 0 0,0 0 1 0 0,-1 0-1 0 0,1 0 0 0 0,-1 0 0 0 0,1 1 0 0 0,0-1 1 0 0,-1 0-1 0 0,1 0 0 0 0,-1 0 0 0 0,1 1 1 0 0,-1-1-1 0 0,1 0 0 0 0,-1 1 0 0 0,1-1 1 0 0,-1 0-1 0 0,1 1 0 0 0,-1-1 0 0 0,1 1 1 0 0,-1-1-1 0 0,0 1 0 0 0,1-1 0 0 0,-1 1 1 0 0,1-1-1 0 0,-1 1 0 0 0,0-1 0 0 0,0 1 1 0 0,1-1-1 0 0,-1 2 0 0 0,6 20 292 0 0,-2 38 475 0 0,-6 63 1 0 0,0-97-485 0 0,-1 1-1 0 0,-1-1 1 0 0,-2 1 0 0 0,-16 46-1 0 0,20-66-214 0 0,0-1 0 0 0,-1 0-1 0 0,0-1 1 0 0,-1 1 0 0 0,1-1-1 0 0,-1 1 1 0 0,0-1 0 0 0,0 0-1 0 0,-1 0 1 0 0,0-1 0 0 0,1 1-1 0 0,-2-1 1 0 0,1 0 0 0 0,0-1-1 0 0,-9 5 1 0 0,12-7-59 0 0,1 0 0 0 0,-1-1 0 0 0,0 0-1 0 0,1 1 1 0 0,-1-1 0 0 0,0 0 0 0 0,0 0 0 0 0,0 0 0 0 0,1 0-1 0 0,-1 0 1 0 0,0 0 0 0 0,0-1 0 0 0,1 1 0 0 0,-1 0 0 0 0,0-1-1 0 0,1 0 1 0 0,-1 1 0 0 0,-3-3 0 0 0,2 1-65 0 0,0 0-1 0 0,-1 0 1 0 0,1 0-1 0 0,0-1 1 0 0,0 0-1 0 0,0 1 1 0 0,-3-5-1 0 0,0-2-435 0 0,0 0-1 0 0,0 0 1 0 0,1-1-1 0 0,0 0 0 0 0,1 0 1 0 0,-5-16-1 0 0,-6-35-5382 0 0,11 42 2828 0 0</inkml:trace>
</inkml:ink>
</file>

<file path=ppt/ink/ink4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7.8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4 0 0,'5'44'8346'0'0,"6"12"-4788"0"0,23 68-3224 0 0,-12-46 160 0 0,-21-72-841 0 0,10 34-1037 0 0,-2-12-4260 0 0,-6-17 2687 0 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07.1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3 171 4 0 0,'8'-10'6547'0'0,"18"-19"-1688"0"0,21-12-3158 0 0,-40 35-1562 0 0,0 1-75 0 0,0 0 1 0 0,-1 0-1 0 0,0-1 1 0 0,0 0 0 0 0,-1-1-1 0 0,1 1 1 0 0,-2-1-1 0 0,7-9 1 0 0,-11 16-67 0 0,0-1 1 0 0,0 1 0 0 0,1-1 0 0 0,-1 1 0 0 0,0-1 0 0 0,0 0-1 0 0,0 1 1 0 0,0-1 0 0 0,1 1 0 0 0,-1-1 0 0 0,0 0 0 0 0,0 1-1 0 0,0-1 1 0 0,0 1 0 0 0,0-1 0 0 0,-1 0 0 0 0,1 1-1 0 0,0-1 1 0 0,0 1 0 0 0,0-1 0 0 0,0 1 0 0 0,-1-1 0 0 0,1 1-1 0 0,0-1 1 0 0,0 1 0 0 0,-1-1 0 0 0,1 1 0 0 0,-1-1 0 0 0,1 1-1 0 0,0-1 1 0 0,-1 1 0 0 0,1-1 0 0 0,-1 1 0 0 0,1 0-1 0 0,-1-1 1 0 0,1 1 0 0 0,-1 0 0 0 0,1-1 0 0 0,-1 1 0 0 0,1 0-1 0 0,-1 0 1 0 0,1 0 0 0 0,-1 0 0 0 0,0-1 0 0 0,0 1 0 0 0,-25 0 67 0 0,10 4 169 0 0,0 1 0 0 0,1 0-1 0 0,0 1 1 0 0,0 1 0 0 0,1 0 0 0 0,0 1-1 0 0,0 0 1 0 0,1 2 0 0 0,0-1 0 0 0,1 2-1 0 0,-1-1 1 0 0,2 2 0 0 0,0-1-1 0 0,0 2 1 0 0,1-1 0 0 0,-9 16 0 0 0,16-23-148 0 0,1 0 0 0 0,-1 0 0 0 0,1 0 0 0 0,0 1 0 0 0,0-1-1 0 0,1 0 1 0 0,0 1 0 0 0,-1-1 0 0 0,2 1 0 0 0,-1-1 0 0 0,1 1 0 0 0,0-1 0 0 0,0 1 0 0 0,0 0 0 0 0,1-1 0 0 0,0 1 0 0 0,0-1 0 0 0,0 1 0 0 0,1-1 0 0 0,0 0 0 0 0,0 1 0 0 0,0-1 0 0 0,5 8 0 0 0,-1-5-194 0 0,-1-1 0 0 0,1 0 0 0 0,0 0-1 0 0,0-1 1 0 0,1 0 0 0 0,0 0 0 0 0,0 0 0 0 0,0-1 0 0 0,1 0-1 0 0,-1 0 1 0 0,1-1 0 0 0,1 0 0 0 0,-1 0 0 0 0,10 2 0 0 0,-10-4-683 0 0,1 1 0 0 0,0-2 0 0 0,-1 1 0 0 0,14 0 1 0 0,16-6-5519 0 0,-23 0 655 0 0</inkml:trace>
</inkml:ink>
</file>

<file path=ppt/ink/ink4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8.2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 88 1436 0 0,'-11'-31'1963'0'0,"9"25"-1610"0"0,0 0 1 0 0,0 1 0 0 0,0-1 0 0 0,0 0 0 0 0,1-1-1 0 0,-1-7 1 0 0,2 14-345 0 0,0-1 0 0 0,0 1 0 0 0,0 0 0 0 0,1 0 1 0 0,-1-1-1 0 0,0 1 0 0 0,0 0 0 0 0,0-1 0 0 0,0 1 0 0 0,0 0 0 0 0,1-1 0 0 0,-1 1 0 0 0,0 0 0 0 0,0 0 0 0 0,1-1 0 0 0,-1 1 0 0 0,0 0 0 0 0,0 0 0 0 0,1 0 1 0 0,-1-1-1 0 0,0 1 0 0 0,1 0 0 0 0,-1 0 0 0 0,0 0 0 0 0,1 0 0 0 0,-1 0 0 0 0,0 0 0 0 0,1 0 0 0 0,-1 0 0 0 0,0 0 0 0 0,1 0 0 0 0,-1 0 0 0 0,1 0 1 0 0,16 2 103 0 0,0 6-97 0 0,0 0 0 0 0,0 1 0 0 0,-1 1 0 0 0,-1 0 1 0 0,0 1-1 0 0,0 1 0 0 0,-1 1 0 0 0,0-1 1 0 0,20 27-1 0 0,-16-16 495 0 0,-1 1 0 0 0,-1 1 1 0 0,0 0-1 0 0,-2 1 1 0 0,17 45-1 0 0,-5-11 5535 0 0,-23-64-5872 0 0,0 0-1 0 0,0 1 1 0 0,-1-1 0 0 0,1 0 0 0 0,1-5-1 0 0,-4 9-165 0 0,6-12 15 0 0,1 0 1 0 0,0 1 0 0 0,0 0-1 0 0,1 1 1 0 0,1-1-1 0 0,0 2 1 0 0,0-1-1 0 0,1 1 1 0 0,0 1 0 0 0,1-1-1 0 0,-1 2 1 0 0,2 0-1 0 0,17-9 1 0 0,-26 15-27 0 0,-1 0 1 0 0,1 0-1 0 0,0 0 1 0 0,0 1-1 0 0,-1-1 0 0 0,1 1 1 0 0,0 0-1 0 0,0 0 1 0 0,0 0-1 0 0,-1 0 1 0 0,1 1-1 0 0,0-1 0 0 0,0 1 1 0 0,0-1-1 0 0,-1 1 1 0 0,1 0-1 0 0,0 0 1 0 0,-1 0-1 0 0,1 0 0 0 0,-1 1 1 0 0,0-1-1 0 0,1 1 1 0 0,1 2-1 0 0,5 2-66 0 0,-1 2 1 0 0,0-1-1 0 0,0 1 0 0 0,8 12 1 0 0,-6-5-347 0 0,-1 0 0 0 0,-1 0 1 0 0,8 18-1 0 0,-8-16-819 0 0,0 0 1 0 0,19 28-1 0 0,-24-41 770 0 0,1 0 1 0 0,-1 0-1 0 0,1 0 0 0 0,0 0 0 0 0,0-1 0 0 0,0 0 0 0 0,0 0 0 0 0,0 0 0 0 0,1 0 0 0 0,-1-1 0 0 0,1 1 0 0 0,0-1 1 0 0,-1 0-1 0 0,9 2 0 0 0</inkml:trace>
</inkml:ink>
</file>

<file path=ppt/ink/ink4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18.6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2 1 488 0 0,'0'0'552'0'0,"-18"5"200"0"0,0 6-496 0 0,6-4-52 0 0,6 2-28 0 0,-2 2-20 0 0,2-2-32 0 0,-2 3-28 0 0,6-1 32 0 0,-2 2-48 0 0,4-2-28 0 0,0-1-160 0 0,0 3-152 0 0,2-2-216 0 0,6 1-220 0 0,-4-3 184 0 0</inkml:trace>
</inkml:ink>
</file>

<file path=ppt/ink/ink4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1.0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8 15 156 0 0,'-1'-1'145'0'0,"1"0"0"0"0,-1 0 0 0 0,0 0 0 0 0,0 0 0 0 0,1 0 0 0 0,-1 0 0 0 0,0 0 0 0 0,0 0 0 0 0,0 1 0 0 0,0-1 0 0 0,0 0 0 0 0,0 1 0 0 0,0-1 0 0 0,0 1 0 0 0,0-1 0 0 0,-1 1 0 0 0,1 0 0 0 0,0-1 0 0 0,0 1 1 0 0,0 0-1 0 0,-1 0 0 0 0,1 0 0 0 0,0 0 0 0 0,-1 0 0 0 0,-1 0 64 0 0,0 1 1 0 0,0 0-1 0 0,0 0 1 0 0,0 0 0 0 0,0 0-1 0 0,1 0 1 0 0,-1 0-1 0 0,0 1 1 0 0,-3 2 0 0 0,-3 3 254 0 0,0 0 1 0 0,1 1-1 0 0,0 0 1 0 0,-10 13-1 0 0,14-14-301 0 0,-1 0 0 0 0,1 0 0 0 0,0 0 0 0 0,0 1 0 0 0,1 0 0 0 0,0-1 0 0 0,0 1 0 0 0,1 0 0 0 0,0 0-1 0 0,1 0 1 0 0,-1 1 0 0 0,2-1 0 0 0,-1 0 0 0 0,1 1 0 0 0,0-1 0 0 0,1 0 0 0 0,3 16 0 0 0,-1-13-96 0 0,0 1 0 0 0,1-1 0 0 0,0 1 0 0 0,1-1 1 0 0,0 0-1 0 0,1-1 0 0 0,0 1 0 0 0,1-1 0 0 0,0 0 0 0 0,0-1 0 0 0,15 14 0 0 0,22 14-1033 0 0,-41-34 600 0 0,1-1 1 0 0,0 1-1 0 0,0-1 0 0 0,0 0 1 0 0,1-1-1 0 0,-1 1 0 0 0,0-1 1 0 0,1 0-1 0 0,7 1 0 0 0,-11-2 224 0 0,0 0 0 0 0,-1 0 0 0 0,1 0 0 0 0,0 0 0 0 0,0 0 0 0 0,0 0 0 0 0,0 0 0 0 0,0 0 0 0 0,0 0 0 0 0,0-1 0 0 0,0 1 0 0 0,-1 0-1 0 0,1-1 1 0 0,0 1 0 0 0,0 0 0 0 0,0-1 0 0 0,1-1 0 0 0,0 1-386 0 0,8-5-1298 0 0</inkml:trace>
</inkml:ink>
</file>

<file path=ppt/ink/ink4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2.4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10 448 0 0,'7'-12'1268'0'0,"-6"9"-1041"0"0,0 1 0 0 0,0-1 0 0 0,1 1 0 0 0,-1-1 0 0 0,1 1 0 0 0,-1 0 0 0 0,1 0 0 0 0,0 0 0 0 0,0 0 0 0 0,0 0 0 0 0,0 0 0 0 0,3-1 0 0 0,-3 2-150 0 0,0 0 0 0 0,0 0 0 0 0,0 0 0 0 0,0 1-1 0 0,0-1 1 0 0,0 1 0 0 0,0-1 0 0 0,0 1 0 0 0,0 0 0 0 0,1 0 0 0 0,-1 0 0 0 0,0 0-1 0 0,0 1 1 0 0,0-1 0 0 0,0 0 0 0 0,0 1 0 0 0,1 0 0 0 0,-1-1 0 0 0,0 1 0 0 0,2 1-1 0 0,-1 0 0 0 0,0 0 0 0 0,0 1 0 0 0,0-1 0 0 0,0 1 0 0 0,0-1 0 0 0,-1 1 0 0 0,1 0-1 0 0,-1 0 1 0 0,0 1 0 0 0,4 5 0 0 0,-2-1-15 0 0,0 1 0 0 0,0 1 0 0 0,-1-1 0 0 0,0 0 0 0 0,-1 1 0 0 0,0 0 0 0 0,0 0 0 0 0,0 15 0 0 0,-6 25 879 0 0,4-48-293 0 0,2-3-631 0 0,0 0 1 0 0,-1 0 0 0 0,1-1-1 0 0,0 1 1 0 0,-1 0 0 0 0,1-1-1 0 0,-1 1 1 0 0,1-1 0 0 0,-1 1-1 0 0,0-1 1 0 0,0 0 0 0 0,0 0-1 0 0,1-1 1 0 0,5-7 12 0 0,10-8-27 0 0,1 2-1 0 0,1 0 1 0 0,33-23-1 0 0,69-32-89 0 0,3-2 119 0 0,-119 69 24 0 0,0 1 0 0 0,0-2 0 0 0,0 1 1 0 0,-1 0-1 0 0,0-1 0 0 0,0 0 0 0 0,0 0 1 0 0,-1 0-1 0 0,6-10 0 0 0,-9 14-54 0 0,0 1 0 0 0,0-1-1 0 0,0 0 1 0 0,0 1 0 0 0,0-1 0 0 0,0 1 0 0 0,0-1 0 0 0,0 0-1 0 0,0 1 1 0 0,0-1 0 0 0,-1 1 0 0 0,1-1 0 0 0,0 0 0 0 0,0 1-1 0 0,-1-1 1 0 0,1 1 0 0 0,0-1 0 0 0,-1 1 0 0 0,1-1 0 0 0,0 1-1 0 0,-1-1 1 0 0,1 1 0 0 0,-1 0 0 0 0,1-1 0 0 0,-1 1 0 0 0,1-1 0 0 0,-1 1-1 0 0,1 0 1 0 0,-1 0 0 0 0,1-1 0 0 0,-1 1 0 0 0,1 0 0 0 0,-1 0-1 0 0,0-1 1 0 0,1 1 0 0 0,-1 0 0 0 0,1 0 0 0 0,-1 0 0 0 0,0 0-1 0 0,1 0 1 0 0,-1 0 0 0 0,0 0 0 0 0,1 0 0 0 0,-1 0 0 0 0,1 1-1 0 0,-2-1 1 0 0,-5 2 15 0 0,0-1 0 0 0,1 2 0 0 0,-1-1-1 0 0,0 1 1 0 0,1 0 0 0 0,-1 0 0 0 0,1 1-1 0 0,0 0 1 0 0,0 0 0 0 0,0 0 0 0 0,-6 7-1 0 0,4-3 59 0 0,1-1 0 0 0,0 1 0 0 0,1 1 0 0 0,0-1 0 0 0,0 1 0 0 0,1 0 0 0 0,-8 18 0 0 0,10-20-3 0 0,0 1 0 0 0,1-1 0 0 0,0 0 0 0 0,1 1 0 0 0,-1-1 0 0 0,1 1 0 0 0,1 0 0 0 0,-1-1 0 0 0,2 1 0 0 0,-1 0 1 0 0,2 7-1 0 0,-1-9-14 0 0,0-1 0 0 0,1 0 0 0 0,0 0 1 0 0,0 0-1 0 0,0 0 0 0 0,1 0 0 0 0,0 0 1 0 0,-1 0-1 0 0,2-1 0 0 0,-1 1 1 0 0,1-1-1 0 0,-1 0 0 0 0,1 0 0 0 0,0 0 1 0 0,0-1-1 0 0,8 6 0 0 0,-5-5-34 0 0,1 0 0 0 0,-1 0-1 0 0,1-1 1 0 0,0 1 0 0 0,0-2-1 0 0,1 1 1 0 0,-1-1 0 0 0,1 0-1 0 0,-1-1 1 0 0,1 0 0 0 0,-1-1 0 0 0,1 1-1 0 0,0-2 1 0 0,-1 1 0 0 0,1-1-1 0 0,-1 0 1 0 0,15-5 0 0 0,-14 4-19 0 0,0-1 0 0 0,1-1 0 0 0,-1 0 0 0 0,-1 0 0 0 0,1-1 1 0 0,-1 0-1 0 0,0 0 0 0 0,0-1 0 0 0,0 0 0 0 0,-1 0 0 0 0,0-1 0 0 0,0 0 0 0 0,0 0 1 0 0,-1-1-1 0 0,8-11 0 0 0,-8 8-9 0 0,-1 0 0 0 0,1 0-1 0 0,-2 0 1 0 0,0 0 0 0 0,0-1 0 0 0,-1 1 0 0 0,0-1 0 0 0,-1 0 0 0 0,1-15 0 0 0,-3 26 1 0 0,0 0 1 0 0,0 1 0 0 0,1-1 0 0 0,-1 1 0 0 0,0-1 0 0 0,0 0 0 0 0,0 1 0 0 0,0-1 0 0 0,0 1 0 0 0,-1-1-1 0 0,1 0 1 0 0,0 1 0 0 0,0-1 0 0 0,0 1 0 0 0,0-1 0 0 0,-1 0 0 0 0,1 1 0 0 0,0-1 0 0 0,-1 1 0 0 0,1-1-1 0 0,0 1 1 0 0,-1-1 0 0 0,1 1 0 0 0,0-1 0 0 0,-1 1 0 0 0,1 0 0 0 0,-1-1 0 0 0,1 1 0 0 0,-1 0 0 0 0,1-1 0 0 0,-1 1-1 0 0,1 0 1 0 0,-1-1 0 0 0,-1 1 0 0 0,1 0-2 0 0,-1 0-1 0 0,1 1 1 0 0,-1-1 0 0 0,0 0-1 0 0,1 1 1 0 0,-1 0-1 0 0,1-1 1 0 0,-1 1 0 0 0,1 0-1 0 0,-1-1 1 0 0,1 1-1 0 0,-2 2 1 0 0,-35 32-28 0 0,32-28 32 0 0,-1 1 1 0 0,1 0 0 0 0,1 0-1 0 0,-1 1 1 0 0,1 0 0 0 0,1-1-1 0 0,0 2 1 0 0,-4 10 0 0 0,8-19 1 0 0,-1 0 1 0 0,1 0-1 0 0,0 0 1 0 0,-1 1-1 0 0,1-1 1 0 0,0 0-1 0 0,0 0 1 0 0,-1 1-1 0 0,1-1 1 0 0,0 0-1 0 0,0 0 0 0 0,1 1 1 0 0,-1-1-1 0 0,0 0 1 0 0,0 0-1 0 0,0 1 1 0 0,1-1-1 0 0,-1 0 1 0 0,1 0-1 0 0,-1 0 1 0 0,1 0-1 0 0,0 1 1 0 0,-1-1-1 0 0,1 0 1 0 0,0 0-1 0 0,0 0 0 0 0,-1 0 1 0 0,1-1-1 0 0,0 1 1 0 0,0 0-1 0 0,0 0 1 0 0,0 0-1 0 0,0-1 1 0 0,0 1-1 0 0,0 0 1 0 0,1-1-1 0 0,-1 1 1 0 0,0-1-1 0 0,0 0 1 0 0,0 1-1 0 0,1-1 1 0 0,-1 0-1 0 0,0 0 0 0 0,0 0 1 0 0,1 1-1 0 0,-1-1 1 0 0,3-1-1 0 0,4 1-28 0 0,1 0 0 0 0,0-1-1 0 0,0-1 1 0 0,-1 1 0 0 0,12-4 0 0 0,-10 1-21 0 0,0-1 1 0 0,-1 1 0 0 0,1-2 0 0 0,-1 1 0 0 0,0-1 0 0 0,0-1 0 0 0,12-11 0 0 0,-20 17 0 0 0,-2 1-93 0 0,1 0 137 0 0,-1 1 0 0 0,1-1 0 0 0,-1 1 0 0 0,1-1 0 0 0,-1 1 0 0 0,1-1 0 0 0,-1 1 0 0 0,1-1 0 0 0,0 1 0 0 0,-1 0 0 0 0,1-1 0 0 0,0 1 0 0 0,-1-1 0 0 0,1 1 0 0 0,0 0 0 0 0,0-1 0 0 0,0 1 0 0 0,-1 0 0 0 0,1-1 0 0 0,0 1 0 0 0,0 0 0 0 0,0-1 0 0 0,0 1 0 0 0,0 1 0 0 0,0 0 5 0 0,0-1 0 0 0,0 1 0 0 0,0 0 0 0 0,0 0-1 0 0,0 0 1 0 0,1 0 0 0 0,-1-1 0 0 0,0 1 0 0 0,2 3-1 0 0,-1-3 10 0 0,1-1-1 0 0,-1 1 1 0 0,0-1-1 0 0,1 1 1 0 0,-1-1-1 0 0,1 0 1 0 0,0 1-1 0 0,-1-1 0 0 0,1 0 1 0 0,0 0-1 0 0,0 0 1 0 0,0-1-1 0 0,0 1 1 0 0,-1 0-1 0 0,5 0 0 0 0,0 0 6 0 0,-1 0-1 0 0,0-1 0 0 0,1 0 1 0 0,-1 0-1 0 0,0 0 0 0 0,6-2 1 0 0,-1 1-4 0 0,0-1 1 0 0,-1-1 0 0 0,1 0 0 0 0,-1 0-1 0 0,0-1 1 0 0,14-7 0 0 0,-16 5-6 0 0,0 0 0 0 0,0 0 0 0 0,0 0 0 0 0,-1-1 0 0 0,0 0 1 0 0,-1 0-1 0 0,1-1 0 0 0,7-15 0 0 0,-6 12-81 0 0,0 0-1 0 0,13-16 1 0 0,-19 27 69 0 0,0-1 0 0 0,0 0 0 0 0,0 1 0 0 0,-1-1 0 0 0,1 1 0 0 0,0-1 0 0 0,0 1 0 0 0,0-1 0 0 0,0 1 0 0 0,0-1-1 0 0,0 1 1 0 0,0 0 0 0 0,0 0 0 0 0,0 0 0 0 0,0-1 0 0 0,0 1 0 0 0,0 0 0 0 0,0 0 0 0 0,0 0 0 0 0,0 1 0 0 0,0-1 0 0 0,0 0 0 0 0,1 0 0 0 0,-1 0 0 0 0,0 1 0 0 0,-1-1 0 0 0,1 1-1 0 0,0-1 1 0 0,0 1 0 0 0,0-1 0 0 0,0 1 0 0 0,0-1 0 0 0,0 1 0 0 0,0 0 0 0 0,0 0 0 0 0,26 27-38 0 0,-27-28 42 0 0,3 4 28 0 0,0 1 0 0 0,0-1 0 0 0,0 1-1 0 0,0 0 1 0 0,-1-1 0 0 0,0 1 0 0 0,0 1 0 0 0,0-1 0 0 0,0 0 0 0 0,-1 0-1 0 0,0 0 1 0 0,0 1 0 0 0,0-1 0 0 0,-1 1 0 0 0,0-1 0 0 0,0 1-1 0 0,0-1 1 0 0,-1 0 0 0 0,0 1 0 0 0,0-1 0 0 0,0 0 0 0 0,0 1-1 0 0,-1-1 1 0 0,0 0 0 0 0,0 0 0 0 0,-1 0 0 0 0,1-1 0 0 0,-1 1 0 0 0,0 0-1 0 0,-4 3 1 0 0,-9 7 133 0 0,14-13-105 0 0,6-14-133 0 0,1 5 47 0 0,2 1 0 0 0,-1 0 0 0 0,1 0 0 0 0,11-8 0 0 0,4-2-76 0 0,5-7 33 0 0,-1 0 0 0 0,-1-2-1 0 0,-1-1 1 0 0,-1 0 0 0 0,34-54 0 0 0,-54 74 74 0 0,0 1 1 0 0,-1-1-1 0 0,1 1 0 0 0,-1-1 0 0 0,2-11 0 0 0,-4 15-6 0 0,-3 1-8 0 0,-1 2 16 0 0,0-1-1 0 0,1 0 0 0 0,-1 1 0 0 0,1-1 0 0 0,-1 1 0 0 0,1 0 0 0 0,-1 0 0 0 0,1 1 1 0 0,-1-1-1 0 0,1 1 0 0 0,0-1 0 0 0,0 1 0 0 0,0 0 0 0 0,0 0 0 0 0,0 1 0 0 0,0-1 1 0 0,1 0-1 0 0,-1 1 0 0 0,1 0 0 0 0,-1 0 0 0 0,1-1 0 0 0,0 1 0 0 0,0 1 0 0 0,1-1 1 0 0,-1 0-1 0 0,-1 4 0 0 0,2-4 16 0 0,-1 0 0 0 0,1 0 0 0 0,0 0 1 0 0,0 0-1 0 0,0 1 0 0 0,1-1 0 0 0,-1 0 1 0 0,1 1-1 0 0,0-1 0 0 0,-1 0 0 0 0,2 0 0 0 0,-1 1 1 0 0,0-1-1 0 0,1 0 0 0 0,-1 1 0 0 0,1-1 0 0 0,0 0 1 0 0,0 0-1 0 0,0 0 0 0 0,1 0 0 0 0,-1 0 0 0 0,1 0 1 0 0,-1 0-1 0 0,1 0 0 0 0,0 0 0 0 0,0-1 1 0 0,1 1-1 0 0,-1-1 0 0 0,5 4 0 0 0,-2-2 2 0 0,1-1 0 0 0,-1 1 0 0 0,1-1 1 0 0,0 0-1 0 0,0-1 0 0 0,0 0 0 0 0,0 0 0 0 0,1 0 0 0 0,-1-1 0 0 0,1 1 0 0 0,-1-2 0 0 0,1 1 0 0 0,-1-1 0 0 0,1 0 1 0 0,-1 0-1 0 0,1-1 0 0 0,-1 1 0 0 0,1-2 0 0 0,-1 1 0 0 0,1-1 0 0 0,6-2 0 0 0,-3 0-11 0 0,0-1-1 0 0,0 0 1 0 0,0 0 0 0 0,-1-1-1 0 0,1 0 1 0 0,-2 0-1 0 0,1-1 1 0 0,0-1 0 0 0,-1 1-1 0 0,-1-1 1 0 0,12-16 0 0 0,29-53 899 0 0,-48 77-900 0 0,1-1-1 0 0,-1 1 1 0 0,0 0 0 0 0,0-1 0 0 0,1 1-1 0 0,-1 0 1 0 0,0-1 0 0 0,1 1-1 0 0,-1 0 1 0 0,0-1 0 0 0,1 1 0 0 0,-1 0-1 0 0,1-1 1 0 0,-1 1 0 0 0,0 0 0 0 0,1 0-1 0 0,-1 0 1 0 0,1-1 0 0 0,-1 1-1 0 0,1 0 1 0 0,-1 0 0 0 0,1 0 0 0 0,-1 0-1 0 0,1 0 1 0 0,-1 0 0 0 0,1 0-1 0 0,-1 0 1 0 0,1 0 0 0 0,-1 0 0 0 0,1 0-1 0 0,12 12 231 0 0,6 29 156 0 0,-17-35-336 0 0,2 3-48 0 0,0 0 0 0 0,0 0 1 0 0,-2 0-1 0 0,1 1 0 0 0,-1-1 0 0 0,0 1 1 0 0,-1-1-1 0 0,1 16 0 0 0,-3-20-187 0 0,1 0 1 0 0,-1 0-1 0 0,0 0 0 0 0,-1 0 0 0 0,1 0 0 0 0,-1 0 1 0 0,0 0-1 0 0,0 0 0 0 0,0-1 0 0 0,-1 1 0 0 0,1-1 1 0 0,-1 1-1 0 0,0-1 0 0 0,-1 0 0 0 0,1-1 0 0 0,-1 1 1 0 0,-6 5-1 0 0,-2 0-1259 0 0,0 0 1 0 0,0-1-1 0 0,-15 7 1 0 0,-1-2-2536 0 0</inkml:trace>
</inkml:ink>
</file>

<file path=ppt/ink/ink4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3.6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4 44 436 0 0,'-15'8'483'0'0,"1"1"0"0"0,-1 1 0 0 0,1 0 1 0 0,1 0-1 0 0,-21 22 0 0 0,31-28-398 0 0,-1 0 1 0 0,0 0-1 0 0,1 1 0 0 0,0-1 1 0 0,0 1-1 0 0,0 0 1 0 0,0 0-1 0 0,1 0 1 0 0,0 0-1 0 0,0 0 0 0 0,0 1 1 0 0,1-1-1 0 0,0 1 1 0 0,0-1-1 0 0,0 1 0 0 0,0-1 1 0 0,1 1-1 0 0,0-1 1 0 0,0 1-1 0 0,1-1 0 0 0,1 8 1 0 0,-1-9-55 0 0,0-1 0 0 0,0 1 1 0 0,1 0-1 0 0,-1-1 1 0 0,1 1-1 0 0,0-1 0 0 0,0 1 1 0 0,0-1-1 0 0,1 0 0 0 0,-1 0 1 0 0,1 0-1 0 0,-1 0 0 0 0,1 0 1 0 0,0-1-1 0 0,0 1 0 0 0,1-1 1 0 0,2 2-1 0 0,-1-1 4 0 0,1-1-1 0 0,-1 0 1 0 0,0 0 0 0 0,0-1-1 0 0,1 1 1 0 0,-1-1 0 0 0,1 0 0 0 0,-1-1-1 0 0,1 0 1 0 0,-1 1 0 0 0,7-2-1 0 0,-3 0-48 0 0,0 0 0 0 0,-1 0 0 0 0,1-1 0 0 0,-1 0 0 0 0,0-1 0 0 0,0 0 0 0 0,0 0 0 0 0,0-1 0 0 0,0 0 0 0 0,-1 0 0 0 0,1-1 0 0 0,-1 0 0 0 0,-1 0 0 0 0,1-1 0 0 0,8-8 0 0 0,-10 6-76 0 0,0 0-1 0 0,0 0 1 0 0,-1 0 0 0 0,0-1-1 0 0,-1 1 1 0 0,1-1 0 0 0,-2 0 0 0 0,1 0-1 0 0,-1 0 1 0 0,-1-1 0 0 0,0 1-1 0 0,0 0 1 0 0,-1-15 0 0 0,0 24 97 0 0,0-1 0 0 0,0 1 0 0 0,1 0 0 0 0,-1-1 0 0 0,0 1 0 0 0,0-1 0 0 0,0 1 0 0 0,0-1 0 0 0,-1 1 0 0 0,1-1 0 0 0,0 1 0 0 0,0 0 0 0 0,0-1 0 0 0,0 1 0 0 0,0-1 0 0 0,0 1 0 0 0,-1 0 0 0 0,1-1 0 0 0,0 1 0 0 0,0-1 0 0 0,-1 1 0 0 0,1 0 0 0 0,0-1 0 0 0,-1 1 0 0 0,1 0-1 0 0,0 0 1 0 0,-1-1 0 0 0,1 1 0 0 0,0 0 0 0 0,-1 0 0 0 0,1-1 0 0 0,0 1 0 0 0,-1 0 0 0 0,1 0 0 0 0,-1 0 0 0 0,1 0 0 0 0,-1 0 0 0 0,1-1 0 0 0,0 1 0 0 0,-1 0 0 0 0,1 0 0 0 0,-1 0 0 0 0,1 0 0 0 0,-1 0 0 0 0,1 0 0 0 0,-1 1 0 0 0,1-1 0 0 0,0 0 0 0 0,-1 0 0 0 0,1 0 0 0 0,-1 1 0 0 0,0-1 46 0 0,0 0-1 0 0,0 1 1 0 0,0 0-1 0 0,0-1 1 0 0,0 1-1 0 0,0 0 0 0 0,0-1 1 0 0,0 1-1 0 0,0 0 1 0 0,1 0-1 0 0,-1 0 1 0 0,0 0-1 0 0,1 0 1 0 0,-1 0-1 0 0,1 0 1 0 0,-1 0-1 0 0,1 0 0 0 0,-1 0 1 0 0,1 0-1 0 0,-1 0 1 0 0,1 2-1 0 0,0 2 88 0 0,0 0 0 0 0,0 1 0 0 0,0-1 0 0 0,1 0 0 0 0,0 0 0 0 0,0 0 0 0 0,0 1 0 0 0,1-1 0 0 0,0 0 0 0 0,0 0 0 0 0,0-1 0 0 0,0 1 0 0 0,1 0 0 0 0,0-1 0 0 0,0 1 0 0 0,0-1 0 0 0,0 0 0 0 0,1 0 0 0 0,-1 0 0 0 0,1-1 0 0 0,0 1 0 0 0,1-1 0 0 0,-1 0 0 0 0,0 0 0 0 0,1-1 0 0 0,0 1 0 0 0,-1-1 0 0 0,1 0 0 0 0,0 0 0 0 0,0 0 0 0 0,10 1 0 0 0,-9-2-86 0 0,0 1 0 0 0,1-2 0 0 0,-1 1 0 0 0,1-1 0 0 0,-1 0-1 0 0,1 0 1 0 0,-1-1 0 0 0,1 0 0 0 0,-1 0 0 0 0,1 0 0 0 0,-1-1 0 0 0,0 0 0 0 0,0 0 0 0 0,0-1 0 0 0,0 1 0 0 0,0-2-1 0 0,10-6 1 0 0,-8 4-35 0 0,0 0-1 0 0,-1-1 1 0 0,0 0-1 0 0,0 0 1 0 0,-1-1-1 0 0,0 0 1 0 0,0 0 0 0 0,-1 0-1 0 0,1-1 1 0 0,6-18-1 0 0,-4 6-58 0 0,-1-1 1 0 0,-1 0-1 0 0,5-34 0 0 0,-11 53 20 0 0,8 18-134 0 0,8 13 145 0 0,2 0-1 0 0,2 0 1 0 0,33 36-1 0 0,1 1 30 0 0,-46-54-35 0 0,-4-7 48 0 0,-2-1 0 0 0,1 0-1 0 0,0 1 1 0 0,-1 0 0 0 0,1 0-1 0 0,-1 0 1 0 0,0 0 0 0 0,0 0-1 0 0,-1 0 1 0 0,2 5-1 0 0,-3-8-8 0 0,-1 1 0 0 0,1-1 0 0 0,0 0 0 0 0,-1 1 0 0 0,1-1 0 0 0,-1 0 0 0 0,1 1 0 0 0,-1-1 0 0 0,0 0 0 0 0,1 0 0 0 0,-1 1 0 0 0,0-1 0 0 0,0 0 0 0 0,0 0 0 0 0,0 0 0 0 0,0 0 0 0 0,-2 1 0 0 0,-20 16 417 0 0,22-18-452 0 0,0 1 0 0 0,0-1 0 0 0,0 1 1 0 0,0 0-1 0 0,0-1 0 0 0,0 0 1 0 0,0 1-1 0 0,0-1 0 0 0,0 0 1 0 0,0 1-1 0 0,-1-1 0 0 0,1 0 1 0 0,0 0-1 0 0,0 0 0 0 0,-1 0 1 0 0,2 0-23 0 0,-1-1 0 0 0,1 1 0 0 0,0 0 0 0 0,0 0 0 0 0,0-1 0 0 0,0 1 0 0 0,0 0 0 0 0,0-1 0 0 0,0 1 1 0 0,0 0-1 0 0,0-1 0 0 0,0 1 0 0 0,0 0 0 0 0,0-1 0 0 0,0 1 0 0 0,0 0 0 0 0,0-1 0 0 0,0 1 0 0 0,0 0 0 0 0,0-1 0 0 0,0 1 1 0 0,0 0-1 0 0,0-1 0 0 0,0 1 0 0 0,1 0 0 0 0,-1-1 0 0 0,0 1 0 0 0,0 0 0 0 0,1-1 0 0 0,20-28-6366 0 0</inkml:trace>
</inkml:ink>
</file>

<file path=ppt/ink/ink4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4.0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6 860 0 0,'0'0'1364'0'0,"3"1"-850"0"0,2 0-313 0 0,0-1 0 0 0,0 0 0 0 0,0 1 1 0 0,0-2-1 0 0,0 1 0 0 0,0-1 0 0 0,0 1 1 0 0,0-1-1 0 0,0-1 0 0 0,0 1 1 0 0,7-4-1 0 0,7-3 184 0 0,27-17 1 0 0,-22 11 168 0 0,-23 13-440 0 0,0 9-1065 0 0,-1 3-1419 0 0</inkml:trace>
</inkml:ink>
</file>

<file path=ppt/ink/ink4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5.0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144 1832 0 0,'0'0'1638'0'0,"-1"0"-1326"0"0,0-1 0 0 0,0 1 0 0 0,1-1 0 0 0,-1 1 0 0 0,0-1 0 0 0,0 1 0 0 0,0-1-1 0 0,1 1 1 0 0,-2-2 312 0 0,1 2-312 0 0,1-1 0 0 0,-1-1 0 0 0,1 0-218 0 0,1 0 0 0 0,0 0 0 0 0,0 0 0 0 0,0 1 0 0 0,0-1 0 0 0,1 0 0 0 0,-1 0 0 0 0,0 1 0 0 0,1-1 0 0 0,-1 1 0 0 0,1-1 0 0 0,0 1 0 0 0,-1 0 0 0 0,1 0 0 0 0,0-1 1 0 0,3 0-1 0 0,38-18 327 0 0,-28 14-272 0 0,23-11-330 0 0,0 3-1 0 0,1 0 0 0 0,0 3 1 0 0,1 1-1 0 0,50-5 0 0 0,-69 17-2621 0 0,-16-1 1985 0 0</inkml:trace>
</inkml:ink>
</file>

<file path=ppt/ink/ink4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5.3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 122 68 0 0,'-1'1'289'0'0,"0"1"1"0"0,0-1-1 0 0,0 0 1 0 0,-1 0-1 0 0,2 0 1 0 0,-1 1-1 0 0,0-1 1 0 0,0 0-1 0 0,0 1 1 0 0,0-1-1 0 0,1 1 1 0 0,-1-1-1 0 0,1 1 1 0 0,-1-1-1 0 0,1 1 0 0 0,0-1 1 0 0,-1 1-1 0 0,1 2 1 0 0,4-4 290 0 0,17-4-112 0 0,0-2 1 0 0,0 1-1 0 0,-1-2 0 0 0,36-18 1 0 0,-39 16-867 0 0,0 0 0 0 0,-1-1 0 0 0,18-15 0 0 0,-31 21-12 0 0,1 1-1 0 0,-1-1 1 0 0,0 1-1 0 0,0-1 1 0 0,0 0-1 0 0,-1 0 1 0 0,4-7-1 0 0,0-3-799 0 0</inkml:trace>
</inkml:ink>
</file>

<file path=ppt/ink/ink4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5.7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 16 1556 0 0,'0'-1'163'0'0,"0"1"-1"0"0,0-1 1 0 0,0 0-1 0 0,0 1 1 0 0,0-1 0 0 0,0 1-1 0 0,0-1 1 0 0,0 0-1 0 0,0 1 1 0 0,0-1-1 0 0,-1 0 1 0 0,1 1-1 0 0,0-1 1 0 0,0 1 0 0 0,-1-1-1 0 0,1 0 1 0 0,0 1-1 0 0,-1-1 1 0 0,1 1-1 0 0,-1-1 1 0 0,1 1 0 0 0,-1 0-1 0 0,1-1 1 0 0,-1 1-1 0 0,1-1 1 0 0,-2 0-1 0 0,2 2-55 0 0,0 1-1 0 0,0-1 1 0 0,-1 0 0 0 0,1 0-1 0 0,0 0 1 0 0,0 0-1 0 0,0 0 1 0 0,0 0-1 0 0,0 1 1 0 0,1-1-1 0 0,-1 0 1 0 0,0 0-1 0 0,0 0 1 0 0,1 0-1 0 0,0 2 1 0 0,79 311 4860 0 0,-60-221-4571 0 0,-2 2-405 0 0,-2-9-2050 0 0,-2-32-3613 0 0</inkml:trace>
  <inkml:trace contextRef="#ctx0" brushRef="#br0" timeOffset="1">223 38 968 0 0,'0'0'1065'0'0,"1"2"-49"0"0,5 11-153 0 0,-1 1 0 0 0,0 0 0 0 0,-1 0 0 0 0,3 19 0 0 0,1 6-218 0 0,6 5 59 0 0,23 52-1 0 0,-6-15-1034 0 0,-22-56-1705 0 0,6 33-1 0 0,-11-40-571 0 0</inkml:trace>
</inkml:ink>
</file>

<file path=ppt/ink/ink4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6.0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35 460 0 0,'1'-15'3891'0'0,"5"7"-3375"0"0,-1 0-1 0 0,1 0 0 0 0,1 0 1 0 0,0 1-1 0 0,0 0 1 0 0,0 0-1 0 0,15-10 1 0 0,66-38 303 0 0,-38 26-697 0 0,-23 13-616 0 0,-15 9-971 0 0,0 0 1 0 0,21-17 0 0 0,-21 13-661 0 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08.28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9 60 196 0 0,'-1'-6'1588'0'0,"-1"0"0"0"0,1-1-1 0 0,0 1 1 0 0,0-1 0 0 0,1-9 897 0 0,-1 4 647 0 0,5 19-2867 0 0,-1 0 0 0 0,0 0 0 0 0,-1 0 0 0 0,1 1 0 0 0,-2-1 0 0 0,1 0 0 0 0,-1 1 0 0 0,0-1 0 0 0,0 9 0 0 0,-2 77 1651 0 0,-1-67-1536 0 0,1 8 101 0 0,-1 0-1 0 0,-3-1 0 0 0,0 0 1 0 0,-14 43-1 0 0,13-58-204 0 0,2-7 514 0 0,0 0 1 0 0,-4 23 0 0 0,8-34-782 0 0,0 0 0 0 0,0 0 0 0 0,-1 1 0 0 0,1-1 1 0 0,0 0-1 0 0,0 1 0 0 0,-1-1 0 0 0,1 0 0 0 0,0 0 1 0 0,0 0-1 0 0,-1 1 0 0 0,1-1 0 0 0,0 0 0 0 0,-1 0 1 0 0,1 0-1 0 0,0 0 0 0 0,-1 1 0 0 0,1-1 0 0 0,0 0 1 0 0,-1 0-1 0 0,1 0 0 0 0,-1 0 0 0 0,1 0 0 0 0,0 0 1 0 0,-1 0-1 0 0,1 0 0 0 0,0 0 0 0 0,-1 0 1 0 0,1 0-1 0 0,0 0 0 0 0,-1-1 0 0 0,1 1 0 0 0,0 0 1 0 0,-1 0-1 0 0,1 0 0 0 0,0 0 0 0 0,-1-1 0 0 0,1 1 1 0 0,0 0-1 0 0,-1 0 0 0 0,1 0 0 0 0,0-1 0 0 0,0 1 1 0 0,-1 0-1 0 0,1-1 0 0 0,0 1 0 0 0,0 0 0 0 0,0 0 1 0 0,-1-1-1 0 0,1 1 0 0 0,0 0 0 0 0,0-1 0 0 0,0 1 1 0 0,0 0-1 0 0,0-1 0 0 0,0 1 0 0 0,0-1 1 0 0,0 1-1 0 0,0 0 0 0 0,0-1 0 0 0,0 1 0 0 0,0 0 1 0 0,0-1-1 0 0,0 1 0 0 0,0 0 0 0 0,0-1 0 0 0,0 0 1 0 0,1-10-175 0 0,1 0 1 0 0,0-1 0 0 0,0 1-1 0 0,1 0 1 0 0,1 0 0 0 0,0 0 0 0 0,0 0-1 0 0,1 1 1 0 0,1 0 0 0 0,8-13-1 0 0,1 1-85 0 0,0 1-1 0 0,2 0 1 0 0,29-28-1 0 0,-36 40 69 0 0,0-1 0 0 0,1 1-1 0 0,1 0 1 0 0,20-11 0 0 0,-28 18 148 0 0,-1 0 0 0 0,1 0-1 0 0,-1 1 1 0 0,1 0 0 0 0,-1 0 0 0 0,1 0 0 0 0,0 0-1 0 0,0 0 1 0 0,-1 1 0 0 0,1 0 0 0 0,0 0-1 0 0,0 0 1 0 0,0 0 0 0 0,-1 0 0 0 0,1 1 0 0 0,0 0-1 0 0,0-1 1 0 0,-1 2 0 0 0,1-1 0 0 0,0 0-1 0 0,-1 1 1 0 0,0-1 0 0 0,5 4 0 0 0,3 3 31 0 0,-1 1 0 0 0,0 1 0 0 0,0 0 1 0 0,-1 1-1 0 0,0-1 0 0 0,0 2 0 0 0,-2-1 1 0 0,8 15-1 0 0,-8-14 31 0 0,0 0 0 0 0,1 0 0 0 0,0-1 0 0 0,1 0 0 0 0,0 0 1 0 0,1-1-1 0 0,0-1 0 0 0,12 10 0 0 0,-15-14-4 0 0,-5-3-18 0 0,0-1 0 0 0,0 0 0 0 0,1 0 0 0 0,-1 1 0 0 0,1-2 0 0 0,-1 1 0 0 0,1 0 0 0 0,0 0 0 0 0,-1-1 0 0 0,1 0 0 0 0,-1 1 0 0 0,4-1 0 0 0,4 1-64 0 0,-1-1 1 0 0,0 0-1 0 0,1 0 1 0 0,-1-1-1 0 0,0 0 0 0 0,0-1 1 0 0,1 1-1 0 0,-1-2 1 0 0,0 0-1 0 0,-1 0 1 0 0,1 0-1 0 0,0-1 0 0 0,-1 0 1 0 0,0-1-1 0 0,0 0 1 0 0,12-10-1 0 0,-5 3-107 0 0,-1 0 0 0 0,0-1 0 0 0,-1-1 0 0 0,0 0 0 0 0,-1 0 0 0 0,-1-2 0 0 0,13-22 0 0 0,-23 36 146 0 0,0 0 0 0 0,0 1 0 0 0,0-1 0 0 0,-1 0 0 0 0,1 0 0 0 0,-1 0 0 0 0,1 0 0 0 0,-1 0 0 0 0,0 0 1 0 0,0-3-1 0 0,0 4 15 0 0,0 1 1 0 0,0-1-1 0 0,0 0 1 0 0,0 1-1 0 0,0-1 1 0 0,-1 1-1 0 0,1-1 1 0 0,0 1-1 0 0,0-1 1 0 0,-1 1-1 0 0,1-1 1 0 0,0 1-1 0 0,-1-1 0 0 0,1 1 1 0 0,0 0-1 0 0,-1-1 1 0 0,1 1-1 0 0,-1-1 1 0 0,1 1-1 0 0,0 0 1 0 0,-1-1-1 0 0,1 1 1 0 0,-1 0-1 0 0,1 0 1 0 0,-1 0-1 0 0,1-1 1 0 0,-1 1-1 0 0,0 0 1 0 0,1 0-1 0 0,-1 0 1 0 0,1 0-1 0 0,-1 0 1 0 0,1 0-1 0 0,-1 0 1 0 0,1 0-1 0 0,-1 0 1 0 0,0 0-1 0 0,1 0 1 0 0,-1 0-1 0 0,1 0 1 0 0,-1 0-1 0 0,1 0 1 0 0,-2 1-1 0 0,-2 0 5 0 0,0 0 0 0 0,0 1 0 0 0,0 0 0 0 0,0-1 0 0 0,1 1 0 0 0,-1 0 0 0 0,0 1 0 0 0,1-1 0 0 0,0 1 0 0 0,-1 0 1 0 0,1-1-1 0 0,0 1 0 0 0,0 1 0 0 0,1-1 0 0 0,-4 4 0 0 0,5-5 38 0 0,0 0 0 0 0,0 0 0 0 0,0 1 1 0 0,0-1-1 0 0,0 0 0 0 0,0 1 0 0 0,0-1 1 0 0,1 0-1 0 0,-1 1 0 0 0,1-1 0 0 0,0 1 1 0 0,-1-1-1 0 0,1 1 0 0 0,1-1 0 0 0,-1 1 1 0 0,0-1-1 0 0,0 1 0 0 0,1-1 1 0 0,0 1-1 0 0,-1-1 0 0 0,1 0 0 0 0,0 1 1 0 0,0-1-1 0 0,0 0 0 0 0,0 0 0 0 0,1 1 1 0 0,-1-1-1 0 0,3 3 0 0 0,0-1 39 0 0,0 0-1 0 0,1 0 0 0 0,-1 0 1 0 0,1 0-1 0 0,0-1 1 0 0,0 0-1 0 0,0 0 1 0 0,0 0-1 0 0,0-1 1 0 0,1 1-1 0 0,-1-1 1 0 0,1 0-1 0 0,0-1 1 0 0,-1 0-1 0 0,1 0 1 0 0,0 0-1 0 0,0 0 1 0 0,0-1-1 0 0,0 0 1 0 0,0 0-1 0 0,-1-1 1 0 0,1 1-1 0 0,10-4 1 0 0,-12 3-39 0 0,0 0 1 0 0,-1-1-1 0 0,1 1 1 0 0,-1-1 0 0 0,1 0-1 0 0,-1 0 1 0 0,0 0 0 0 0,0 0-1 0 0,1-1 1 0 0,-2 1 0 0 0,1-1-1 0 0,0 0 1 0 0,-1 0 0 0 0,1 0-1 0 0,-1 0 1 0 0,0 0 0 0 0,0-1-1 0 0,0 1 1 0 0,0-1-1 0 0,0 1 1 0 0,-1-1 0 0 0,0 1-1 0 0,0-1 1 0 0,1-5 0 0 0,-1 4-333 0 0,0 0 1 0 0,-1 0 0 0 0,0 0-1 0 0,0 0 1 0 0,0 0 0 0 0,0-1-1 0 0,-1 1 1 0 0,-1-6 0 0 0,1 7-772 0 0,-1 0 0 0 0,1 0 1 0 0,-1-1-1 0 0,0 1 0 0 0,0 0 1 0 0,0 0-1 0 0,-1 1 0 0 0,1-1 1 0 0,-6-5-1 0 0</inkml:trace>
</inkml:ink>
</file>

<file path=ppt/ink/ink4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6.4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0 60 1176 0 0,'-2'-1'1108'0'0,"1"-1"-1002"0"0,-1 1-1 0 0,1 0 1 0 0,0 0-1 0 0,-1 0 1 0 0,1 0-1 0 0,-1 0 1 0 0,0 0-1 0 0,1 0 1 0 0,-1 0-1 0 0,0 1 1 0 0,0-1-1 0 0,1 1 1 0 0,-1-1-1 0 0,0 1 1 0 0,0 0-1 0 0,0 0 1 0 0,0 0-1 0 0,1 0 1 0 0,-1 0-1 0 0,0 0 1 0 0,0 0-1 0 0,0 0 1 0 0,0 1-1 0 0,1-1 1 0 0,-1 1-1 0 0,0-1 1 0 0,0 1-1 0 0,1 0 1 0 0,-1 0-1 0 0,1 0 1 0 0,-1 0 0 0 0,0 0-1 0 0,1 0 1 0 0,0 0-1 0 0,-1 0 1 0 0,1 1-1 0 0,0-1 1 0 0,-1 0-1 0 0,1 1 1 0 0,0-1-1 0 0,0 1 1 0 0,0 0-1 0 0,-1 1 1 0 0,1-1-25 0 0,0 1 1 0 0,0-1 0 0 0,0 0 0 0 0,1 0 0 0 0,-1 1-1 0 0,0-1 1 0 0,1 1 0 0 0,-1-1 0 0 0,1 0 0 0 0,0 1-1 0 0,0-1 1 0 0,0 1 0 0 0,0-1 0 0 0,0 1 0 0 0,1-1 0 0 0,-1 1-1 0 0,1-1 1 0 0,-1 0 0 0 0,1 1 0 0 0,0-1 0 0 0,0 0-1 0 0,0 0 1 0 0,0 1 0 0 0,1-1 0 0 0,-1 0 0 0 0,0 0-1 0 0,1 0 1 0 0,0-1 0 0 0,-1 1 0 0 0,1 0 0 0 0,0 0-1 0 0,0-1 1 0 0,0 1 0 0 0,0-1 0 0 0,2 2 0 0 0,6 3 76 0 0,-1-1 1 0 0,1 0 0 0 0,0 0 0 0 0,1-1 0 0 0,-1 0 0 0 0,13 3 0 0 0,-18-6-121 0 0,-1 0 1 0 0,1-1 0 0 0,0 1 0 0 0,0-1 0 0 0,0 0-1 0 0,0-1 1 0 0,0 1 0 0 0,0-1 0 0 0,0 0 0 0 0,-1 0-1 0 0,1 0 1 0 0,0-1 0 0 0,-1 1 0 0 0,1-1 0 0 0,-1 0 0 0 0,1-1-1 0 0,-1 1 1 0 0,0-1 0 0 0,0 0 0 0 0,0 0 0 0 0,0 0-1 0 0,-1 0 1 0 0,1-1 0 0 0,2-4 0 0 0,-3 5-32 0 0,-1 0 0 0 0,0 0 1 0 0,0 0-1 0 0,0 0 0 0 0,0 0 0 0 0,0-1 1 0 0,-1 1-1 0 0,0-1 0 0 0,0 1 0 0 0,0-1 1 0 0,0 0-1 0 0,0 1 0 0 0,0-1 1 0 0,-1 0-1 0 0,0 1 0 0 0,0-1 0 0 0,0 0 1 0 0,0 0-1 0 0,-1 1 0 0 0,1-1 0 0 0,-1 0 1 0 0,0 1-1 0 0,0-1 0 0 0,0 0 0 0 0,-1 1 1 0 0,1-1-1 0 0,-1 1 0 0 0,0 0 1 0 0,0 0-1 0 0,-4-6 0 0 0,3 6-86 0 0,0 0-1 0 0,0 1 1 0 0,0-1-1 0 0,0 1 1 0 0,0-1-1 0 0,0 1 1 0 0,-1 0 0 0 0,1 0-1 0 0,-1 1 1 0 0,1-1-1 0 0,-1 1 1 0 0,0 0-1 0 0,0-1 1 0 0,0 2-1 0 0,-5-2 1 0 0,2 1-655 0 0,0 1 0 0 0,0 0 0 0 0,0 0 0 0 0,0 1-1 0 0,0 0 1 0 0,0 0 0 0 0,0 1 0 0 0,-8 2 0 0 0,2 1-1163 0 0</inkml:trace>
</inkml:ink>
</file>

<file path=ppt/ink/ink4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6.7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23 1036 0 0,'6'0'311'0'0,"-1"1"0"0"0,1 0 0 0 0,-1 0 0 0 0,1 0 0 0 0,-1 1 0 0 0,1 0 0 0 0,-1 0 0 0 0,0 0 0 0 0,0 0 0 0 0,0 1 0 0 0,0 0 0 0 0,0 0 0 0 0,-1 1-1 0 0,1-1 1 0 0,-1 1 0 0 0,0 0 0 0 0,0 0 0 0 0,0 0 0 0 0,-1 0 0 0 0,0 1 0 0 0,1 0 0 0 0,4 9 0 0 0,3 10 416 0 0,0-1 0 0 0,-1 2 1 0 0,10 40-1 0 0,-16-51-502 0 0,3 13 1158 0 0,6 40-1 0 0,-13-66-1351 0 0,0-1 0 0 0,0 1 0 0 0,0 0-1 0 0,0-1 1 0 0,0 1 0 0 0,0-1 0 0 0,0 1-1 0 0,0-1 1 0 0,-1 1 0 0 0,1 0 0 0 0,0-1 0 0 0,0 1-1 0 0,-1-1 1 0 0,1 1 0 0 0,0-1 0 0 0,0 1-1 0 0,-1-1 1 0 0,1 0 0 0 0,0 1 0 0 0,-1-1-1 0 0,1 1 1 0 0,-1-1 0 0 0,1 0 0 0 0,-1 1 0 0 0,1-1-1 0 0,0 0 1 0 0,-1 1 0 0 0,0-1 0 0 0,1 0-1 0 0,-1 0 1 0 0,1 1 0 0 0,-1-1 0 0 0,1 0-1 0 0,-1 0 1 0 0,1 0 0 0 0,-1 0 0 0 0,1 0 0 0 0,-1 0-1 0 0,0 0 1 0 0,1 0 0 0 0,-1 0 0 0 0,1 0-1 0 0,-1 0 1 0 0,1 0 0 0 0,-1 0 0 0 0,1-1-1 0 0,-2 1 1 0 0,-22-7 441 0 0,19 3-442 0 0,1 0 0 0 0,-1 0-1 0 0,1 0 1 0 0,0 0 0 0 0,0-1 0 0 0,0 0-1 0 0,0 0 1 0 0,1 0 0 0 0,0 0 0 0 0,0 0-1 0 0,0-1 1 0 0,1 1 0 0 0,-2-7 0 0 0,-3-9-64 0 0,1 0 1 0 0,-4-28-1 0 0,7 26-133 0 0,0-2 0 0 0,2 1-1 0 0,1 0 1 0 0,0 0 0 0 0,2 0 0 0 0,1 0 0 0 0,0 0-1 0 0,2 0 1 0 0,1 1 0 0 0,1 0 0 0 0,1 0-1 0 0,1 0 1 0 0,1 1 0 0 0,0 0 0 0 0,2 1-1 0 0,1 1 1 0 0,16-22 0 0 0,-24 37-118 0 0,0 0 1 0 0,0 0-1 0 0,0 0 0 0 0,1 0 1 0 0,0 1-1 0 0,0 0 1 0 0,0 0-1 0 0,12-6 0 0 0,-17 10 188 0 0,0-1 0 0 0,0 1 1 0 0,0 0-1 0 0,0 0 0 0 0,1-1 0 0 0,-1 1 0 0 0,0 0 0 0 0,0 0 0 0 0,0 0 0 0 0,0 0 0 0 0,1 0 0 0 0,-1 0 0 0 0,0 0 1 0 0,2 1-1 0 0,0 0-212 0 0,-2-1 135 0 0,1 0 1 0 0,-1 1-1 0 0,0 0 0 0 0,0-1 0 0 0,0 1 1 0 0,0 0-1 0 0,1-1 0 0 0,-1 1 0 0 0,0 0 1 0 0,0 0-1 0 0,-1 0 0 0 0,1 0 0 0 0,0 0 1 0 0,0 0-1 0 0,0 0 0 0 0,-1 0 0 0 0,1 0 0 0 0,0 1 1 0 0,-1-1-1 0 0,1 0 0 0 0,-1 0 0 0 0,0 1 1 0 0,1-1-1 0 0,-1 0 0 0 0,0 3 0 0 0,1 12-1922 0 0</inkml:trace>
</inkml:ink>
</file>

<file path=ppt/ink/ink4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7.13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 293 580 0 0,'-7'9'3612'0'0,"49"-19"-3084"0"0,60-23-1 0 0,-45 13-530 0 0,126-48-611 0 0,-145 51 739 0 0,-1-2 0 0 0,59-39 0 0 0,-92 56-51 0 0,-1-1-1 0 0,1 0 1 0 0,-1 0 0 0 0,1 0-1 0 0,-1 0 1 0 0,0 0 0 0 0,-1-1-1 0 0,5-6 1 0 0,-6 8 371 0 0,-4 3-361 0 0,0 0 0 0 0,1-1 0 0 0,-1 1 0 0 0,0 0 0 0 0,1 0 0 0 0,-1 0-1 0 0,0 1 1 0 0,1-1 0 0 0,-1 1 0 0 0,1-1 0 0 0,0 1 0 0 0,0 0 0 0 0,-1 0 0 0 0,1 0 0 0 0,1 0 0 0 0,-1 0-1 0 0,0 0 1 0 0,-2 4 0 0 0,-2 3 180 0 0,1-1 0 0 0,0 1 0 0 0,1-1 0 0 0,-5 11 0 0 0,6-10-140 0 0,0-1 0 0 0,1 1 0 0 0,0 0 0 0 0,0 0 0 0 0,1 0 0 0 0,0 0 0 0 0,0 0 0 0 0,1 0 0 0 0,1 0 0 0 0,2 16 0 0 0,-2-18-82 0 0,1 0 0 0 0,0 0 0 0 0,1-1 0 0 0,0 1 0 0 0,0-1 0 0 0,0 0 0 0 0,1 0 0 0 0,0 0 0 0 0,0 0 0 0 0,0 0 0 0 0,1-1 0 0 0,0 0 1 0 0,0 0-1 0 0,8 6 0 0 0,-2-3-17 0 0,1-1 0 0 0,-1 0 1 0 0,1-1-1 0 0,0 0 0 0 0,0-1 0 0 0,1 0 1 0 0,0-1-1 0 0,0-1 0 0 0,20 4 1 0 0,-22-6-164 0 0,-1 1 1 0 0,0-2-1 0 0,1 1 1 0 0,-1-2-1 0 0,1 1 1 0 0,-1-1-1 0 0,0-1 0 0 0,1 0 1 0 0,-1-1-1 0 0,0 1 1 0 0,0-2-1 0 0,15-7 1 0 0,-18 7-146 0 0,0 0 1 0 0,-1-1 0 0 0,0 0-1 0 0,0-1 1 0 0,0 1-1 0 0,-1-1 1 0 0,1 0-1 0 0,-2-1 1 0 0,1 1-1 0 0,0-1 1 0 0,-1 0 0 0 0,-1 0-1 0 0,4-8 1 0 0,3-12-114 0 0,0 0 1 0 0,6-38-1 0 0,0 3 1793 0 0,-8 27-26 0 0,-7 26-871 0 0,1 0 0 0 0,1-1 0 0 0,0 1 0 0 0,5-13 0 0 0,-7 21-468 0 0,-1 1 0 0 0,0-1 0 0 0,0 1-1 0 0,1 0 1 0 0,-1-1 0 0 0,0 1 0 0 0,1 0-1 0 0,-1-1 1 0 0,1 1 0 0 0,-1 0 0 0 0,0-1-1 0 0,1 1 1 0 0,-1 0 0 0 0,1 0 0 0 0,-1-1-1 0 0,1 1 1 0 0,-1 0 0 0 0,1 0 0 0 0,-1 0-1 0 0,1 0 1 0 0,-1 0 0 0 0,1 0 0 0 0,-1 0 0 0 0,1 0-1 0 0,-1 0 1 0 0,1 0 0 0 0,-1 0 0 0 0,0 0-1 0 0,1 0 1 0 0,-1 0 0 0 0,1 0 0 0 0,-1 0-1 0 0,1 1 1 0 0,-1-1 0 0 0,1 0 0 0 0,-1 0-1 0 0,1 0 1 0 0,-1 1 0 0 0,1-1 0 0 0,14 14 641 0 0,13 24-91 0 0,-3 2 0 0 0,-1 0 0 0 0,33 79 0 0 0,-41-83-511 0 0,-2-4-923 0 0,1-1 0 0 0,1 0 0 0 0,27 38 1 0 0,-39-64 313 0 0,0-1 0 0 0,0 1 1 0 0,0-1-1 0 0,0 0 0 0 0,1 0 1 0 0,-1 0-1 0 0,1-1 0 0 0,0 0 0 0 0,1 0 1 0 0,5 3-1 0 0,5-2-1693 0 0</inkml:trace>
</inkml:ink>
</file>

<file path=ppt/ink/ink4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7.9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9 204 1036 0 0,'-1'-2'243'0'0,"0"0"0"0"0,-1 0 0 0 0,1 0 0 0 0,-1 0-1 0 0,1 0 1 0 0,-1 0 0 0 0,0 0 0 0 0,0 0 0 0 0,0 1 0 0 0,0-1-1 0 0,0 1 1 0 0,0-1 0 0 0,0 1 0 0 0,0 0 0 0 0,-1 0 0 0 0,1 0 0 0 0,-3-1-1 0 0,1 1-72 0 0,0 1 0 0 0,0-1 0 0 0,0 1 0 0 0,0 0-1 0 0,0 0 1 0 0,0 0 0 0 0,0 1 0 0 0,0-1 0 0 0,-7 3-1 0 0,-4 1 218 0 0,-1 1 0 0 0,1 0 0 0 0,1 1-1 0 0,-24 13 1 0 0,33-16-326 0 0,-1 1 1 0 0,1-1-1 0 0,0 1 0 0 0,0 0 0 0 0,1 0 0 0 0,-1 1 0 0 0,1 0 1 0 0,0-1-1 0 0,0 1 0 0 0,0 0 0 0 0,1 1 0 0 0,0-1 1 0 0,0 1-1 0 0,-3 8 0 0 0,5-13-54 0 0,1 1 0 0 0,0-1 0 0 0,0 0 0 0 0,0 1 0 0 0,0-1 0 0 0,-1 0 0 0 0,2 1 0 0 0,-1-1 0 0 0,0 0 0 0 0,0 1 0 0 0,0-1 0 0 0,1 0 0 0 0,-1 0 0 0 0,1 1 1 0 0,-1-1-1 0 0,1 0 0 0 0,-1 0 0 0 0,1 0 0 0 0,0 1 0 0 0,-1-1 0 0 0,1 0 0 0 0,0 0 0 0 0,0 0 0 0 0,0 0 0 0 0,0 0 0 0 0,0-1 0 0 0,0 1 0 0 0,0 0 0 0 0,0 0 0 0 0,0-1 0 0 0,0 1 0 0 0,1 0 0 0 0,-1-1 0 0 0,1 1 0 0 0,4 1 5 0 0,-1 0 0 0 0,0 0 0 0 0,1-1 0 0 0,-1 0 0 0 0,1 0-1 0 0,6 1 1 0 0,-4-2-93 0 0,-1 0-1 0 0,1-1 1 0 0,-1 1-1 0 0,1-1 1 0 0,-1-1-1 0 0,0 1 0 0 0,0-1 1 0 0,1-1-1 0 0,-1 1 1 0 0,-1-1-1 0 0,1-1 1 0 0,0 1-1 0 0,-1-1 1 0 0,8-5-1 0 0,-1-3-80 0 0,0 0 0 0 0,0 0-1 0 0,-1-1 1 0 0,18-25 0 0 0,-29 36 174 0 0,-1 2 15 0 0,0-1-1 0 0,0 1 1 0 0,0 0 0 0 0,0 0-1 0 0,0-1 1 0 0,1 1-1 0 0,-1 0 1 0 0,0 0 0 0 0,0 0-1 0 0,0-1 1 0 0,0 1 0 0 0,0 0-1 0 0,1 0 1 0 0,-1 0 0 0 0,0-1-1 0 0,0 1 1 0 0,0 0-1 0 0,0 0 1 0 0,1 0 0 0 0,-1 0-1 0 0,0 0 1 0 0,0 0 0 0 0,1-1-1 0 0,-1 1 1 0 0,0 0-1 0 0,0 0 1 0 0,0 0 0 0 0,1 0-1 0 0,-1 0 1 0 0,0 0 0 0 0,0 0-1 0 0,1 0 1 0 0,-1 5 78 0 0,1-1-1 0 0,-1 1 1 0 0,1-1 0 0 0,0 0 0 0 0,0 1-1 0 0,1-1 1 0 0,-1 0 0 0 0,1 0 0 0 0,0 0-1 0 0,0 0 1 0 0,0 0 0 0 0,1 0 0 0 0,-1 0 0 0 0,1-1-1 0 0,0 1 1 0 0,0-1 0 0 0,0 0 0 0 0,1 0-1 0 0,-1 0 1 0 0,1 0 0 0 0,-1 0 0 0 0,1-1-1 0 0,0 0 1 0 0,0 0 0 0 0,0 0 0 0 0,0 0-1 0 0,1-1 1 0 0,-1 1 0 0 0,0-1 0 0 0,8 1-1 0 0,-5-1-79 0 0,1 0 0 0 0,-1-1 0 0 0,1 0 0 0 0,-1 0 0 0 0,1 0-1 0 0,-1-1 1 0 0,1 0 0 0 0,-1-1 0 0 0,0 0 0 0 0,0 0-1 0 0,1 0 1 0 0,-1-1 0 0 0,-1 0 0 0 0,1 0 0 0 0,0-1 0 0 0,-1 0-1 0 0,0 0 1 0 0,0-1 0 0 0,0 1 0 0 0,0-1 0 0 0,-1-1-1 0 0,1 1 1 0 0,-2-1 0 0 0,1 0 0 0 0,0 0 0 0 0,3-8 0 0 0,-3 5-14 0 0,-1 0 1 0 0,-1 0 0 0 0,1 0 0 0 0,-2-1 0 0 0,1 1 0 0 0,1-14 0 0 0,-2-4 21 0 0,-1-28-1 0 0,-1 50-20 0 0,0 1-14 0 0,0 1-1 0 0,0 0 0 0 0,0 0 1 0 0,-1 0-1 0 0,0-1 0 0 0,1 1 1 0 0,-1 0-1 0 0,0 0 1 0 0,0 0-1 0 0,-1 0 0 0 0,1 0 1 0 0,-1 0-1 0 0,1 1 0 0 0,-1-1 1 0 0,0 0-1 0 0,-3-3 1 0 0,3 5-9 0 0,-4-1-18 0 0,6 2 28 0 0,0 0 0 0 0,-1 0 0 0 0,1-1 0 0 0,0 1 0 0 0,0 0 0 0 0,-1 0 0 0 0,1 0 0 0 0,0 0 1 0 0,0-1-1 0 0,-1 1 0 0 0,1 0 0 0 0,0 0 0 0 0,0 0 0 0 0,-1 0 0 0 0,1 0 0 0 0,0 0 0 0 0,-1 0 0 0 0,1 0 1 0 0,0 0-1 0 0,-1 0 0 0 0,1 0 0 0 0,0 0 0 0 0,-1 0 0 0 0,1 0 0 0 0,0 0 0 0 0,0 0 0 0 0,-1 0 0 0 0,1 0 1 0 0,0 0-1 0 0,-1 1 0 0 0,1-1 0 0 0,-2 2-1 0 0,1 0 1 0 0,-1 0 0 0 0,1 1-1 0 0,0-1 1 0 0,0 0-1 0 0,0 1 1 0 0,0-1-1 0 0,0 0 1 0 0,0 1-1 0 0,1-1 1 0 0,-1 1 0 0 0,1 0-1 0 0,0-1 1 0 0,-1 1-1 0 0,1-1 1 0 0,0 1-1 0 0,1-1 1 0 0,-1 1-1 0 0,0 0 1 0 0,1-1 0 0 0,0 1-1 0 0,0 2 1 0 0,4 12-15 0 0,1 0 1 0 0,9 18-1 0 0,-8-18 12 0 0,7 16 54 0 0,-5-12-57 0 0,0-1 0 0 0,-2 2 0 0 0,0-1 0 0 0,4 24-1 0 0,-10-39 41 0 0,-1 0-1 0 0,1 0 0 0 0,-1 0 0 0 0,0 0 1 0 0,0 1-1 0 0,-1-1 0 0 0,0 0 0 0 0,0 0 1 0 0,0 0-1 0 0,-1 0 0 0 0,0 0 0 0 0,0 0 1 0 0,0-1-1 0 0,-1 1 0 0 0,0 0 0 0 0,0-1 1 0 0,0 0-1 0 0,-1 0 0 0 0,-7 8 0 0 0,10-12-20 0 0,0 0 1 0 0,1 0-1 0 0,-1 0 0 0 0,0 0 0 0 0,0 0 0 0 0,0 0 1 0 0,0 0-1 0 0,0-1 0 0 0,-1 1 0 0 0,1 0 0 0 0,0-1 1 0 0,0 1-1 0 0,0-1 0 0 0,-1 1 0 0 0,1-1 1 0 0,0 0-1 0 0,0 1 0 0 0,-1-1 0 0 0,1 0 0 0 0,0 0 1 0 0,-1 0-1 0 0,-1 0 0 0 0,10-14-71 0 0,2 3-55 0 0,0 0-1 0 0,0 1 1 0 0,1 0 0 0 0,12-10 0 0 0,6-5-153 0 0,2-8 232 0 0,-1-1 0 0 0,-2-1 0 0 0,-1-1 0 0 0,-3-1 0 0 0,0-2 0 0 0,23-56 1 0 0,-45 93 42 0 0,11-18 68 0 0,-12 20-76 0 0,0 0 1 0 0,0-1-1 0 0,1 1 0 0 0,-1 0 0 0 0,0 0 1 0 0,1 0-1 0 0,-1-1 0 0 0,0 1 0 0 0,1 0 0 0 0,-1 0 1 0 0,0 0-1 0 0,1 0 0 0 0,-1 0 0 0 0,0-1 0 0 0,1 1 1 0 0,-1 0-1 0 0,0 0 0 0 0,1 0 0 0 0,-1 0 1 0 0,0 0-1 0 0,1 0 0 0 0,-1 0 0 0 0,0 0 0 0 0,1 0 1 0 0,-1 1-1 0 0,1-1 0 0 0,-1 0 0 0 0,0 0 0 0 0,1 0 1 0 0,-1 0-1 0 0,0 0 0 0 0,1 1 0 0 0,-1-1 1 0 0,0 0-1 0 0,0 0 0 0 0,1 0 0 0 0,-1 1 0 0 0,0-1 1 0 0,0 0-1 0 0,1 0 0 0 0,-1 1 0 0 0,0-1 0 0 0,0 0 1 0 0,0 1-1 0 0,1-1 0 0 0,-1 0 0 0 0,0 1 0 0 0,0-1 1 0 0,0 0-1 0 0,0 1 0 0 0,0-1 0 0 0,0 0 1 0 0,0 1-1 0 0,0-1 0 0 0,0 1 0 0 0,33 94 397 0 0,-16-40-128 0 0,-12-42-173 0 0,-1 0 0 0 0,-1 0 1 0 0,-1 0-1 0 0,1 0 1 0 0,-2 1-1 0 0,0 26 1 0 0,-1-32-120 0 0,-1 0 1 0 0,-1 1-1 0 0,0-1 1 0 0,0 0-1 0 0,0 0 1 0 0,-1 0-1 0 0,0-1 1 0 0,0 1-1 0 0,-1-1 1 0 0,0 1-1 0 0,-1-1 1 0 0,-6 8-1 0 0,-1 0-580 0 0,-2 0 0 0 0,1-1-1 0 0,-23 17 1 0 0,-23 8-4604 0 0,35-26 1264 0 0</inkml:trace>
</inkml:ink>
</file>

<file path=ppt/ink/ink4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8.4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13 2068 0 0,'-7'-13'5235'0'0,"12"39"-2862"0"0,-3-18-2306 0 0,42 185 2465 0 0,-22-87-3579 0 0,-14-34-4977 0 0,-8-58 3224 0 0</inkml:trace>
</inkml:ink>
</file>

<file path=ppt/ink/ink4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8.8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2 58 180 0 0,'-8'-12'1264'0'0,"0"5"-376"0"0,0-1 328 0 0,0-4-452 0 0,-2 3-344 0 0,16 0-2748 0 0</inkml:trace>
</inkml:ink>
</file>

<file path=ppt/ink/ink4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29.2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444 0 0,'27'42'2266'0'0,"-2"0"0"0"0,-2 1 0 0 0,19 50 0 0 0,-6-12-868 0 0,-15-32 1482 0 0,-9-71-2535 0 0,-4-10-320 0 0,24-58-1 0 0,-28 80-43 0 0,1 0-1 0 0,0 1 1 0 0,1-1-1 0 0,0 1 1 0 0,0 0-1 0 0,1 1 1 0 0,0 0-1 0 0,1 0 1 0 0,14-12-1 0 0,-20 18 16 0 0,1 1 0 0 0,-1-1 0 0 0,1 1-1 0 0,-1-1 1 0 0,1 1 0 0 0,0 0 0 0 0,0 0 0 0 0,0 0-1 0 0,0 0 1 0 0,0 1 0 0 0,-1-1 0 0 0,1 1-1 0 0,0 0 1 0 0,0 0 0 0 0,0 0 0 0 0,0 0-1 0 0,0 0 1 0 0,0 1 0 0 0,0-1 0 0 0,0 1 0 0 0,0 0-1 0 0,0 0 1 0 0,0 0 0 0 0,-1 0 0 0 0,1 0-1 0 0,0 1 1 0 0,-1-1 0 0 0,1 1 0 0 0,-1 0-1 0 0,1 0 1 0 0,-1 0 0 0 0,3 3 0 0 0,7 7-286 0 0,-1 0-1 0 0,-1 1 1 0 0,1 0 0 0 0,11 23-1 0 0,-15-25-243 0 0,-4-6 285 0 0,1 0-1 0 0,-1 0 1 0 0,1 0 0 0 0,0-1-1 0 0,1 1 1 0 0,-1-1 0 0 0,1 0-1 0 0,-1 0 1 0 0,1-1 0 0 0,1 0 0 0 0,-1 0-1 0 0,0 0 1 0 0,1 0 0 0 0,-1-1-1 0 0,1 1 1 0 0,0-2 0 0 0,10 3 0 0 0,-8-3-37 0 0,0 0 1 0 0,-1-1 0 0 0,1 0 0 0 0,0-1 0 0 0,-1 0 0 0 0,1 0-1 0 0,-1 0 1 0 0,1-1 0 0 0,-1 0 0 0 0,0-1 0 0 0,1 1 0 0 0,-1-1 0 0 0,12-8-1 0 0,-5 2 17 0 0,-1 0 0 0 0,0-1 0 0 0,-1-1 0 0 0,0 0-1 0 0,-1-1 1 0 0,0 0 0 0 0,17-24 0 0 0,-20 24 614 0 0,-1 0-1 0 0,-1 0 1 0 0,1 0 0 0 0,-2-1 0 0 0,7-22 0 0 0,-11 33-206 0 0,-1 0 1 0 0,0 0-1 0 0,0-1 0 0 0,1 1 1 0 0,-1 0-1 0 0,-1 0 1 0 0,1-1-1 0 0,0 1 0 0 0,0 0 1 0 0,-1 0-1 0 0,0-1 1 0 0,0-2-1 0 0,0 4-58 0 0,1 0-1 0 0,-1 0 1 0 0,1 0-1 0 0,-1 1 1 0 0,1-1-1 0 0,-1 0 1 0 0,0 0 0 0 0,1 1-1 0 0,-1-1 1 0 0,0 0-1 0 0,0 1 1 0 0,1-1-1 0 0,-1 0 1 0 0,0 1 0 0 0,0-1-1 0 0,0 1 1 0 0,0 0-1 0 0,0-1 1 0 0,0 1-1 0 0,0 0 1 0 0,0-1 0 0 0,0 1-1 0 0,0 0 1 0 0,0 0-1 0 0,0 0 1 0 0,0 0-1 0 0,0 0 1 0 0,0 0 0 0 0,0 0-1 0 0,0 0 1 0 0,0 0-1 0 0,1 1 1 0 0,-3 0-1 0 0,-4 1 80 0 0,1 0 0 0 0,0 1-1 0 0,0-1 1 0 0,0 1 0 0 0,0 1-1 0 0,1-1 1 0 0,-1 1 0 0 0,1 0-1 0 0,0 1 1 0 0,0-1 0 0 0,0 1-1 0 0,1 0 1 0 0,-1 0 0 0 0,-3 7-1 0 0,5-8-129 0 0,1-1 0 0 0,1 1 0 0 0,-1-1 0 0 0,0 1 0 0 0,1 0 1 0 0,0-1-1 0 0,0 1 0 0 0,0 0 0 0 0,0 0 0 0 0,0 0 0 0 0,1 0 0 0 0,0 0 0 0 0,0 0 0 0 0,0 0 0 0 0,0 0 0 0 0,1 0 0 0 0,-1 0 0 0 0,1 0 0 0 0,0 0 0 0 0,0 0 0 0 0,1-1 0 0 0,-1 1 0 0 0,1 0 0 0 0,0-1 0 0 0,0 1 0 0 0,3 3 0 0 0,-1-1-74 0 0,1 0 0 0 0,1 0-1 0 0,-1-1 1 0 0,1 0 0 0 0,-1 0 0 0 0,2 0-1 0 0,-1-1 1 0 0,0 0 0 0 0,1 0 0 0 0,0-1-1 0 0,0 0 1 0 0,0 0 0 0 0,0 0 0 0 0,0-1-1 0 0,10 2 1 0 0,-10-3-358 0 0,0 0-1 0 0,0 0 1 0 0,0 0 0 0 0,1-1-1 0 0,-1 0 1 0 0,0-1-1 0 0,0 1 1 0 0,0-2 0 0 0,0 1-1 0 0,0-1 1 0 0,0 0-1 0 0,0 0 1 0 0,0 0 0 0 0,-1-1-1 0 0,1 0 1 0 0,7-6-1 0 0,4-3-1697 0 0</inkml:trace>
</inkml:ink>
</file>

<file path=ppt/ink/ink4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3:30.6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87 32 0 0,'6'-9'854'0'0,"-5"6"-669"0"0,0 0 0 0 0,1 1-1 0 0,-1-1 1 0 0,1 1 0 0 0,-1 0 0 0 0,1-1 0 0 0,0 1-1 0 0,0 0 1 0 0,0 0 0 0 0,0 0 0 0 0,1 1-1 0 0,-1-1 1 0 0,0 0 0 0 0,1 1 0 0 0,2-2-1 0 0,-2 2-70 0 0,-1 1 0 0 0,0-1 0 0 0,1 1 0 0 0,-1 0 0 0 0,0-1 0 0 0,1 1 0 0 0,-1 0 0 0 0,0 1 0 0 0,1-1 0 0 0,-1 0 0 0 0,0 1 0 0 0,1-1 0 0 0,-1 1 0 0 0,0 0 0 0 0,0-1-1 0 0,0 1 1 0 0,1 0 0 0 0,-1 1 0 0 0,0-1 0 0 0,3 2 0 0 0,-2 1 24 0 0,0-1 0 0 0,0 0 0 0 0,0 1 0 0 0,0-1 0 0 0,0 1 0 0 0,-1 0 0 0 0,0 0 0 0 0,0 0 0 0 0,0 0 1 0 0,2 6-1 0 0,-1 1 42 0 0,0-1 1 0 0,0 1 0 0 0,-1 0 0 0 0,-1 0 0 0 0,0 0-1 0 0,0 0 1 0 0,-1 0 0 0 0,-2 19 0 0 0,0-22-46 0 0,1 0 1 0 0,-1 0 0 0 0,-1 0-1 0 0,0 0 1 0 0,0-1 0 0 0,0 1-1 0 0,-1-1 1 0 0,0 0-1 0 0,0 0 1 0 0,-1 0 0 0 0,-7 8-1 0 0,10-13 157 0 0,6-18-190 0 0,0 9-106 0 0,-1 1 0 0 0,1 0-1 0 0,0 0 1 0 0,0 0-1 0 0,1 0 1 0 0,0 1-1 0 0,0 0 1 0 0,7-6 0 0 0,6-7-50 0 0,125-115-207 0 0,-100 96 244 0 0,-1-2 0 0 0,52-62 0 0 0,-85 91 121 0 0,-1-1 1 0 0,0 0-1 0 0,-1-1 0 0 0,0 0 0 0 0,-1 0 1 0 0,8-22-1 0 0,-13 33-99 0 0,-1 1 0 0 0,0-1 0 0 0,0 0 0 0 0,0 0 0 0 0,0 0 0 0 0,0 0 0 0 0,0 1 0 0 0,0-1 0 0 0,0 0 0 0 0,0 0 0 0 0,0 0 0 0 0,0 0 0 0 0,0 1 0 0 0,0-1 0 0 0,-1 0 0 0 0,1 0 1 0 0,0 0-1 0 0,-1 1 0 0 0,1-1 0 0 0,-1 0 0 0 0,1 0 0 0 0,-1 1 0 0 0,1-1 0 0 0,-1 0 0 0 0,1 1 0 0 0,-1-1 0 0 0,0 1 0 0 0,1-1 0 0 0,-1 1 0 0 0,0-1 0 0 0,1 1 0 0 0,-1-1 0 0 0,0 1 0 0 0,0 0 0 0 0,1-1 0 0 0,-1 1 0 0 0,0 0 0 0 0,0 0 0 0 0,0 0 0 0 0,0-1 0 0 0,-2 1 6 0 0,0-1 0 0 0,-1 1 0 0 0,1 0-1 0 0,0-1 1 0 0,0 2 0 0 0,0-1 0 0 0,0 0 0 0 0,-5 1-1 0 0,-1 3 37 0 0,0-1 0 0 0,0 1 0 0 0,0 1 0 0 0,1-1 0 0 0,0 1 0 0 0,0 1 0 0 0,0 0 0 0 0,0 0 0 0 0,1 0 0 0 0,0 1 0 0 0,0 0 0 0 0,1 1 0 0 0,0-1 0 0 0,0 1 0 0 0,1 0 0 0 0,0 1 0 0 0,-5 12 0 0 0,7-16-20 0 0,1 0 1 0 0,0 1-1 0 0,1-1 0 0 0,-1 0 0 0 0,1 1 0 0 0,0-1 0 0 0,1 1 0 0 0,-1 0 0 0 0,1-1 0 0 0,0 1 0 0 0,1-1 0 0 0,-1 1 0 0 0,1 0 0 0 0,0-1 0 0 0,0 1 1 0 0,1-1-1 0 0,0 0 0 0 0,0 1 0 0 0,0-1 0 0 0,0 0 0 0 0,1 0 0 0 0,0-1 0 0 0,0 1 0 0 0,0 0 0 0 0,1-1 0 0 0,0 0 0 0 0,-1 0 0 0 0,1 0 0 0 0,1 0 0 0 0,-1 0 1 0 0,6 3-1 0 0,2 0-18 0 0,1 0 0 0 0,-1-1 0 0 0,1 0 0 0 0,0-1 0 0 0,0-1 1 0 0,1 0-1 0 0,0-1 0 0 0,-1 0 0 0 0,1-1 0 0 0,0 0 1 0 0,0-1-1 0 0,0-1 0 0 0,0 0 0 0 0,0-1 0 0 0,0-1 0 0 0,0 0 1 0 0,14-4-1 0 0,-7 1-28 0 0,0-1 1 0 0,-1-1-1 0 0,0-1 0 0 0,0-1 1 0 0,-1 0-1 0 0,0-1 1 0 0,-1-1-1 0 0,0-1 0 0 0,-1-1 1 0 0,24-22-1 0 0,-28 22 29 0 0,-1-1 0 0 0,0 0-1 0 0,18-28 1 0 0,-26 35-18 0 0,-1 0 0 0 0,1 0 1 0 0,-1 0-1 0 0,0 0 0 0 0,-1-1 0 0 0,1 1 0 0 0,-2-1 0 0 0,1 0 0 0 0,-1 1 1 0 0,0-1-1 0 0,0-11 0 0 0,-1 16 1 0 0,-1 1 0 0 0,1 0 0 0 0,0-1 1 0 0,-1 1-1 0 0,1-1 0 0 0,-1 1 0 0 0,0 0 0 0 0,0 0 1 0 0,0-1-1 0 0,0 1 0 0 0,0 0 0 0 0,0 0 0 0 0,0 0 0 0 0,-1 0 1 0 0,1 0-1 0 0,-1 0 0 0 0,0 1 0 0 0,1-1 0 0 0,-4-2 0 0 0,2 2 4 0 0,0 0-1 0 0,0 1 0 0 0,-1-1 0 0 0,1 1 0 0 0,-1 0 0 0 0,1 0 0 0 0,-1 0 1 0 0,1 0-1 0 0,-1 1 0 0 0,0-1 0 0 0,-6 1 0 0 0,1 0 1 0 0,0 1 0 0 0,0 0 0 0 0,-1 1-1 0 0,1 0 1 0 0,0 0 0 0 0,1 1 0 0 0,-1 0 0 0 0,0 0-1 0 0,-11 7 1 0 0,15-7-8 0 0,0 0-1 0 0,-1 0 1 0 0,1 0 0 0 0,0 1-1 0 0,1 0 1 0 0,-1 0-1 0 0,1 0 1 0 0,0 1 0 0 0,0 0-1 0 0,0-1 1 0 0,0 1-1 0 0,1 1 1 0 0,0-1 0 0 0,0 0-1 0 0,0 1 1 0 0,1-1-1 0 0,-3 9 1 0 0,5-14-4 0 0,0 1 0 0 0,0 0 0 0 0,0-1 0 0 0,0 1 1 0 0,0-1-1 0 0,0 1 0 0 0,0-1 0 0 0,0 1 0 0 0,1 0 0 0 0,-1-1 0 0 0,0 1 1 0 0,0-1-1 0 0,0 1 0 0 0,1-1 0 0 0,-1 1 0 0 0,0-1 0 0 0,1 1 1 0 0,-1-1-1 0 0,0 1 0 0 0,1-1 0 0 0,-1 1 0 0 0,0-1 0 0 0,1 1 0 0 0,-1-1 1 0 0,1 0-1 0 0,-1 1 0 0 0,1-1 0 0 0,-1 0 0 0 0,1 0 0 0 0,-1 1 0 0 0,1-1 1 0 0,0 0-1 0 0,-1 0 0 0 0,1 0 0 0 0,-1 1 0 0 0,2-1 0 0 0,-1 0-27 0 0,0 0 1 0 0,1 0-1 0 0,-1 0 0 0 0,0 0 0 0 0,1 0 0 0 0,-1 0 0 0 0,0 0 0 0 0,0 0 0 0 0,1 0 1 0 0,-1-1-1 0 0,0 1 0 0 0,1-1 0 0 0,-1 1 0 0 0,0-1 0 0 0,0 1 0 0 0,2-2 0 0 0,50-37-564 0 0,-52 38 590 0 0,0 0-1 0 0,0 0 1 0 0,0 0-1 0 0,0 0 1 0 0,1 0-1 0 0,-1 1 1 0 0,0-1-1 0 0,0 0 1 0 0,1 1-1 0 0,-1-1 1 0 0,1 1-1 0 0,-1-1 1 0 0,1 1-1 0 0,-1 0 1 0 0,0 0-1 0 0,1-1 1 0 0,-1 1-1 0 0,1 0 1 0 0,-1 0-1 0 0,1 0 1 0 0,1 1-1 0 0,-1 0 31 0 0,-1 1 0 0 0,0-1 0 0 0,1 1-1 0 0,-1-1 1 0 0,0 1 0 0 0,0 0-1 0 0,0-1 1 0 0,0 1 0 0 0,0 0 0 0 0,0 0-1 0 0,-1-1 1 0 0,2 5 0 0 0,2 4 70 0 0,1 4 131 0 0,2 0 0 0 0,0-1 0 0 0,10 15 1 0 0,-14-23-138 0 0,0-1 0 0 0,1 0 0 0 0,-1 1 1 0 0,1-1-1 0 0,0-1 0 0 0,0 1 0 0 0,1-1 0 0 0,-1 1 1 0 0,1-1-1 0 0,-1 0 0 0 0,10 4 0 0 0,-9-6-48 0 0,0-1-1 0 0,0 1 0 0 0,0-1 1 0 0,0 0-1 0 0,0 0 1 0 0,0 0-1 0 0,0-1 1 0 0,0 1-1 0 0,0-1 0 0 0,0-1 1 0 0,0 1-1 0 0,-1-1 1 0 0,1 1-1 0 0,0-1 0 0 0,7-5 1 0 0,-3 1 4 0 0,-1 0 0 0 0,1 0 0 0 0,-1-1 0 0 0,-1-1 0 0 0,1 1 0 0 0,9-14-1 0 0,34-56 76 0 0,-3 4-235 0 0,-46 70 116 0 0,0 0 0 0 0,1 1 0 0 0,-1-1 0 0 0,1 1 0 0 0,0-1 0 0 0,0 1 0 0 0,-1 0 0 0 0,2 0 0 0 0,-1 0 0 0 0,0 1 0 0 0,0-1 0 0 0,0 1 0 0 0,7-2 0 0 0,-9 2 16 0 0,1 1-1 0 0,0 0 0 0 0,-1 0 1 0 0,1 0-1 0 0,0 0 0 0 0,-1 0 1 0 0,1 0-1 0 0,0 0 0 0 0,-1 1 1 0 0,1-1-1 0 0,0 0 0 0 0,-1 1 0 0 0,1 0 1 0 0,-1-1-1 0 0,1 1 0 0 0,-1 0 1 0 0,1 0-1 0 0,-1 0 0 0 0,1 0 1 0 0,-1 0-1 0 0,0 0 0 0 0,0 0 1 0 0,1 0-1 0 0,-1 0 0 0 0,0 1 1 0 0,0-1-1 0 0,0 0 0 0 0,0 1 1 0 0,1 1-1 0 0,1 3 3 0 0,0 0 0 0 0,-1 0 0 0 0,1 0 0 0 0,-1 0 0 0 0,0 0 0 0 0,-1 0 0 0 0,0 0 0 0 0,0 1 0 0 0,0-1 0 0 0,0 0 0 0 0,-1 1 0 0 0,-1 11 1 0 0,-2-3 48 0 0,0-1 0 0 0,-1 0 0 0 0,-1 0 0 0 0,0 0 0 0 0,-10 19 0 0 0,14-31-36 0 0,2-3-137 0 0,-1-1 103 0 0,1 0-1 0 0,0 1 0 0 0,-1-1 1 0 0,1 0-1 0 0,0 1 0 0 0,0-1 1 0 0,0 1-1 0 0,1 0 1 0 0,-1-1-1 0 0,0 1 0 0 0,3-2 1 0 0,3-5-22 0 0,8-12-54 0 0,-2-1 0 0 0,0 0 0 0 0,-1-1 0 0 0,-1 0 0 0 0,-1-1 0 0 0,-1 0 0 0 0,-1-1 0 0 0,-2 0 0 0 0,0 0 0 0 0,-1 0 0 0 0,-1-1 0 0 0,0-26 0 0 0,-4 49 88 0 0,0 0 1 0 0,0 0 0 0 0,0-1 0 0 0,0 1-1 0 0,0 0 1 0 0,-1 0 0 0 0,1 0 0 0 0,-1 0 0 0 0,0 0-1 0 0,-1-4 1 0 0,1 5 2 0 0,1 1 0 0 0,0-1 0 0 0,-1 1 0 0 0,1 0-1 0 0,-1-1 1 0 0,1 1 0 0 0,-1 0 0 0 0,0-1 0 0 0,1 1 0 0 0,-1 0 0 0 0,1-1 0 0 0,-1 1 0 0 0,0 0-1 0 0,1 0 1 0 0,-1 0 0 0 0,1 0 0 0 0,-1 0 0 0 0,0 0 0 0 0,1 0 0 0 0,-1 0 0 0 0,0 0-1 0 0,1 0 1 0 0,-1 0 0 0 0,1 0 0 0 0,-1 0 0 0 0,0 0 0 0 0,1 0 0 0 0,-1 1 0 0 0,0-1 0 0 0,0 1 5 0 0,1-1 1 0 0,-1 0 0 0 0,0 1 0 0 0,1-1 0 0 0,-1 1 0 0 0,1 0 0 0 0,-1-1 0 0 0,0 1-1 0 0,1-1 1 0 0,0 1 0 0 0,-1 0 0 0 0,1-1 0 0 0,-1 1 0 0 0,1 0 0 0 0,0 0 0 0 0,-1-1-1 0 0,1 1 1 0 0,0 0 0 0 0,0 0 0 0 0,0 0 0 0 0,0-1 0 0 0,-1 1 0 0 0,1 1 0 0 0,1 18 152 0 0,-1-20-153 0 0,0 5 30 0 0,1 0 0 0 0,0-1 0 0 0,0 1 0 0 0,1 0 0 0 0,-1-1-1 0 0,1 1 1 0 0,0-1 0 0 0,0 0 0 0 0,1 0 0 0 0,-1 0 0 0 0,1 0 0 0 0,0 0 0 0 0,0 0-1 0 0,0-1 1 0 0,1 1 0 0 0,-1-1 0 0 0,1 0 0 0 0,0 0 0 0 0,4 3 0 0 0,2-1 26 0 0,-1 1 1 0 0,1-1 0 0 0,1-1 0 0 0,-1 0-1 0 0,1 0 1 0 0,19 3 0 0 0,-26-6-55 0 0,1 0 0 0 0,-1-1 0 0 0,0 0 1 0 0,1 0-1 0 0,-1 0 0 0 0,0 0 0 0 0,1-1 1 0 0,-1 1-1 0 0,6-3 0 0 0,-4 2-1 0 0,1-1-34 0 0,0-1 1 0 0,-1 1 0 0 0,1-1 0 0 0,-1-1-1 0 0,1 1 1 0 0,-1-1 0 0 0,0 0-1 0 0,0 0 1 0 0,-1-1 0 0 0,1 0 0 0 0,-1 0-1 0 0,5-5 1 0 0,7-11 28 0 0,26-42 0 0 0,-28 41 262 0 0,-13 19-269 0 0,-1 1 0 0 0,1-1 0 0 0,0 1-1 0 0,0 0 1 0 0,0 0 0 0 0,0-1 0 0 0,1 2 0 0 0,3-4-1 0 0,-6 5 5 0 0,0 0-1 0 0,0 0 1 0 0,0 0-1 0 0,1 0 0 0 0,-1-1 1 0 0,0 1-1 0 0,0 0 1 0 0,0 0-1 0 0,1 0 1 0 0,-1 0-1 0 0,0 0 0 0 0,0 0 1 0 0,1 0-1 0 0,-1 0 1 0 0,0 0-1 0 0,0 0 0 0 0,1 0 1 0 0,-1 0-1 0 0,0 1 1 0 0,0-1-1 0 0,0 0 1 0 0,1 0-1 0 0,-1 0 0 0 0,0 0 1 0 0,0 0-1 0 0,0 0 1 0 0,1 0-1 0 0,-1 1 0 0 0,0-1 1 0 0,0 0-1 0 0,0 0 1 0 0,0 0-1 0 0,1 0 1 0 0,-1 1-1 0 0,0-1 0 0 0,0 0 1 0 0,0 0-1 0 0,0 0 1 0 0,0 1-1 0 0,2 21 122 0 0,-6 44 91 0 0,-1 21-64 0 0,-2-39 103 0 0,7-46-171 0 0,0-2-79 0 0,-2-2 10 0 0,2-18-38 0 0,0 12 9 0 0,2-3 3 0 0,-1 0 0 0 0,0 0 0 0 0,-1 0 0 0 0,0 0-1 0 0,-1 0 1 0 0,0 0 0 0 0,-1 0 0 0 0,0 0 0 0 0,0 1 0 0 0,-6-15 0 0 0,-33-55-203 0 0,33 72 104 0 0,4 14 43 0 0,3 12 46 0 0,21 45 70 0 0,-13-42-49 0 0,10 40-1 0 0,-16-53 4 0 0,0-1 0 0 0,0 1 0 0 0,-1 0 0 0 0,0-1 1 0 0,0 1-1 0 0,-1 0 0 0 0,0 0 0 0 0,0-1 0 0 0,-3 9 0 0 0,0-6-21 0 0,0 0 0 0 0,-1 0-1 0 0,1-1 1 0 0,-2 1 0 0 0,1-1 0 0 0,-1-1 0 0 0,-1 1-1 0 0,0-1 1 0 0,0 0 0 0 0,-16 13 0 0 0,12-11-1479 0 0,-1-2 0 0 0,0 0 1 0 0,0 0-1 0 0,-19 8 1 0 0,13-9-2903 0 0</inkml:trace>
</inkml:ink>
</file>

<file path=ppt/ink/ink4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1.0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8 105 68 0 0,'-7'-9'3150'0'0,"-49"-76"5619"0"0,55 84-8517 0 0,-1-5 6 0 0,2 5-251 0 0,0 1 1 0 0,0 0-1 0 0,0 0 0 0 0,0 0 0 0 0,0 0 0 0 0,0 0 1 0 0,0 0-1 0 0,0 0 0 0 0,0 0 0 0 0,0 0 0 0 0,0-1 1 0 0,0 1-1 0 0,0 0 0 0 0,0 0 0 0 0,0 0 0 0 0,0 0 0 0 0,-1 0 1 0 0,1 0-1 0 0,0 0 0 0 0,0 0 0 0 0,0 0 0 0 0,0-1 1 0 0,0 1-1 0 0,0 0 0 0 0,0 0 0 0 0,0 0 0 0 0,0 0 1 0 0,0 0-1 0 0,0 0 0 0 0,0 0 0 0 0,0 0 0 0 0,-1 0 1 0 0,1 0-1 0 0,0 0 0 0 0,0 0 0 0 0,0 0 0 0 0,0 0 1 0 0,0 0-1 0 0,0 0 0 0 0,0 0 0 0 0,0 0 0 0 0,-1 0 1 0 0,1 0-1 0 0,0 0 0 0 0,0 0 0 0 0,0 0 0 0 0,0 0 0 0 0,0 0 1 0 0,0 0-1 0 0,0 0 0 0 0,0 0 0 0 0,-1 0 0 0 0,1 0 1 0 0,0 0-1 0 0,0 0 0 0 0,0 0 0 0 0,0 0 0 0 0,0 0 1 0 0,0 0-1 0 0,0 0 0 0 0,0 0 0 0 0,0 0 0 0 0,0 1 1 0 0,0-1-1 0 0,0 0 0 0 0,-1 0 0 0 0,-1 14 178 0 0,0 0 0 0 0,1 1 0 0 0,1-1 0 0 0,0 1 0 0 0,0-1 0 0 0,5 21 0 0 0,-2 1 81 0 0,22 318 1391 0 0,-22-307-1268 0 0,-3-45-273 0 0,-3-13-743 0 0,-7-42-685 0 0,-5-78-1 0 0,6 35 747 0 0,8 89 522 0 0,1 1 1 0 0,0-1-1 0 0,0 1 1 0 0,1-1-1 0 0,2-10 0 0 0,11 22 242 0 0,1 1 0 0 0,16 9-1 0 0,-16-8-53 0 0,-1 0 0 0 0,2-1-1 0 0,20 6 1 0 0,-25-9-105 0 0,0-1 1 0 0,0-1-1 0 0,1 0 1 0 0,-1 0-1 0 0,0-1 0 0 0,0 0 1 0 0,1-1-1 0 0,-1-1 1 0 0,14-3-1 0 0,-17 3-28 0 0,-1-1-1 0 0,1 0 1 0 0,-1 0-1 0 0,0-1 1 0 0,0 1-1 0 0,0-2 1 0 0,0 1-1 0 0,-1-1 1 0 0,0 0-1 0 0,0 0 1 0 0,0-1-1 0 0,-1 0 1 0 0,10-12-1 0 0,43-79 2624 0 0,-57 96-2333 0 0,1 3 17 0 0,0 4-133 0 0,1 1 0 0 0,-1 0-1 0 0,-1 0 1 0 0,1 0 0 0 0,-1 0 0 0 0,0 0-1 0 0,-1 0 1 0 0,1 0 0 0 0,-2 12-1 0 0,1 21 227 0 0,6 33 14 0 0,15 114-2057 0 0,-19-176 960 0 0,-2-3-167 0 0,1-1 1 0 0,1 1-1 0 0,0 0 1 0 0,0-1-1 0 0,0 1 0 0 0,1-1 1 0 0,5 10-1 0 0</inkml:trace>
</inkml:ink>
</file>

<file path=ppt/ink/ink4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1.3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5 1624 0 0,'1'-1'276'0'0,"19"-18"4072"0"0,-19 19-4258 0 0,-1-1 1 0 0,1 1 0 0 0,-1-1 0 0 0,0 1 0 0 0,1 0-1 0 0,-1-1 1 0 0,1 1 0 0 0,-1 0 0 0 0,1 0 0 0 0,0-1-1 0 0,-1 1 1 0 0,1 0 0 0 0,-1 0 0 0 0,1 0 0 0 0,-1 0-1 0 0,1-1 1 0 0,-1 1 0 0 0,1 0 0 0 0,0 0 0 0 0,-1 0-1 0 0,1 0 1 0 0,-1 0 0 0 0,1 1 0 0 0,0-1 0 0 0,-1 0 0 0 0,1 0-1 0 0,-1 0 1 0 0,1 0 0 0 0,-1 1 0 0 0,1-1 0 0 0,-1 0-1 0 0,1 1 1 0 0,-1-1 0 0 0,1 0 0 0 0,-1 1 0 0 0,1-1-1 0 0,-1 0 1 0 0,1 1 0 0 0,-1-1 0 0 0,0 1 0 0 0,1-1-1 0 0,-1 1 1 0 0,1 0 0 0 0,6 15 885 0 0,-1 0 0 0 0,-1 1 0 0 0,0 0 0 0 0,4 27 0 0 0,4 73 348 0 0,-12-110-1249 0 0,0 104-2468 0 0,-2-63-4695 0 0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08.6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496 0 0,'0'0'2012'0'0,"17"10"936"0"0,-4-2-647 0 0,-5-3-161 0 0,5 3-1140 0 0,2-2-1212 0 0</inkml:trace>
</inkml:ink>
</file>

<file path=ppt/ink/ink4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1.7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6 1848 0 0,'8'-12'7748'0'0,"-3"13"-7522"0"0,-1 0 0 0 0,0 0 0 0 0,0 1 0 0 0,0 0-1 0 0,0 0 1 0 0,0 0 0 0 0,0 0 0 0 0,-1 1 0 0 0,5 3 0 0 0,37 35 1374 0 0,-11-10-832 0 0,25 18 18 0 0,109 86 579 0 0,-142-115-1106 0 0,-12-8 956 0 0,1-1-1 0 0,22 13 1 0 0,-35-23-618 0 0,15-2 431 0 0,-16 0-982 0 0,-1 1 0 0 0,1-1 1 0 0,0 1-1 0 0,-1-1 0 0 0,1 1 0 0 0,0-1 0 0 0,-1 0 0 0 0,1 1 1 0 0,-1-1-1 0 0,1 0 0 0 0,-1 1 0 0 0,1-1 0 0 0,-1 0 0 0 0,0 0 1 0 0,1 0-1 0 0,-1 1 0 0 0,0-1 0 0 0,1 0 0 0 0,-1 0 0 0 0,0 0 1 0 0,0 0-1 0 0,0 1 0 0 0,0-1 0 0 0,0 0 0 0 0,0 0 0 0 0,0-1 1 0 0,0-1 173 0 0,2-11 43 0 0,-1 0 1 0 0,-1 0-1 0 0,0 0 1 0 0,-1 0-1 0 0,-2-14 1 0 0,-17-71 19 0 0,12 66-174 0 0,-11-50-1234 0 0,7 32-7206 0 0</inkml:trace>
</inkml:ink>
</file>

<file path=ppt/ink/ink4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2.0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4 704 0 0,'4'-1'321'0'0,"-1"1"0"0"0,1-1 0 0 0,0 1 0 0 0,-1 0 0 0 0,1 0-1 0 0,0 0 1 0 0,-1 1 0 0 0,1-1 0 0 0,-1 1 0 0 0,1 0 0 0 0,-1 0 0 0 0,1 0 0 0 0,-1 1 0 0 0,1-1 0 0 0,-1 1-1 0 0,0-1 1 0 0,0 1 0 0 0,0 0 0 0 0,0 1 0 0 0,0-1 0 0 0,-1 0 0 0 0,1 1 0 0 0,0 0 0 0 0,-1-1 0 0 0,0 1-1 0 0,0 0 1 0 0,0 0 0 0 0,0 0 0 0 0,0 0 0 0 0,-1 1 0 0 0,1-1 0 0 0,1 6 0 0 0,5 14 507 0 0,-2 1 0 0 0,0-1 1 0 0,-2 1-1 0 0,3 48 1 0 0,-4-44-424 0 0,5 119 1297 0 0,-11-134-1212 0 0,-4-17-151 0 0,-5-19-169 0 0,4-2-130 0 0,1 0 0 0 0,1-1 0 0 0,1 1 0 0 0,2-1 0 0 0,0-1 1 0 0,2 1-1 0 0,2-29 0 0 0,0 37-85 0 0,1 0 0 0 0,1 1-1 0 0,0-1 1 0 0,1 0 0 0 0,2 1 0 0 0,-1 0-1 0 0,2 0 1 0 0,0 0 0 0 0,1 1 0 0 0,1 0 0 0 0,13-18-1 0 0,-22 34 41 0 0,2-3-173 0 0,0 0 0 0 0,0 0 0 0 0,0 0 0 0 0,1 0 0 0 0,-1 0-1 0 0,1 1 1 0 0,0-1 0 0 0,-1 1 0 0 0,1 0 0 0 0,0 0-1 0 0,1 0 1 0 0,-1 0 0 0 0,0 0 0 0 0,1 1 0 0 0,-1-1 0 0 0,1 1-1 0 0,-1 0 1 0 0,5-1 0 0 0,-4 2-77 0 0,-1 1 0 0 0,0-1 0 0 0,1 0-1 0 0,-1 1 1 0 0,1 0 0 0 0,-1 0 0 0 0,0 0 0 0 0,0 0 0 0 0,0 0-1 0 0,0 1 1 0 0,3 1 0 0 0,-3-1-344 0 0,0 0 0 0 0,-1 0-1 0 0,0 0 1 0 0,1 0 0 0 0,-1 1-1 0 0,0-1 1 0 0,0 0 0 0 0,3 6 0 0 0,1 6-3472 0 0</inkml:trace>
  <inkml:trace contextRef="#ctx0" brushRef="#br0" timeOffset="1">94 557 2272 0 0,'-30'25'10905'0'0,"34"-26"-10603"0"0,60-16-13 0 0,45-12-2993 0 0,-77 19-790 0 0,43-20 1 0 0,-57 21 1820 0 0</inkml:trace>
</inkml:ink>
</file>

<file path=ppt/ink/ink4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2.4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9 129 1296 0 0,'5'-11'1286'0'0,"0"0"1"0"0,-1 0-1 0 0,4-15 1 0 0,-7 21-890 0 0,0-1 1 0 0,-1 1-1 0 0,1 0 1 0 0,-1 0 0 0 0,0 0-1 0 0,0 0 1 0 0,0 0-1 0 0,-1-1 1 0 0,-2-8 0 0 0,2 13-383 0 0,1 1 0 0 0,-1-1 0 0 0,1 0 0 0 0,-1 1 1 0 0,1-1-1 0 0,-1 1 0 0 0,0-1 0 0 0,1 1 0 0 0,-1-1 0 0 0,0 1 1 0 0,1-1-1 0 0,-1 1 0 0 0,0 0 0 0 0,0 0 0 0 0,1-1 1 0 0,-1 1-1 0 0,0 0 0 0 0,0 0 0 0 0,0 0 0 0 0,0-1 0 0 0,1 1 1 0 0,-1 0-1 0 0,0 0 0 0 0,0 1 0 0 0,0-1 0 0 0,1 0 1 0 0,-1 0-1 0 0,0 0 0 0 0,0 0 0 0 0,0 1 0 0 0,-1 0 0 0 0,-26 9 132 0 0,27-10-148 0 0,-4 3 11 0 0,0-1 1 0 0,0 1-1 0 0,0 0 0 0 0,1 0 1 0 0,-1 1-1 0 0,1-1 0 0 0,0 1 0 0 0,0 0 1 0 0,1 0-1 0 0,-1 0 0 0 0,1 1 1 0 0,-1-1-1 0 0,2 1 0 0 0,-1 0 1 0 0,0-1-1 0 0,1 1 0 0 0,0 1 0 0 0,0-1 1 0 0,0 0-1 0 0,1 0 0 0 0,0 1 1 0 0,0-1-1 0 0,0 1 0 0 0,1-1 1 0 0,-1 1-1 0 0,1-1 0 0 0,1 1 1 0 0,-1-1-1 0 0,1 1 0 0 0,0-1 0 0 0,0 1 1 0 0,4 9-1 0 0,6 8 26 0 0,1 1 0 0 0,2-2-1 0 0,0 0 1 0 0,30 35 0 0 0,-9-12 254 0 0,-34-43-152 0 0,1 0 1 0 0,-1-1-1 0 0,0 1 0 0 0,0 0 1 0 0,-1 0-1 0 0,1 0 1 0 0,0 0-1 0 0,-1 0 0 0 0,1 0 1 0 0,-1 0-1 0 0,1 3 1 0 0,-1-4-79 0 0,0-1 0 0 0,0 1 0 0 0,0 0 0 0 0,-1 0 0 0 0,1 0 0 0 0,0 0-1 0 0,0 0 1 0 0,0 0 0 0 0,-1 0 0 0 0,1 0 0 0 0,0-1 0 0 0,-1 1 0 0 0,1 0 0 0 0,-1 0 0 0 0,1-1 0 0 0,-1 1 0 0 0,0 0 0 0 0,1 0 0 0 0,-1-1 0 0 0,0 1 0 0 0,1-1 0 0 0,-1 1 0 0 0,0 0 0 0 0,0-1 0 0 0,1 0 0 0 0,-1 1 0 0 0,-2 0 0 0 0,-10 3-114 0 0,-1 0 0 0 0,0-1-1 0 0,0 0 1 0 0,0-2 0 0 0,0 1 0 0 0,-26-2 0 0 0,39 0-182 0 0,0 0 1 0 0,0 0-1 0 0,0 0 1 0 0,0 0 0 0 0,1-1-1 0 0,-1 1 1 0 0,0 0-1 0 0,0 0 1 0 0,0-1-1 0 0,1 1 1 0 0,-1 0-1 0 0,0-1 1 0 0,0 1 0 0 0,1-1-1 0 0,-1 1 1 0 0,0-1-1 0 0,1 1 1 0 0,-1-1-1 0 0,1 0 1 0 0,-1 1 0 0 0,0-1-1 0 0,1 0 1 0 0,-1 1-1 0 0,1-1 1 0 0,0 0-1 0 0,-1 0 1 0 0,1 1 0 0 0,0-1-1 0 0,-1 0 1 0 0,1 0-1 0 0,0 0 1 0 0,0 1-1 0 0,0-2 1 0 0,2-9-4175 0 0</inkml:trace>
</inkml:ink>
</file>

<file path=ppt/ink/ink4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2.8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0 17 1420 0 0,'4'-2'672'0'0,"-1"0"1"0"0,0 0-1 0 0,1 0 1 0 0,-1 0-1 0 0,1 0 0 0 0,0 1 1 0 0,0 0-1 0 0,5-2 0 0 0,-8 3-477 0 0,0 0-1 0 0,1 0 0 0 0,-1 1 0 0 0,1-1 1 0 0,-1 0-1 0 0,0 0 0 0 0,0 1 0 0 0,1-1 1 0 0,-1 1-1 0 0,0-1 0 0 0,1 1 1 0 0,-1 0-1 0 0,0-1 0 0 0,0 1 0 0 0,0 0 1 0 0,0 0-1 0 0,0 0 0 0 0,0 0 0 0 0,0 0 1 0 0,0 0-1 0 0,0 0 0 0 0,0 0 1 0 0,-1 0-1 0 0,1 0 0 0 0,0 0 0 0 0,-1 1 1 0 0,1-1-1 0 0,0 2 0 0 0,5 15 697 0 0,0 0 0 0 0,-1 0 0 0 0,-1 0-1 0 0,-1 1 1 0 0,2 27 0 0 0,1 9-58 0 0,15 109 170 0 0,-17-109-4559 0 0,-3 2-5627 0 0,-1-45 4040 0 0</inkml:trace>
  <inkml:trace contextRef="#ctx0" brushRef="#br0" timeOffset="1">18 96 2552 0 0,'-16'-12'4352'0'0,"16"12"-4219"0"0,0 0 0 0 0,0-1 0 0 0,0 1 0 0 0,-1 0 0 0 0,1-1 0 0 0,0 1 0 0 0,0 0 0 0 0,0-1 0 0 0,0 1 0 0 0,0-1 0 0 0,0 1 0 0 0,0 0 0 0 0,0-1 0 0 0,0 1 0 0 0,0 0 0 0 0,0-1 0 0 0,0 1 0 0 0,0-1 0 0 0,0 1 0 0 0,0 0 0 0 0,0-1 0 0 0,0 1 0 0 0,0-1 0 0 0,0 1 0 0 0,1-1 0 0 0,0 0 71 0 0,1-1 0 0 0,0 1 1 0 0,-1-1-1 0 0,1 1 0 0 0,0 0 1 0 0,0 0-1 0 0,-1 0 0 0 0,1 0 1 0 0,0 0-1 0 0,0 0 1 0 0,4-1-1 0 0,23-5 400 0 0,0 0 0 0 0,1 2 1 0 0,-1 1-1 0 0,59 1 0 0 0,-15 0-915 0 0,-3 3-1744 0 0,-23 3-3909 0 0,-31-1 863 0 0</inkml:trace>
</inkml:ink>
</file>

<file path=ppt/ink/ink4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3.1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 1 2356 0 0,'-1'0'292'0'0,"0"1"-1"0"0,0 1 1 0 0,0-1-1 0 0,1 0 1 0 0,-1 0 0 0 0,0 0-1 0 0,0 0 1 0 0,1 1-1 0 0,-1-1 1 0 0,0 0-1 0 0,1 1 1 0 0,0-1 0 0 0,-1 0-1 0 0,1 1 1 0 0,0-1-1 0 0,-1 0 1 0 0,1 1-1 0 0,0-1 1 0 0,0 1 0 0 0,0-1-1 0 0,1 1 1 0 0,-1-1-1 0 0,1 3 1 0 0,-1-3-45 0 0,1 1-1 0 0,1-1 1 0 0,-1 1 0 0 0,0 0 0 0 0,0-1 0 0 0,1 0 0 0 0,-1 1-1 0 0,0-1 1 0 0,1 0 0 0 0,0 0 0 0 0,-1 0 0 0 0,1 0 0 0 0,0 0-1 0 0,3 2 1 0 0,7 1 241 0 0,0 0-1 0 0,0-1 1 0 0,0 0 0 0 0,14 1-1 0 0,109 12 280 0 0,-50-9-5481 0 0,-63-9-384 0 0</inkml:trace>
</inkml:ink>
</file>

<file path=ppt/ink/ink4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6.3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 0 728 0 0,'-1'3'7299'0'0,"-6"35"-4061"0"0,0 0 1 0 0,-1 69-1 0 0,10 84-672 0 0,1-62-5431 0 0,-3-108-1035 0 0</inkml:trace>
</inkml:ink>
</file>

<file path=ppt/ink/ink4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6.94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3 23 896 0 0,'-1'-12'3988'0'0,"-1"11"-3812"0"0,1 0-1 0 0,-1 0 1 0 0,1 0-1 0 0,-1 0 1 0 0,1 0-1 0 0,-1 0 0 0 0,0 0 1 0 0,1 1-1 0 0,-1-1 1 0 0,0 1-1 0 0,0-1 0 0 0,0 1 1 0 0,1 0-1 0 0,-1-1 1 0 0,0 1-1 0 0,0 0 0 0 0,0 0 1 0 0,0 0-1 0 0,1 1 1 0 0,-1-1-1 0 0,0 0 1 0 0,0 1-1 0 0,-2 0 0 0 0,-7 3 489 0 0,0 0-1 0 0,-17 8 1 0 0,23-10-483 0 0,-7 5 154 0 0,0-1 1 0 0,0 2 0 0 0,1 0-1 0 0,1 0 1 0 0,-1 1-1 0 0,1 0 1 0 0,1 0 0 0 0,-10 13-1 0 0,15-18-245 0 0,0 1 0 0 0,0 0-1 0 0,1 0 1 0 0,0 0-1 0 0,0 0 1 0 0,0 1 0 0 0,1-1-1 0 0,0 1 1 0 0,0-1 0 0 0,0 1-1 0 0,1 0 1 0 0,-1 0 0 0 0,1 0-1 0 0,1 0 1 0 0,-1 0 0 0 0,1 0-1 0 0,0 0 1 0 0,1 0 0 0 0,-1 0-1 0 0,3 9 1 0 0,0-9-77 0 0,0 1 1 0 0,0-1-1 0 0,0-1 1 0 0,1 1-1 0 0,-1 0 1 0 0,2-1-1 0 0,-1 0 0 0 0,0 0 1 0 0,1 0-1 0 0,0-1 1 0 0,0 1-1 0 0,1-1 1 0 0,-1 0-1 0 0,1-1 1 0 0,0 1-1 0 0,7 2 0 0 0,-4-1-474 0 0,1-1-1 0 0,0 0 0 0 0,1-1 1 0 0,-1 0-1 0 0,1-1 0 0 0,-1 0 1 0 0,1-1-1 0 0,0 0 0 0 0,14 0 0 0 0,-18-2-363 0 0,1 1 1 0 0,0-1-1 0 0,-1-1 0 0 0,1 0 0 0 0,-1 0 0 0 0,1 0 0 0 0,7-4 0 0 0,3-3-1952 0 0</inkml:trace>
</inkml:ink>
</file>

<file path=ppt/ink/ink4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7.2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 40 624 0 0,'1'-40'9516'0'0,"-3"50"-8981"0"0,0 0 1 0 0,1-1 0 0 0,-1 1 0 0 0,2 0 0 0 0,-1 0-1 0 0,2 0 1 0 0,1 14 0 0 0,17 75 1065 0 0,-10-57-1133 0 0,19 125-398 0 0,-20-115-2884 0 0,-7-43 1540 0 0,-1-7 740 0 0,0-1 1 0 0,0 1-1 0 0,0 0 1 0 0,0 0-1 0 0,0 0 1 0 0,1 0-1 0 0,-1-1 1 0 0,1 1-1 0 0,-1 0 0 0 0,2 2 1 0 0</inkml:trace>
</inkml:ink>
</file>

<file path=ppt/ink/ink4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8.0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3 34 452 0 0,'0'-10'5391'0'0,"0"9"-5167"0"0,-4 0 19 0 0,0 0 1 0 0,0 1-1 0 0,0 0 0 0 0,0 0 0 0 0,0 0 0 0 0,0 0 0 0 0,0 0 0 0 0,0 1 1 0 0,0 0-1 0 0,1 0 0 0 0,-1 0 0 0 0,0 0 0 0 0,0 1 0 0 0,1-1 1 0 0,-1 1-1 0 0,-6 4 0 0 0,-2 1 140 0 0,0 1 1 0 0,1 1-1 0 0,-18 15 0 0 0,20-15-164 0 0,0 1-1 0 0,0 0 1 0 0,1 0-1 0 0,0 1 0 0 0,1 0 1 0 0,-11 23-1 0 0,16-31-169 0 0,1 1-1 0 0,0 0 1 0 0,-1 0 0 0 0,1 1-1 0 0,1-1 1 0 0,-1 0-1 0 0,1 0 1 0 0,-1 0 0 0 0,1 0-1 0 0,0 1 1 0 0,1 4 0 0 0,0-6-16 0 0,0 0 0 0 0,0 0 0 0 0,0-1 0 0 0,0 1 0 0 0,0 0 0 0 0,1-1 1 0 0,-1 1-1 0 0,1-1 0 0 0,0 1 0 0 0,0-1 0 0 0,-1 0 0 0 0,2 0 1 0 0,-1 0-1 0 0,0 0 0 0 0,0 0 0 0 0,1 0 0 0 0,4 2 0 0 0,-4-2-76 0 0,1 0-1 0 0,-1-1 0 0 0,1 1 1 0 0,-1-1-1 0 0,1 0 1 0 0,0 0-1 0 0,0 0 0 0 0,-1 0 1 0 0,1-1-1 0 0,0 1 1 0 0,0-1-1 0 0,0 0 0 0 0,0 0 1 0 0,0-1-1 0 0,0 1 1 0 0,-1-1-1 0 0,1 0 0 0 0,0 0 1 0 0,0 0-1 0 0,-1 0 1 0 0,1-1-1 0 0,-1 1 0 0 0,1-1 1 0 0,-1 0-1 0 0,1 0 0 0 0,-1-1 1 0 0,0 1-1 0 0,0 0 1 0 0,3-5-1 0 0,8-6-126 0 0,-1-1 1 0 0,-1-1-1 0 0,0 0 1 0 0,13-25-1 0 0,-22 36 241 0 0,-2 2 418 0 0,-1 19-93 0 0,-1-6-125 0 0,1 1 1 0 0,1 0-1 0 0,0 0 1 0 0,5 21-1 0 0,-5-30-211 0 0,0 0 0 0 0,0 0-1 0 0,0 0 1 0 0,1 0-1 0 0,-1 0 1 0 0,1-1 0 0 0,0 1-1 0 0,0 0 1 0 0,0-1-1 0 0,0 1 1 0 0,0-1 0 0 0,1 0-1 0 0,-1 0 1 0 0,1 0 0 0 0,-1 0-1 0 0,1 0 1 0 0,0 0-1 0 0,-1-1 1 0 0,1 1 0 0 0,0-1-1 0 0,0 0 1 0 0,4 1-1 0 0,0-1-8 0 0,1 0 0 0 0,-1-1 0 0 0,0 0 0 0 0,1-1 0 0 0,-1 1 0 0 0,0-2 0 0 0,0 1 0 0 0,1-1 0 0 0,-1 0-1 0 0,0 0 1 0 0,7-4 0 0 0,-8 4-32 0 0,0-1 0 0 0,0-1 0 0 0,0 1 0 0 0,0-1 0 0 0,-1 0 0 0 0,1 0 0 0 0,-1-1-1 0 0,0 1 1 0 0,0-1 0 0 0,-1 0 0 0 0,0 0 0 0 0,6-9 0 0 0,-7 7-18 0 0,1 0 0 0 0,-1 0-1 0 0,0-1 1 0 0,-1 1 0 0 0,0-1 0 0 0,0 0 0 0 0,-1 0-1 0 0,0 0 1 0 0,0 0 0 0 0,-1-10 0 0 0,-1 3-30 0 0,-1 0 0 0 0,-1 0 0 0 0,0 1 1 0 0,-1 0-1 0 0,0-1 0 0 0,-1 1 0 0 0,-10-20 0 0 0,14 33-18 0 0,-5-1-96 0 0,5 2 20 0 0,5 9 78 0 0,3 4 15 0 0,1-1-1 0 0,16 19 1 0 0,-1 0 16 0 0,-16-20 29 0 0,1 0-1 0 0,-2 1 0 0 0,1-1 0 0 0,-2 2 0 0 0,1-1 1 0 0,6 25-1 0 0,-11-31-1 0 0,0 1-1 0 0,0-1 1 0 0,0 1 0 0 0,-1-1 0 0 0,0 1 0 0 0,0 0-1 0 0,-1-1 1 0 0,0 1 0 0 0,0-1 0 0 0,0 1 0 0 0,-1-1-1 0 0,0 1 1 0 0,0-1 0 0 0,-1 0 0 0 0,-5 11 0 0 0,4-11-4 0 0,0 1 40 0 0,0 0-1 0 0,0-1 1 0 0,0 0 0 0 0,-1 0 0 0 0,0 0-1 0 0,-10 10 1 0 0,13-15-43 0 0,3-2-595 0 0,11-11 174 0 0,0 1 0 0 0,24-16 0 0 0,15-14-386 0 0,-17 8 305 0 0,31-38 0 0 0,-55 58 410 0 0,0 0 0 0 0,-1-1 1 0 0,0 0-1 0 0,-1 0 0 0 0,-1 0 0 0 0,10-29 0 0 0,-16 42 79 0 0,0-1-1 0 0,0 0 0 0 0,-1 0 0 0 0,1 0 0 0 0,-1 0 0 0 0,0 0 0 0 0,1 0 0 0 0,-1 0 0 0 0,0 0 0 0 0,0 0 0 0 0,0 0 0 0 0,-1 0 0 0 0,1 0 0 0 0,0 0 1 0 0,-1 1-1 0 0,1-1 0 0 0,-1 0 0 0 0,1 0 0 0 0,-1 0 0 0 0,0 0 0 0 0,0 1 0 0 0,0-1 0 0 0,0 0 0 0 0,0 1 0 0 0,-1-1 0 0 0,1 0 0 0 0,0 1 0 0 0,-3-2 0 0 0,3 2 38 0 0,0 1-17 0 0,0 0 0 0 0,0 0 0 0 0,0 0 0 0 0,0 1 1 0 0,0-1-1 0 0,0 0 0 0 0,0 1 0 0 0,1-1 0 0 0,-1 1 0 0 0,0-1 1 0 0,0 1-1 0 0,0-1 0 0 0,0 1 0 0 0,1-1 0 0 0,-1 1 0 0 0,0 0 0 0 0,0-1 1 0 0,1 1-1 0 0,-1 0 0 0 0,1 0 0 0 0,-1 0 0 0 0,1-1 0 0 0,-1 1 1 0 0,1 0-1 0 0,-1 0 0 0 0,1 0 0 0 0,0 0 0 0 0,-1 0 0 0 0,1 0 0 0 0,0 0 1 0 0,0 0-1 0 0,0 0 0 0 0,0 0 0 0 0,0 0 0 0 0,0 1 0 0 0,0 5 96 0 0,0-1-1 0 0,1 1 0 0 0,0 0 1 0 0,2 6-1 0 0,-1-6 78 0 0,1 7 32 0 0,2-1 0 0 0,0 0 0 0 0,0 0 0 0 0,7 12 0 0 0,-6-16-105 0 0,-2 1-1 0 0,1-1 1 0 0,-1 0 0 0 0,-1 1 0 0 0,0 0 0 0 0,0 0-1 0 0,-1 0 1 0 0,1 15 0 0 0,-3-23-171 0 0,0 1 0 0 0,-1 0 0 0 0,1-1 0 0 0,-1 1-1 0 0,0 0 1 0 0,1-1 0 0 0,-1 1 0 0 0,-1-1 0 0 0,1 1 0 0 0,0-1 0 0 0,-1 0-1 0 0,1 1 1 0 0,-1-1 0 0 0,1 0 0 0 0,-1 0 0 0 0,0 0 0 0 0,0 0 0 0 0,0-1-1 0 0,0 1 1 0 0,0 0 0 0 0,-1-1 0 0 0,1 1 0 0 0,0-1 0 0 0,-4 1 0 0 0,-7 4-1449 0 0,1-1 0 0 0,-1-1 1 0 0,-21 4-1 0 0,26-6-55 0 0,-12 4-2674 0 0</inkml:trace>
</inkml:ink>
</file>

<file path=ppt/ink/ink4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8.8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5 1 416 0 0,'-3'0'2471'0'0,"-4"2"-1301"0"0,-24 5 5924 0 0,31-7-7057 0 0,-1 0-1 0 0,1 0 1 0 0,0 0 0 0 0,0 0-1 0 0,0 0 1 0 0,0 0 0 0 0,0 0-1 0 0,0 0 1 0 0,0 0-1 0 0,0 0 1 0 0,-2 1 842 0 0,1-1-842 0 0,1 0-1 0 0,0 0 1 0 0,0 0-1 0 0,0 0 1 0 0,0 1 0 0 0,0-1-1 0 0,0 0 1 0 0,0 0 0 0 0,0 0-1 0 0,0 0 1 0 0,0 0-1 0 0,0 0 1 0 0,0 0 0 0 0,0 0-1 0 0,1 2 660 0 0,-1-2-659 0 0,21 3-384 0 0,123 7-402 0 0,-48-3-7536 0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08.9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8 15 184 0 0,'0'0'7773'0'0,"-14"9"-4938"0"0,10-6-2651 0 0,0 0 0 0 0,0 1 1 0 0,0-1-1 0 0,0 1 0 0 0,1 0 1 0 0,-1 0-1 0 0,1 0 0 0 0,0 0 0 0 0,0 1 1 0 0,0-1-1 0 0,1 1 0 0 0,0 0 1 0 0,0 0-1 0 0,0 0 0 0 0,0 0 1 0 0,1 0-1 0 0,0 0 0 0 0,0 0 1 0 0,0 0-1 0 0,1 1 0 0 0,0-1 0 0 0,0 0 1 0 0,0 0-1 0 0,0 0 0 0 0,1 1 1 0 0,0-1-1 0 0,0 0 0 0 0,0 0 1 0 0,1 0-1 0 0,0 0 0 0 0,3 6 1 0 0,0-2-39 0 0,1-1 1 0 0,0 0 0 0 0,0 0-1 0 0,1-1 1 0 0,0 0 0 0 0,0 0-1 0 0,1 0 1 0 0,0-1 0 0 0,17 10 0 0 0,-21-14-106 0 0,0 1 1 0 0,1-1 0 0 0,-1-1 0 0 0,1 1 0 0 0,-1 0 0 0 0,1-1 0 0 0,-1 0 0 0 0,1 0 0 0 0,0-1 0 0 0,-1 1 0 0 0,1-1 0 0 0,0 0 0 0 0,0 0 0 0 0,-1 0 0 0 0,1-1 0 0 0,0 0 0 0 0,-1 0 0 0 0,1 0 0 0 0,0 0 0 0 0,-1-1 0 0 0,1 0 0 0 0,-1 0 0 0 0,4-2 0 0 0,-5 2-34 0 0,0 0-1 0 0,-1 1 1 0 0,1-1 0 0 0,-1 0 0 0 0,0-1 0 0 0,1 1-1 0 0,-1 0 1 0 0,0-1 0 0 0,0 1 0 0 0,0-1 0 0 0,-1 1 0 0 0,1-1-1 0 0,-1 0 1 0 0,1 0 0 0 0,-1 0 0 0 0,0 0 0 0 0,0 0-1 0 0,0-3 1 0 0,0 1-60 0 0,-1 0-1 0 0,0 0 1 0 0,0 0-1 0 0,-1 0 0 0 0,1 1 1 0 0,-1-1-1 0 0,0 0 1 0 0,0 0-1 0 0,-1 1 0 0 0,-3-8 1 0 0,-4-6-1253 0 0,0 0 1 0 0,-2 2 0 0 0,0-1-1 0 0,-20-21 1 0 0,28 35 633 0 0,1 0-1 0 0,0 0 1 0 0,0 0 0 0 0,1 0 0 0 0,-1 0 0 0 0,1 0 0 0 0,-1 0-1 0 0,-1-6 1 0 0,-1-3-3096 0 0</inkml:trace>
</inkml:ink>
</file>

<file path=ppt/ink/ink4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9.2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6 1700 0 0,'6'-6'6073'0'0,"-5"7"-5891"0"0,0 0 0 0 0,0 0 0 0 0,0 0 0 0 0,0 1-1 0 0,0-1 1 0 0,0 0 0 0 0,0 1 0 0 0,0-1 0 0 0,-1 0-1 0 0,1 1 1 0 0,-1-1 0 0 0,1 1 0 0 0,-1-1 0 0 0,1 1-1 0 0,-1-1 1 0 0,0 1 0 0 0,1-1 0 0 0,-1 3 0 0 0,1 37 1661 0 0,-1-22-1029 0 0,19 185 2857 0 0,-2-11-4173 0 0,-15-160-1025 0 0,-1 8-1550 0 0,2-16-3195 0 0</inkml:trace>
</inkml:ink>
</file>

<file path=ppt/ink/ink4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9.5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115 340 0 0,'-1'-1'487'0'0,"-1"-1"0"0"0,1 0 0 0 0,0 1 0 0 0,0-1 0 0 0,0 0 1 0 0,0 0-1 0 0,0 0 0 0 0,1 0 0 0 0,-2-3 0 0 0,2 4-406 0 0,0 0 1 0 0,0 0-1 0 0,1 0 1 0 0,-1 1-1 0 0,0-1 0 0 0,0 0 1 0 0,1 0-1 0 0,-1 0 1 0 0,1 1-1 0 0,-1-1 0 0 0,1 0 1 0 0,-1 1-1 0 0,1-1 1 0 0,-1 0-1 0 0,1 1 0 0 0,-1-1 1 0 0,1 1-1 0 0,0-1 1 0 0,-1 1-1 0 0,1-1 1 0 0,0 1-1 0 0,0-1 0 0 0,-1 1 1 0 0,1 0-1 0 0,0-1 1 0 0,0 1-1 0 0,0 0 0 0 0,-1 0 1 0 0,1-1-1 0 0,0 1 1 0 0,1 0-1 0 0,37-9 544 0 0,0 2 0 0 0,59-3 1 0 0,-9 2-102 0 0,-56 3-337 0 0,133-22 1721 0 0,-149 20-1582 0 0,-14 6-83 0 0,-5 0-223 0 0,-1 1 0 0 0,1 0 0 0 0,0 0 0 0 0,-1 0 1 0 0,1 0-1 0 0,-1 1 0 0 0,1-1 0 0 0,0 0 0 0 0,-3 2 0 0 0,-6 2 52 0 0,0 1-1 0 0,0 0 1 0 0,0 1-1 0 0,1 1 0 0 0,0-1 1 0 0,1 1-1 0 0,-1 1 1 0 0,-11 13-1 0 0,15-16 3 0 0,1 0-1 0 0,1 1 0 0 0,-1-1 1 0 0,1 1-1 0 0,0 1 1 0 0,0-1-1 0 0,1 0 1 0 0,0 1-1 0 0,0 0 1 0 0,1-1-1 0 0,-1 1 1 0 0,2 0-1 0 0,-1 1 0 0 0,1-1 1 0 0,-1 9-1 0 0,2-14-55 0 0,0 1 0 0 0,0 0 0 0 0,0-1 0 0 0,0 1 0 0 0,1-1 0 0 0,-1 1 0 0 0,1 0 0 0 0,0-1 0 0 0,0 1 0 0 0,0-1 0 0 0,0 1 0 0 0,0-1 0 0 0,0 0 0 0 0,0 1 0 0 0,1-1 0 0 0,0 0 0 0 0,-1 0 0 0 0,1 0 0 0 0,0 0 0 0 0,0 0 0 0 0,0 0 0 0 0,0-1 0 0 0,0 1 0 0 0,0-1 0 0 0,1 1 0 0 0,-1-1 0 0 0,0 0 0 0 0,1 0 0 0 0,-1 0 0 0 0,1 0 0 0 0,-1 0 0 0 0,1-1 0 0 0,0 1 0 0 0,-1-1 0 0 0,1 1 0 0 0,0-1 0 0 0,4 0 0 0 0,1 0-156 0 0,-1-1-1 0 0,1 0 0 0 0,-1 0 0 0 0,1 0 0 0 0,-1-1 0 0 0,1 0 0 0 0,-1-1 0 0 0,0 1 0 0 0,0-1 1 0 0,-1-1-1 0 0,1 1 0 0 0,10-8 0 0 0,-7 2 115 0 0,-1-1-1 0 0,-1 1 1 0 0,0-1 0 0 0,0-1-1 0 0,-1 1 1 0 0,0-1 0 0 0,-1-1 0 0 0,0 1-1 0 0,-1-1 1 0 0,0 0 0 0 0,-1 0-1 0 0,0-1 1 0 0,3-16 0 0 0,-9 15 302 0 0,2 13-271 0 0,-1 1 0 0 0,1-1 0 0 0,0 1 0 0 0,0 0 0 0 0,0-1 0 0 0,0 1 0 0 0,-1 0 0 0 0,1-1 0 0 0,0 1 0 0 0,0 0 0 0 0,-1-1 0 0 0,1 1 0 0 0,0 0 0 0 0,0 0 0 0 0,-1-1 0 0 0,1 1 0 0 0,0 0 0 0 0,-1 0 0 0 0,1 0 0 0 0,0-1 0 0 0,-1 1 0 0 0,1 0 1 0 0,-1 0-1 0 0,1 0 0 0 0,0 0 0 0 0,-1 0 0 0 0,1 0 0 0 0,-1 0 0 0 0,1 0 0 0 0,0 0 0 0 0,-1 0 0 0 0,1 0 0 0 0,0 0 0 0 0,-1 0 0 0 0,1 0 0 0 0,-1 0 0 0 0,1 0 0 0 0,0 0 0 0 0,-1 1 0 0 0,1-1 0 0 0,0 0 0 0 0,-1 0 0 0 0,1 0 0 0 0,0 1 0 0 0,-1-1 0 0 0,1 0 0 0 0,0 0 0 0 0,-1 1 0 0 0,1-1 0 0 0,0 1 0 0 0,-1 0-14 0 0,0 1 0 0 0,0 0 0 0 0,1 0 0 0 0,-1 0 0 0 0,1 1 0 0 0,0-1 0 0 0,-1 0 0 0 0,1 0 1 0 0,0 0-1 0 0,0 0 0 0 0,1 0 0 0 0,-1 0 0 0 0,0 0 0 0 0,1 0 0 0 0,-1 0 0 0 0,1 0 0 0 0,-1 0 0 0 0,1 0 0 0 0,1 3 0 0 0,0-2-507 0 0,1 1 1 0 0,-1 0-1 0 0,1-1 0 0 0,0 0 0 0 0,0 0 0 0 0,0 0 0 0 0,0 0 0 0 0,0 0 0 0 0,1-1 1 0 0,6 5-1 0 0</inkml:trace>
</inkml:ink>
</file>

<file path=ppt/ink/ink4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9.9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9 2148 0 0,'6'-9'8402'0'0,"-5"9"-8334"0"0,1 13 890 0 0,-1 0 0 0 0,0 0 0 0 0,-1 0 0 0 0,0 0 0 0 0,-3 14 0 0 0,1 6-70 0 0,13 203 1450 0 0,-2-106-5422 0 0,-6-105 1509 0 0,0 4-1552 0 0,-5-11-1951 0 0</inkml:trace>
</inkml:ink>
</file>

<file path=ppt/ink/ink4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0.2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 22 184 0 0,'-5'-9'8357'0'0,"5"8"-8284"0"0,25-3 643 0 0,0 0 0 0 0,1 2 0 0 0,-1 1 0 0 0,0 1 0 0 0,29 3 0 0 0,-25-1-693 0 0,63 0-3469 0 0,-79-2 2088 0 0,2 0-2506 0 0,3-2 2003 0 0</inkml:trace>
</inkml:ink>
</file>

<file path=ppt/ink/ink4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0.6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9 24 976 0 0,'3'-8'4689'0'0,"-3"7"-4454"0"0,-1-1-86 0 0,-1 1 1 0 0,0 0 0 0 0,1-1-1 0 0,-1 1 1 0 0,1 0-1 0 0,-1 0 1 0 0,0 0 0 0 0,0 1-1 0 0,0-1 1 0 0,0 0-1 0 0,0 1 1 0 0,1-1-1 0 0,-1 1 1 0 0,0-1 0 0 0,0 1-1 0 0,0 0 1 0 0,0 0-1 0 0,0 0 1 0 0,0 0 0 0 0,0 0-1 0 0,0 0 1 0 0,0 1-1 0 0,0-1 1 0 0,-2 2-1 0 0,-8 0 237 0 0,1 0 0 0 0,0 2-1 0 0,-14 5 1 0 0,11-3-99 0 0,0 1 0 0 0,1 0 1 0 0,-1 1-1 0 0,-16 15 1 0 0,24-19-195 0 0,1 1 1 0 0,-1 0 0 0 0,1 0-1 0 0,1 0 1 0 0,-1 1 0 0 0,1 0 0 0 0,0 0-1 0 0,0 0 1 0 0,1 0 0 0 0,0 0 0 0 0,-5 14-1 0 0,8-19-93 0 0,-1 1 1 0 0,1-1-1 0 0,-1 1 0 0 0,1-1 0 0 0,0 1 0 0 0,0-1 0 0 0,0 1 1 0 0,0-1-1 0 0,0 1 0 0 0,0 0 0 0 0,0-1 0 0 0,0 1 0 0 0,1-1 1 0 0,-1 1-1 0 0,1-1 0 0 0,-1 1 0 0 0,1-1 0 0 0,-1 1 0 0 0,1-1 0 0 0,0 0 1 0 0,0 1-1 0 0,0-1 0 0 0,0 0 0 0 0,0 1 0 0 0,0-1 0 0 0,0 0 1 0 0,0 0-1 0 0,0 0 0 0 0,1 0 0 0 0,-1 0 0 0 0,0 0 0 0 0,1-1 1 0 0,-1 1-1 0 0,0 0 0 0 0,1-1 0 0 0,-1 1 0 0 0,3 0 0 0 0,0 0-133 0 0,0 0-1 0 0,0 0 0 0 0,0-1 1 0 0,0 1-1 0 0,0-1 1 0 0,1 0-1 0 0,-1 0 0 0 0,0-1 1 0 0,0 1-1 0 0,0-1 0 0 0,0 0 1 0 0,0 0-1 0 0,7-3 0 0 0,3-3-251 0 0,0-1 0 0 0,-1-1-1 0 0,13-10 1 0 0,7-4 832 0 0,-32 22-399 0 0,0 0 0 0 0,0 1 0 0 0,0-1 1 0 0,1 1-1 0 0,-1-1 0 0 0,0 1 0 0 0,0 0 1 0 0,1-1-1 0 0,-1 1 0 0 0,0 0 1 0 0,1 0-1 0 0,-1 0 0 0 0,0 0 0 0 0,1 0 1 0 0,-1 0-1 0 0,0 0 0 0 0,1 0 0 0 0,-1 1 1 0 0,0-1-1 0 0,1 1 0 0 0,-1-1 0 0 0,0 1 1 0 0,0-1-1 0 0,0 1 0 0 0,1-1 1 0 0,-1 1-1 0 0,0 0 0 0 0,0 0 0 0 0,0 0 1 0 0,0 0-1 0 0,0 0 0 0 0,0 0 0 0 0,-1 0 1 0 0,1 0-1 0 0,1 1 0 0 0,3 5 95 0 0,-1 0 0 0 0,1 0 0 0 0,-1 1-1 0 0,3 9 1 0 0,-6-15-137 0 0,1 2-121 0 0,15 31-1893 0 0,-6-15-3652 0 0</inkml:trace>
</inkml:ink>
</file>

<file path=ppt/ink/ink4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0.95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 0 392 0 0,'0'3'8954'0'0,"-2"16"-5497"0"0,-5 53-1544 0 0,12 50-79 0 0,1 21-2946 0 0,-7-119-3428 0 0,-8 47 1 0 0,7-62 584 0 0</inkml:trace>
</inkml:ink>
</file>

<file path=ppt/ink/ink4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1.3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 0 1984 0 0,'0'0'5195'0'0,"0"3"-4071"0"0,-4 194 6336 0 0,1-98-8677 0 0,2-3-4308 0 0,1-96 5307 0 0,0 1 1 0 0,0 0 0 0 0,0-1-1 0 0,1 1 1 0 0,-1 0 0 0 0,0-1-1 0 0,0 1 1 0 0,1 0 0 0 0,-1-1-1 0 0,0 1 1 0 0,1-1 0 0 0,-1 1-1 0 0,1-1 1 0 0,-1 1 0 0 0,2 1-653 0 0,-1-2 653 0 0,0 1-1 0 0</inkml:trace>
</inkml:ink>
</file>

<file path=ppt/ink/ink4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1.6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4 388 0 0,'1'-1'341'0'0,"1"0"0"0"0,-1 0 0 0 0,0 0 0 0 0,1 1 1 0 0,-1-1-1 0 0,1 0 0 0 0,0 0 0 0 0,-1 1 0 0 0,1-1 0 0 0,2 0 0 0 0,-3 2-212 0 0,-1-1 0 0 0,1 0 0 0 0,0 1 0 0 0,-1-1 1 0 0,1 0-1 0 0,0 1 0 0 0,-1-1 0 0 0,1 0 0 0 0,-1 1 0 0 0,1-1 0 0 0,-1 1 0 0 0,1-1 0 0 0,-1 1 0 0 0,1 0 0 0 0,-1-1 0 0 0,0 1 0 0 0,1-1 0 0 0,-1 1 0 0 0,0 0 1 0 0,1-1-1 0 0,-1 1 0 0 0,0 0 0 0 0,0-1 0 0 0,0 1 0 0 0,0 0 0 0 0,1 0 0 0 0,-1-1 0 0 0,0 1 0 0 0,0 0 0 0 0,0-1 0 0 0,-1 1 0 0 0,1 1 0 0 0,1 5 258 0 0,1 10 478 0 0,0 0-1 0 0,1 0 0 0 0,9 28 0 0 0,-10-40-757 0 0,0 0 0 0 0,0 0 0 0 0,0 0-1 0 0,1 0 1 0 0,0-1 0 0 0,0 1 0 0 0,0-1 0 0 0,1 0-1 0 0,-1 0 1 0 0,1 0 0 0 0,0 0 0 0 0,0-1-1 0 0,1 0 1 0 0,-1 1 0 0 0,1-2 0 0 0,8 6 0 0 0,-6-6-22 0 0,1 0 0 0 0,-1 0 1 0 0,1 0-1 0 0,0-1 0 0 0,-1 0 1 0 0,1 0-1 0 0,0-1 0 0 0,0 0 1 0 0,8-1-1 0 0,-11 0-6 0 0,0 1 0 0 0,0-1-1 0 0,-1 0 1 0 0,1-1 0 0 0,0 1 0 0 0,-1-1 0 0 0,1 0 0 0 0,-1 0-1 0 0,1-1 1 0 0,-1 1 0 0 0,0-1 0 0 0,0 0 0 0 0,0 0 0 0 0,0 0-1 0 0,-1-1 1 0 0,0 1 0 0 0,1-1 0 0 0,-1 0 0 0 0,0 0-1 0 0,0 0 1 0 0,-1 0 0 0 0,0 0 0 0 0,1-1 0 0 0,1-6 0 0 0,-3 7-50 0 0,0 1 0 0 0,0-1 1 0 0,0 0-1 0 0,0 0 0 0 0,-1 0 1 0 0,0 0-1 0 0,0 0 0 0 0,0 0 1 0 0,0 0-1 0 0,-1 1 0 0 0,0-1 1 0 0,1 0-1 0 0,-1 0 0 0 0,-1 0 1 0 0,1 1-1 0 0,0-1 0 0 0,-1 0 1 0 0,0 1-1 0 0,0 0 0 0 0,0-1 1 0 0,0 1-1 0 0,0 0 1 0 0,-1 0-1 0 0,1 0 0 0 0,-1 0 1 0 0,0 1-1 0 0,0-1 0 0 0,0 1 1 0 0,0-1-1 0 0,-5-1 0 0 0,0-1-299 0 0,0 1 0 0 0,-1 1 0 0 0,1-1 0 0 0,0 2 0 0 0,-1-1 0 0 0,0 1 0 0 0,1 0-1 0 0,-1 1 1 0 0,0 0 0 0 0,-16 0 0 0 0,16 2-873 0 0,0-1-1 0 0,1 2 1 0 0,-1-1 0 0 0,0 1-1 0 0,1 0 1 0 0,0 1-1 0 0,-9 3 1 0 0,4 0-2127 0 0</inkml:trace>
</inkml:ink>
</file>

<file path=ppt/ink/ink4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2.1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9 22 452 0 0,'-3'0'3652'0'0,"-6"1"-3141"0"0,1 0 0 0 0,-1 1 1 0 0,1 0-1 0 0,0 0 0 0 0,0 1 0 0 0,0 0 1 0 0,0 0-1 0 0,0 1 0 0 0,0 0 0 0 0,1 1 1 0 0,0-1-1 0 0,0 1 0 0 0,-7 7 0 0 0,6-6-258 0 0,1 1 0 0 0,0 0 0 0 0,1 0-1 0 0,-1 0 1 0 0,2 0 0 0 0,-1 1-1 0 0,1 0 1 0 0,0 1 0 0 0,0-1 0 0 0,1 1-1 0 0,-6 17 1 0 0,9-20-233 0 0,0-1 1 0 0,0 1-1 0 0,1-1 1 0 0,0 1-1 0 0,0 0 0 0 0,0-1 1 0 0,1 1-1 0 0,0-1 1 0 0,0 1-1 0 0,0-1 0 0 0,0 1 1 0 0,1-1-1 0 0,0 0 1 0 0,0 1-1 0 0,1-1 0 0 0,-1 0 1 0 0,1-1-1 0 0,0 1 1 0 0,1 0-1 0 0,-1-1 0 0 0,1 0 1 0 0,0 0-1 0 0,0 0 1 0 0,0 0-1 0 0,0 0 0 0 0,9 4 1 0 0,-8-4-250 0 0,1 0 1 0 0,0-1-1 0 0,0 0 0 0 0,0-1 1 0 0,1 1-1 0 0,-1-1 1 0 0,0-1-1 0 0,1 1 0 0 0,0-1 1 0 0,-1 0-1 0 0,1 0 1 0 0,0-1-1 0 0,-1 0 0 0 0,1 0 1 0 0,0-1-1 0 0,-1 1 0 0 0,1-1 1 0 0,0-1-1 0 0,-1 0 1 0 0,0 1-1 0 0,1-2 0 0 0,6-2 1 0 0,-3-2-263 0 0,1 1 0 0 0,-1-2 1 0 0,0 1-1 0 0,-1-2 0 0 0,0 1 0 0 0,0-1 0 0 0,-1 0 1 0 0,0-1-1 0 0,9-14 0 0 0,6-14 752 0 0,23-51 1 0 0,-30 58 1306 0 0,24-47 5260 0 0,-39 81-6099 0 0,4 7-128 0 0,-1 1-1 0 0,-1 0 0 0 0,0 0 0 0 0,3 22 0 0 0,2 52 301 0 0,-6-62-702 0 0,0 21-282 0 0,-3 44 0 0 0,-6 0-4120 0 0,7-62 1224 0 0</inkml:trace>
</inkml:ink>
</file>

<file path=ppt/ink/ink4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3.8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5 88 556 0 0,'-5'-8'5621'0'0,"5"8"-5472"0"0,-1 0 1 0 0,1 0-1 0 0,0-1 0 0 0,-1 1 1 0 0,0 0-1 0 0,-6 0 189 0 0,-1 1-1 0 0,1 0 0 0 0,0 0 0 0 0,-1 1 0 0 0,1 0 0 0 0,0 0 1 0 0,0 1-1 0 0,0 0 0 0 0,1 0 0 0 0,-1 0 0 0 0,-7 6 1 0 0,5-2-98 0 0,0 0 0 0 0,0 0 1 0 0,1 0-1 0 0,0 1 0 0 0,0 0 1 0 0,1 1-1 0 0,-6 9 1 0 0,12-16-212 0 0,1 0 0 0 0,-1 0 1 0 0,1 0-1 0 0,-1 0 1 0 0,1 0-1 0 0,0 0 1 0 0,0 0-1 0 0,0 0 1 0 0,0 0-1 0 0,0 0 1 0 0,0 0-1 0 0,1 0 1 0 0,-1 0-1 0 0,1 0 1 0 0,-1 0-1 0 0,1 0 1 0 0,0 0-1 0 0,0 0 0 0 0,1 2 1 0 0,1-2-24 0 0,-1-1-1 0 0,0 1 1 0 0,1-1 0 0 0,0 1 0 0 0,-1-1-1 0 0,1 0 1 0 0,0 0 0 0 0,0 0 0 0 0,-1 0-1 0 0,1-1 1 0 0,0 1 0 0 0,4 0 0 0 0,-2-1-124 0 0,0 1 1 0 0,-1-1 0 0 0,1 0 0 0 0,0 0-1 0 0,0 0 1 0 0,0 0 0 0 0,0-1-1 0 0,0 0 1 0 0,-1 0 0 0 0,1 0 0 0 0,0-1-1 0 0,-1 0 1 0 0,1 0 0 0 0,-1 0 0 0 0,1 0-1 0 0,6-6 1 0 0,-3 3-126 0 0,-1-1 0 0 0,0 0 0 0 0,0 0 0 0 0,-1-1 0 0 0,0 1-1 0 0,0-2 1 0 0,7-11 0 0 0,-12 17 237 0 0,1 1 0 0 0,-1-1 0 0 0,0 0 0 0 0,0 0 0 0 0,0 0 0 0 0,0 0 0 0 0,-1 0 0 0 0,1 0 0 0 0,0 0 0 0 0,-1 0-1 0 0,1 0 1 0 0,-1 0 0 0 0,0 0 0 0 0,0-1 0 0 0,0 1 0 0 0,0 0 0 0 0,0 0 0 0 0,0 0 0 0 0,-2-3 0 0 0,2 3 151 0 0,-1 2-107 0 0,-1-1 0 0 0,1 1 0 0 0,0 0-1 0 0,0 0 1 0 0,0 0 0 0 0,-1 0 0 0 0,1 0-1 0 0,0 0 1 0 0,0 0 0 0 0,-1 0 0 0 0,-1 1 0 0 0,-1 2 70 0 0,1 0 0 0 0,-1 1 0 0 0,0 0 0 0 0,1-1 0 0 0,-1 1 0 0 0,1 1 1 0 0,0-1-1 0 0,1 0 0 0 0,-1 1 0 0 0,1-1 0 0 0,0 1 0 0 0,0 0 0 0 0,0 0 1 0 0,1 0-1 0 0,-1 0 0 0 0,1 0 0 0 0,1 0 0 0 0,-1 0 0 0 0,1 0 0 0 0,-1 1 0 0 0,1-1 1 0 0,1 0-1 0 0,1 9 0 0 0,-2-9-64 0 0,1-1 0 0 0,0 1 1 0 0,0 0-1 0 0,0-1 0 0 0,1 0 0 0 0,-1 1 1 0 0,1-1-1 0 0,0 0 0 0 0,0 0 1 0 0,1 0-1 0 0,-1 0 0 0 0,1 0 0 0 0,0 0 1 0 0,0-1-1 0 0,0 1 0 0 0,1-1 0 0 0,-1 0 1 0 0,1 0-1 0 0,0 0 0 0 0,-1-1 0 0 0,1 1 1 0 0,0-1-1 0 0,1 0 0 0 0,-1 0 0 0 0,0 0 1 0 0,9 2-1 0 0,-5-3-24 0 0,-1 0 1 0 0,1-1-1 0 0,-1 1 1 0 0,1-1-1 0 0,-1-1 0 0 0,1 1 1 0 0,-1-2-1 0 0,0 1 1 0 0,0-1-1 0 0,1 0 0 0 0,-1 0 1 0 0,0-1-1 0 0,0 1 1 0 0,-1-2-1 0 0,1 1 1 0 0,-1-1-1 0 0,1 0 0 0 0,-1 0 1 0 0,0-1-1 0 0,-1 0 1 0 0,1 0-1 0 0,6-9 0 0 0,3-4-34 0 0,-2 0 0 0 0,0-1 0 0 0,-1-1 0 0 0,-1 0 0 0 0,16-42 0 0 0,-19 36 8 0 0,-5 17-5 0 0,11-25-223 0 0,-13 32 225 0 0,-1 2-244 0 0,1 0 250 0 0,0 0-1 0 0,-1 0 1 0 0,1 0-1 0 0,0 0 1 0 0,-1 0 0 0 0,1 0-1 0 0,0 0 1 0 0,-1 0-1 0 0,1 0 1 0 0,0 0 0 0 0,-1 0-1 0 0,1 0 1 0 0,0 1 0 0 0,-1-1-1 0 0,1 0 1 0 0,-1 0-1 0 0,1 1 1 0 0,-1-1 0 0 0,1 1-1 0 0,0-1 1 0 0,-1 0 0 0 0,0 1-1 0 0,1-1 1 0 0,-1 1-1 0 0,2 0 1 0 0,14 28 0 0 0,-12-21 9 0 0,29 73 64 0 0,-26-61 96 0 0,-6-18-124 0 0,-13 21 199 0 0,5-19-220 0 0,0 0 0 0 0,0 0 0 0 0,0-1 0 0 0,-13 4 0 0 0,12-4-17 0 0,-1 0 0 0 0,1 1 0 0 0,0 0 0 0 0,0 0 0 0 0,-12 9 0 0 0,16-9-22 0 0,0 0 1 0 0,-1 1-1 0 0,1-1 0 0 0,1 1 0 0 0,-7 11 0 0 0,10-16 19 0 0,-2 7-4 0 0,2-6 8 0 0,1 0 0 0 0,-1 0-1 0 0,1 0 1 0 0,0 0-1 0 0,-1 0 1 0 0,1 0-1 0 0,0-1 1 0 0,0 1-1 0 0,0 0 1 0 0,-1 0-1 0 0,1-1 1 0 0,0 1 0 0 0,0-1-1 0 0,2 2 1 0 0,3-1 11 0 0,1-1-8 0 0,-1 0 1 0 0,1 0-1 0 0,0 0 0 0 0,0-1 0 0 0,0 0 0 0 0,-1 0 0 0 0,1-1 0 0 0,0 0 0 0 0,-1 0 1 0 0,10-5-1 0 0,-7 3 0 0 0,11-6-104 0 0,-1 0 0 0 0,0-1-1 0 0,0-1 1 0 0,-1-1-1 0 0,21-19 1 0 0,-30 24 113 0 0,0-1 1 0 0,-1 0-1 0 0,0 0 0 0 0,0-1 0 0 0,-1 0 1 0 0,-1 0-1 0 0,1-1 0 0 0,-2 1 0 0 0,0-1 0 0 0,0-1 1 0 0,3-12-1 0 0,-6 20-12 0 0,-1 0 1 0 0,0 0-1 0 0,0-1 0 0 0,0 1 1 0 0,-1 0-1 0 0,0 0 0 0 0,1-1 1 0 0,-2 1-1 0 0,1 0 0 0 0,0-1 1 0 0,-1 1-1 0 0,0 0 0 0 0,-2-6 1 0 0,3 8-36 0 0,-1 2 0 0 0,0 0 30 0 0,1 0-1 0 0,-1 0 0 0 0,0 0 1 0 0,1 0-1 0 0,-1 0 0 0 0,0 1 1 0 0,1-1-1 0 0,-1 0 0 0 0,0 0 1 0 0,1 0-1 0 0,-1 1 0 0 0,0-1 1 0 0,1 0-1 0 0,-1 1 0 0 0,1-1 1 0 0,-1 1-1 0 0,1-1 0 0 0,-1 1 1 0 0,1-1-1 0 0,-1 1 0 0 0,1-1 1 0 0,-1 1-1 0 0,1-1 0 0 0,-1 2 1 0 0,1-1-2 0 0,-1 1 0 0 0,1-1 0 0 0,-1 1 1 0 0,1 0-1 0 0,0-1 0 0 0,0 1 1 0 0,0-1-1 0 0,-1 1 0 0 0,2 0 1 0 0,-1 2-1 0 0,2 5 2 0 0,0 0 0 0 0,0 0 0 0 0,4 9 0 0 0,-4-13 10 0 0,24 55 217 0 0,-20-50-103 0 0,0 1-1 0 0,-1 0 1 0 0,-1 1 0 0 0,0-1 0 0 0,0 1-1 0 0,-1 0 1 0 0,-1 0 0 0 0,2 14 0 0 0,-4-24-73 0 0,0 1 1 0 0,0-1-1 0 0,-1 0 1 0 0,1 1-1 0 0,0-1 0 0 0,-1 0 1 0 0,0 1-1 0 0,1-1 1 0 0,-1 0-1 0 0,0 0 1 0 0,0 0-1 0 0,0 0 1 0 0,0 1-1 0 0,-1-2 0 0 0,1 1 1 0 0,-1 0-1 0 0,1 0 1 0 0,-1 0-1 0 0,-3 2 1 0 0,1-1 4 0 0,0 0 1 0 0,-1-1 0 0 0,1 0 0 0 0,0 0-1 0 0,-1 0 1 0 0,0-1 0 0 0,-9 3 0 0 0,12-4 28 0 0,-30-1-63 0 0,30 1-125 0 0,12-12-365 0 0,30-8 57 0 0,7-4-131 0 0,57-37 0 0 0,-91 52 588 0 0,0-1 0 0 0,0-1-1 0 0,-1 0 1 0 0,0-1 0 0 0,-1 0-1 0 0,0 0 1 0 0,-1-1-1 0 0,13-22 1 0 0,-21 33-33 0 0,-1 0 0 0 0,0 0 0 0 0,0 0 0 0 0,0 0-1 0 0,0 0 1 0 0,0 0 0 0 0,-1-1 0 0 0,1 1 0 0 0,-1 0 0 0 0,1 0 0 0 0,-1 0 0 0 0,0-1 0 0 0,0 1-1 0 0,0 0 1 0 0,0-1 0 0 0,0 1 0 0 0,0 0 0 0 0,-1 0 0 0 0,1-1 0 0 0,-1 1 0 0 0,0 0-1 0 0,1 0 1 0 0,-1 0 0 0 0,0 0 0 0 0,0 0 0 0 0,-1 0 0 0 0,1 0 0 0 0,0 0 0 0 0,0 0-1 0 0,-1 0 1 0 0,0 1 0 0 0,1-1 0 0 0,-1 1 0 0 0,0-1 0 0 0,1 1 0 0 0,-1-1 0 0 0,-4-1-1 0 0,4 2-72 0 0,-2 2 17 0 0,1-1 40 0 0,0 0 0 0 0,1 1 0 0 0,-1-1 0 0 0,0 1 0 0 0,0 0 0 0 0,1 0 1 0 0,-1 0-1 0 0,0 0 0 0 0,1 0 0 0 0,-1 1 0 0 0,1-1 0 0 0,-3 3 0 0 0,3-3 24 0 0,1 1 0 0 0,0-1-1 0 0,0 0 1 0 0,0 1 0 0 0,0-1 0 0 0,0 1 0 0 0,0-1 0 0 0,1 1-1 0 0,-1-1 1 0 0,0 1 0 0 0,1 0 0 0 0,-1-1 0 0 0,1 1 0 0 0,-1 0-1 0 0,1-1 1 0 0,0 1 0 0 0,0 0 0 0 0,0 0 0 0 0,0-1 0 0 0,0 1-1 0 0,0 0 1 0 0,1-1 0 0 0,-1 1 0 0 0,0 0 0 0 0,1 2-1 0 0,1 0 5 0 0,-1 1 34 0 0,0 0 0 0 0,1 0 1 0 0,0 0-1 0 0,5 10 0 0 0,-4-10-98 0 0,1-1 0 0 0,0 1 0 0 0,0-1 0 0 0,0 0-1 0 0,0 0 1 0 0,0 0 0 0 0,1-1 0 0 0,0 1 0 0 0,-1-1 0 0 0,1 0 0 0 0,1-1-1 0 0,-1 1 1 0 0,8 2 0 0 0,-10-4 6 0 0,15 0-34 0 0,-15-1 58 0 0,4 0 14 0 0,0-1 0 0 0,-1 0-1 0 0,1 0 1 0 0,12-5 0 0 0,1-7 52 0 0,-8 3 72 0 0,12-13 29 0 0,-13 11-146 0 0,-9 11-13 0 0,7-6-153 0 0,-6 6 254 0 0,-1-1 0 0 0,1 1 0 0 0,0 0 0 0 0,-1-1 1 0 0,1 1-1 0 0,0 1 0 0 0,0-1 0 0 0,0 0 0 0 0,0 1 0 0 0,4-1 0 0 0,-5-1-52 0 0,-1 0 0 0 0,1 0 0 0 0,-1 0 1 0 0,1 0-1 0 0,-1 0 0 0 0,0 0 0 0 0,0-1 0 0 0,0 1 0 0 0,0 0 0 0 0,0-1 1 0 0,0 1-1 0 0,-1-1 0 0 0,1-3 0 0 0,0-5-29 0 0,2-10 17 0 0,-1 16-138 0 0,-1 10-156 0 0,2 6 411 0 0,1 0 1 0 0,0 0-1 0 0,0 0 1 0 0,1-1 0 0 0,1 0-1 0 0,6 10 1 0 0,8 17 509 0 0,-16-30-531 0 0,0 1 1 0 0,-1 0-1 0 0,0 0 1 0 0,0 0-1 0 0,-1 0 1 0 0,0 0-1 0 0,1 15 1 0 0,-3-19-142 0 0,0 0 1 0 0,-1-1 0 0 0,1 1-1 0 0,-1 0 1 0 0,0 0-1 0 0,0 0 1 0 0,0 0 0 0 0,-1-1-1 0 0,1 1 1 0 0,-1 0 0 0 0,0-1-1 0 0,0 0 1 0 0,0 1-1 0 0,0-1 1 0 0,-1 0 0 0 0,1 0-1 0 0,-1 0 1 0 0,-5 4 0 0 0,-4 3-688 0 0,0-1 1 0 0,0 0 0 0 0,-1-1 0 0 0,0 0 0 0 0,0-1 0 0 0,-20 7 0 0 0,13-7-1986 0 0,0-1 0 0 0,-21 4-1 0 0,13-6-2331 0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09.3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9 294 1872 0 0,'6'5'643'0'0,"1"1"0"0"0,-2 0-1 0 0,1 0 1 0 0,-1 1 0 0 0,0-1-1 0 0,0 1 1 0 0,0 0 0 0 0,-1 1 0 0 0,-1-1-1 0 0,1 1 1 0 0,-1 0 0 0 0,3 11-1 0 0,1 10 742 0 0,-1 1-1 0 0,3 34 0 0 0,-4-23-299 0 0,-2-14 409 0 0,0 30-1 0 0,-3-54-1047 0 0,-8-2 315 0 0,7-1-745 0 0,1 1 1 0 0,-1-1-1 0 0,1 0 1 0 0,-1 0-1 0 0,1 0 0 0 0,-1 0 1 0 0,1 0-1 0 0,-1 0 1 0 0,1 0-1 0 0,-1 0 1 0 0,1 0-1 0 0,-1 0 0 0 0,0 0 1 0 0,1 0-1 0 0,-1-1 1 0 0,1 1-1 0 0,0 0 0 0 0,-1 0 1 0 0,1 0-1 0 0,-1-1 1 0 0,1 1-1 0 0,-1 0 0 0 0,1-1 1 0 0,-1 1-1 0 0,1 0 1 0 0,0-1-1 0 0,-1 0 1 0 0,-2-2 2 0 0,0-1 1 0 0,0 1-1 0 0,0-1 1 0 0,1 0-1 0 0,-1 0 1 0 0,1-1-1 0 0,0 1 1 0 0,0 0-1 0 0,1-1 1 0 0,-1 1-1 0 0,1-1 1 0 0,0 1-1 0 0,-1-7 1 0 0,0-8-162 0 0,0-35 0 0 0,2 48 129 0 0,1-20-76 0 0,1-1 0 0 0,1 1 0 0 0,1 0-1 0 0,1 0 1 0 0,2 0 0 0 0,0 1 0 0 0,2 0 0 0 0,1 0 0 0 0,1 1 0 0 0,1 1 0 0 0,0-1 0 0 0,2 2 0 0 0,1 0 0 0 0,1 1-1 0 0,33-35 1 0 0,-39 47-334 0 0,-1 1 0 0 0,1 0-1 0 0,1 1 1 0 0,-1 0-1 0 0,1 1 1 0 0,23-10 0 0 0,-26 13-510 0 0,0 0 1 0 0,0 1-1 0 0,0 0 1 0 0,1 1-1 0 0,-1 0 1 0 0,12-1 0 0 0,-13 3-1982 0 0,5 4-862 0 0</inkml:trace>
  <inkml:trace contextRef="#ctx0" brushRef="#br0" timeOffset="1">36 344 168 0 0,'-31'28'5403'0'0,"31"-28"-5317"0"0,-1 0 1 0 0,1 1-1 0 0,0-1 1 0 0,-1 0-1 0 0,1 1 1 0 0,0-1 0 0 0,-1 1-1 0 0,1-1 1 0 0,0 0-1 0 0,0 1 1 0 0,0-1-1 0 0,-1 1 1 0 0,1-1 0 0 0,0 1-1 0 0,0-1 1 0 0,0 0-1 0 0,0 1 1 0 0,0-1-1 0 0,0 1 1 0 0,0-1 0 0 0,0 1-1 0 0,0-1 1 0 0,0 1-1 0 0,0-1 1 0 0,0 1 0 0 0,0-1-1 0 0,0 1 1 0 0,0-1-1 0 0,0 0 1 0 0,1 1-1 0 0,-1-1 1 0 0,0 1 0 0 0,0-1-1 0 0,1 1 1 0 0,-1-1-1 0 0,0 0 1 0 0,0 1-1 0 0,1-1 1 0 0,-1 0 0 0 0,0 1-1 0 0,1-1 1 0 0,-1 0-1 0 0,1 1 1 0 0,-1-1 0 0 0,0 0-1 0 0,1 0 1 0 0,-1 0-1 0 0,1 1 1 0 0,-1-1-1 0 0,1 0 1 0 0,21 9 1453 0 0,1-6-1013 0 0,1 0 0 0 0,0-1 0 0 0,27-2-1 0 0,24 2-782 0 0,-67-1 135 0 0,42 3-2101 0 0,-1 3-3830 0 0,-33-3 3474 0 0</inkml:trace>
</inkml:ink>
</file>

<file path=ppt/ink/ink4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7.1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6 72 1104 0 0,'1'-3'287'0'0,"0"0"0"0"0,0 1-1 0 0,0-1 1 0 0,-1 0 0 0 0,1 0 0 0 0,-1 1 0 0 0,0-1-1 0 0,0 0 1 0 0,0 0 0 0 0,0 0 0 0 0,0 0-1 0 0,0 1 1 0 0,-1-1 0 0 0,0 0 0 0 0,1 0 0 0 0,-1 1-1 0 0,0-1 1 0 0,0 1 0 0 0,-1-1 0 0 0,1 1-1 0 0,-1-1 1 0 0,-1-2 0 0 0,2 4-247 0 0,0 0 0 0 0,-1 1 0 0 0,1-1 0 0 0,0 0 0 0 0,0 1 0 0 0,-1-1 1 0 0,1 1-1 0 0,-1-1 0 0 0,1 1 0 0 0,0 0 0 0 0,-1-1 0 0 0,1 1 0 0 0,-1 0 0 0 0,1 0 0 0 0,-1 0 0 0 0,1 0 0 0 0,-1 0 0 0 0,1 1 0 0 0,0-1 0 0 0,-1 0 0 0 0,1 1 0 0 0,-2 0 1 0 0,-30 11 410 0 0,16-3-245 0 0,0 1 0 0 0,1 1 0 0 0,0 1 0 0 0,1 0 1 0 0,0 1-1 0 0,1 0 0 0 0,0 1 0 0 0,1 1 0 0 0,1 0 0 0 0,0 1 0 0 0,1 0 0 0 0,1 1 1 0 0,0 0-1 0 0,2 1 0 0 0,0 0 0 0 0,-11 35 0 0 0,18-44-136 0 0,-1 1 0 0 0,2-1-1 0 0,-1 1 1 0 0,1 0 0 0 0,0-1 0 0 0,1 1 0 0 0,0-1-1 0 0,1 1 1 0 0,0-1 0 0 0,0 0 0 0 0,1 0-1 0 0,1 1 1 0 0,-1-2 0 0 0,1 1 0 0 0,1 0-1 0 0,-1-1 1 0 0,1 0 0 0 0,1 0 0 0 0,0 0-1 0 0,0-1 1 0 0,11 10 0 0 0,-12-11-13 0 0,0-1-1 0 0,1 0 1 0 0,0-1 0 0 0,0 1-1 0 0,0-1 1 0 0,0-1 0 0 0,1 1-1 0 0,-1-1 1 0 0,1 0 0 0 0,0 0-1 0 0,0-1 1 0 0,0 0 0 0 0,0 0-1 0 0,0-1 1 0 0,1 0 0 0 0,-1 0-1 0 0,1 0 1 0 0,-1-1 0 0 0,0 0-1 0 0,1-1 1 0 0,-1 0 0 0 0,0 0-1 0 0,1 0 1 0 0,-1-1 0 0 0,0 0-1 0 0,0-1 1 0 0,0 1 0 0 0,7-5-1 0 0,-9 4-43 0 0,0 0 0 0 0,-1 0 0 0 0,1-1 0 0 0,-1 1 0 0 0,1-1 0 0 0,-1 0 0 0 0,0 0 0 0 0,-1-1 0 0 0,1 1 0 0 0,-1-1-1 0 0,1 1 1 0 0,-2-1 0 0 0,1 0 0 0 0,0-1 0 0 0,-1 1 0 0 0,0 0 0 0 0,0-1 0 0 0,-1 1 0 0 0,1-1 0 0 0,-1 1 0 0 0,0-1 0 0 0,-1 0-1 0 0,0 0 1 0 0,1 1 0 0 0,-2-1 0 0 0,1 0 0 0 0,-3-10 0 0 0,1 2-136 0 0,-2 1-1 0 0,0 0 1 0 0,0-1 0 0 0,-1 2-1 0 0,-1-1 1 0 0,0 0-1 0 0,-1 1 1 0 0,0 0 0 0 0,-1 1-1 0 0,-12-15 1 0 0,7 12-676 0 0,0 0-1 0 0,-24-19 1 0 0,28 27-1142 0 0,-1-1 0 0 0,0 1 0 0 0,-13-5 0 0 0,13 6-253 0 0</inkml:trace>
</inkml:ink>
</file>

<file path=ppt/ink/ink4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7.6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712 0 0,'7'4'508'0'0,"-1"0"0"0"0,0 0 0 0 0,0 0 0 0 0,0 1 1 0 0,0 0-1 0 0,-1 0 0 0 0,0 0 0 0 0,0 1 0 0 0,-1-1 0 0 0,1 1 0 0 0,-1 1 0 0 0,0-1 0 0 0,-1 0 0 0 0,1 1 0 0 0,-1 0 0 0 0,3 10 1 0 0,3 12 756 0 0,-2 1 0 0 0,7 49 0 0 0,-11-61-661 0 0,3 51 3695 0 0,-6-70-4273 0 0,-1 0-1 0 0,1 0 1 0 0,-1 0-1 0 0,1 0 1 0 0,-1 0 0 0 0,1 0-1 0 0,0 0 1 0 0,-1 0-1 0 0,1 0 1 0 0,0 0-1 0 0,0 0 1 0 0,0 0-1 0 0,0 0 1 0 0,0 0-1 0 0,0 0 1 0 0,0-2-1 0 0,1-20-10 0 0,1 12-44 0 0,1 0 0 0 0,0-1-1 0 0,0 1 1 0 0,1 0 0 0 0,1 0 0 0 0,11-19 0 0 0,-12 23 5 0 0,0 0 0 0 0,1 0 0 0 0,0 1 0 0 0,0 0 0 0 0,1 0 0 0 0,-1 0 0 0 0,1 1 0 0 0,1 0 0 0 0,-1 0 0 0 0,1 0 0 0 0,7-3 0 0 0,-11 7 15 0 0,-1-1 0 0 0,1 1 0 0 0,0 0 0 0 0,0 0 0 0 0,1 0 0 0 0,-1 1 0 0 0,0-1 0 0 0,0 1 0 0 0,0 0 0 0 0,0 0 0 0 0,1 0 0 0 0,-1 0 0 0 0,0 0 0 0 0,0 1 0 0 0,0-1 0 0 0,6 3 0 0 0,-4-1 7 0 0,-1 0-1 0 0,0 0 1 0 0,0 1-1 0 0,0-1 1 0 0,0 1 0 0 0,0 0-1 0 0,0 1 1 0 0,-1-1-1 0 0,1 0 1 0 0,3 5-1 0 0,0 3 16 0 0,1 0-1 0 0,-1 1 0 0 0,-1 0 1 0 0,0 0-1 0 0,0 0 0 0 0,-2 1 0 0 0,5 15 1 0 0,-3-6 106 0 0,-1-7 302 0 0,-1 0 0 0 0,-1-1 0 0 0,2 26 0 0 0,3-66-266 0 0,-5 11-164 0 0,1 0-1 0 0,0 0 1 0 0,1 0-1 0 0,0 1 1 0 0,9-16-1 0 0,-10 22-30 0 0,1 1 0 0 0,0 0 0 0 0,0 0 0 0 0,0 1 1 0 0,1-1-1 0 0,0 1 0 0 0,0 0 0 0 0,1 1 0 0 0,0 0 0 0 0,13-8 0 0 0,-18 11 30 0 0,0 1-1 0 0,0 0 1 0 0,0 0 0 0 0,1 0 0 0 0,-1 1 0 0 0,0-1-1 0 0,1 0 1 0 0,-1 1 0 0 0,1 0 0 0 0,-1-1 0 0 0,0 1-1 0 0,1 0 1 0 0,-1 0 0 0 0,1 0 0 0 0,-1 1 0 0 0,0-1-1 0 0,1 1 1 0 0,-1-1 0 0 0,1 1 0 0 0,-1 0 0 0 0,0 0-1 0 0,0 0 1 0 0,0 0 0 0 0,1 0 0 0 0,-1 0 0 0 0,0 1-1 0 0,0-1 1 0 0,0 1 0 0 0,-1-1 0 0 0,1 1-1 0 0,0 0 1 0 0,-1 0 0 0 0,1 0 0 0 0,-1 0 0 0 0,3 4-1 0 0,0 0-186 0 0,-1 0 0 0 0,1 1-1 0 0,-1 0 1 0 0,0 0-1 0 0,-1 0 1 0 0,1 0 0 0 0,-1 0-1 0 0,-1 0 1 0 0,0 1-1 0 0,1 12 1 0 0,-3 1-2435 0 0,-6 37-1 0 0,2-24-3790 0 0</inkml:trace>
</inkml:ink>
</file>

<file path=ppt/ink/ink4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8.3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4 188 0 0,'8'-14'3740'0'0,"-8"13"-3593"0"0,1 1 0 0 0,-1-1 0 0 0,1 1 0 0 0,-1-1 0 0 0,1 1 0 0 0,-1 0 0 0 0,1-1 0 0 0,-1 1 0 0 0,1 0 0 0 0,0-1 0 0 0,-1 1 1 0 0,1 0-1 0 0,0 0 0 0 0,-1-1 0 0 0,1 1 0 0 0,0 0 0 0 0,-1 0 0 0 0,1 0 0 0 0,0 0 0 0 0,-1 0 0 0 0,1 0 0 0 0,0 0 0 0 0,-1 0 0 0 0,1 0 0 0 0,0 1 0 0 0,1-1 0 0 0,-1 1-7 0 0,0 0 0 0 0,0 0 0 0 0,0 0 0 0 0,0 0 0 0 0,0 0 0 0 0,0 0 0 0 0,0 0 0 0 0,0 0 0 0 0,0 0 0 0 0,0 0 0 0 0,-1 1 0 0 0,2 1 0 0 0,2 7 176 0 0,0-1-1 0 0,-1 1 1 0 0,2 11-1 0 0,-4-14 127 0 0,16 93 1836 0 0,-7-28-1331 0 0,-7-27 1646 0 0,-3-34-1094 0 0,-3-16-1255 0 0,3 4-241 0 0,-1 1 0 0 0,1 0 0 0 0,0 0 0 0 0,-1 0 0 0 0,1-1 0 0 0,0 1 0 0 0,0 0 1 0 0,-1-1-1 0 0,1 1 0 0 0,0 0 0 0 0,0-1 0 0 0,-1 1 0 0 0,1 0 0 0 0,0-1 0 0 0,0 1 0 0 0,0 0 0 0 0,0-1 0 0 0,-1 1 0 0 0,1 0 0 0 0,0-1 0 0 0,0 1 0 0 0,0-1 0 0 0,0 1 0 0 0,0 0 1 0 0,0-1-1 0 0,0 1 0 0 0,0 0 0 0 0,0-1 0 0 0,1-12-29 0 0,0 0-1 0 0,1 1 1 0 0,0-1 0 0 0,1 1 0 0 0,0 0 0 0 0,1 0-1 0 0,0 0 1 0 0,11-22 0 0 0,-12 29 3 0 0,0-1 1 0 0,0 1-1 0 0,1-1 1 0 0,0 1-1 0 0,0 0 0 0 0,0 0 1 0 0,0 1-1 0 0,1-1 0 0 0,-1 1 1 0 0,1 0-1 0 0,0 0 1 0 0,1 1-1 0 0,-1-1 0 0 0,1 1 1 0 0,-1 1-1 0 0,1-1 1 0 0,0 1-1 0 0,0-1 0 0 0,11-1 1 0 0,-12 4 16 0 0,0 0 1 0 0,0 0-1 0 0,0 0 1 0 0,-1 1-1 0 0,1 0 1 0 0,0 0-1 0 0,0 0 1 0 0,0 1-1 0 0,-1-1 1 0 0,1 1-1 0 0,-1 0 1 0 0,1 0-1 0 0,-1 1 1 0 0,0-1-1 0 0,0 1 1 0 0,7 6-1 0 0,4 4 32 0 0,-1 2 0 0 0,22 26 1 0 0,-20-22-10 0 0,-9-10 11 0 0,0-1 0 0 0,1 0-1 0 0,0 0 1 0 0,0-1 0 0 0,1 0-1 0 0,0 0 1 0 0,12 6 0 0 0,-17-11-71 0 0,0 0 0 0 0,0-1 1 0 0,-1 0-1 0 0,1 0 0 0 0,0 0 1 0 0,0 0-1 0 0,0 0 0 0 0,1-1 0 0 0,-1 0 1 0 0,0 0-1 0 0,0 0 0 0 0,0 0 1 0 0,0-1-1 0 0,0 1 0 0 0,0-1 1 0 0,0 0-1 0 0,0-1 0 0 0,0 1 0 0 0,-1 0 1 0 0,1-1-1 0 0,0 0 0 0 0,-1 0 1 0 0,4-3-1 0 0,0 1-176 0 0,-1-1 0 0 0,0-1 0 0 0,0 1 1 0 0,-1-1-1 0 0,0 0 0 0 0,0 0 0 0 0,0-1 0 0 0,-1 0 0 0 0,0 1 1 0 0,5-12-1 0 0,3-10-191 0 0,12-40 0 0 0,-18 48 599 0 0,0 0 235 0 0,7-19 495 0 0,-12 37-241 0 0,7 129 825 0 0,-2-63-4067 0 0,-4 3-6900 0 0,-2-57 5827 0 0</inkml:trace>
</inkml:ink>
</file>

<file path=ppt/ink/ink4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8.6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103 1252 0 0,'-8'-16'1572'0'0,"6"0"-452"0"0,-2 3-136 0 0,2 1-311 0 0,-2 1-61 0 0,2 2 68 0 0,-4-7-708 0 0,2 7-408 0 0</inkml:trace>
</inkml:ink>
</file>

<file path=ppt/ink/ink4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9.0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8 37 552 0 0,'3'-1'1319'0'0,"-3"1"-1145"0"0,17-5 2074 0 0,-16 5-2117 0 0,0 0-1 0 0,-1-1 1 0 0,1 1 0 0 0,-1 0 0 0 0,1 0 0 0 0,-1-1-1 0 0,1 1 1 0 0,0 0 0 0 0,-1-1 0 0 0,1 1 0 0 0,-1 0-1 0 0,1-1 1 0 0,-1 1 0 0 0,0-1 0 0 0,1 1-1 0 0,-1-1 1 0 0,1 1 0 0 0,-1-1 0 0 0,0 1 0 0 0,1-1-1 0 0,-1 1 1 0 0,0-1 0 0 0,0 0 0 0 0,0 1-1 0 0,1-1 1 0 0,-1 0 0 0 0,0 0-68 0 0,-1 0-1 0 0,1 0 1 0 0,0 0 0 0 0,-1 0-1 0 0,1 0 1 0 0,0 0 0 0 0,-1 0-1 0 0,1 1 1 0 0,-1-1 0 0 0,0 0-1 0 0,1 0 1 0 0,-1 1-1 0 0,0-1 1 0 0,1 0 0 0 0,-1 1-1 0 0,0-1 1 0 0,0 1 0 0 0,1-1-1 0 0,-1 1 1 0 0,0-1 0 0 0,0 1-1 0 0,0-1 1 0 0,0 1 0 0 0,0 0-1 0 0,0 0 1 0 0,0-1-1 0 0,1 1 1 0 0,-1 0 0 0 0,0 0-1 0 0,0 0 1 0 0,-2 0 0 0 0,-1 0 58 0 0,-1 0 0 0 0,1 1 0 0 0,0-1 0 0 0,-1 1 0 0 0,-7 2 1 0 0,0 2 75 0 0,-1 0-1 0 0,1 0 1 0 0,0 1 0 0 0,0 1 0 0 0,1 0 0 0 0,0 1 0 0 0,0 0 0 0 0,-10 10 0 0 0,14-11-77 0 0,0 0-1 0 0,0 1 1 0 0,1-1-1 0 0,1 1 1 0 0,-1 0-1 0 0,1 0 1 0 0,0 1-1 0 0,1 0 1 0 0,0 0-1 0 0,1 0 1 0 0,-4 14 0 0 0,7-23-111 0 0,0 1 1 0 0,0 0-1 0 0,0 0 1 0 0,0 0-1 0 0,0 0 1 0 0,0 0 0 0 0,0 0-1 0 0,1 0 1 0 0,-1 0-1 0 0,0 0 1 0 0,1-1 0 0 0,-1 1-1 0 0,0 0 1 0 0,1 0-1 0 0,-1 0 1 0 0,1-1-1 0 0,0 1 1 0 0,-1 0 0 0 0,1-1-1 0 0,0 1 1 0 0,-1 0-1 0 0,1-1 1 0 0,0 1-1 0 0,-1-1 1 0 0,1 1 0 0 0,0-1-1 0 0,0 1 1 0 0,0-1-1 0 0,0 0 1 0 0,1 1-1 0 0,1 0-18 0 0,-1 0-1 0 0,1 0 0 0 0,0 0 1 0 0,0-1-1 0 0,0 1 0 0 0,0-1 1 0 0,0 1-1 0 0,0-1 0 0 0,5-1 1 0 0,37-9-474 0 0,-32 7 319 0 0,0-1 0 0 0,0 2 0 0 0,0 0 0 0 0,17-1 0 0 0,-26 3 156 0 0,-1 0 0 0 0,1 1 0 0 0,0-1 0 0 0,0 1 0 0 0,0 0 0 0 0,-1 0 0 0 0,1 0 0 0 0,-1 0 0 0 0,1 1 0 0 0,-1-1 0 0 0,1 1 0 0 0,-1 0 0 0 0,0 0 0 0 0,0 0 0 0 0,1 0 0 0 0,-2 1 0 0 0,1-1 0 0 0,0 1 0 0 0,4 5 0 0 0,-1 2 129 0 0,0 0 0 0 0,0 0-1 0 0,-1 1 1 0 0,-1-1 0 0 0,0 1 0 0 0,0 0 0 0 0,-1 1 0 0 0,0-1-1 0 0,-1 0 1 0 0,0 1 0 0 0,-1 0 0 0 0,-1-1 0 0 0,0 22 0 0 0,-2-8 325 0 0,-1 0 0 0 0,-1 0 0 0 0,-2 0 0 0 0,0 0 1 0 0,-12 30-1 0 0,15-48-208 0 0,1 0 0 0 0,-1 0 0 0 0,0-1 0 0 0,-1 1 0 0 0,0-1 0 0 0,0 0 0 0 0,0 0 0 0 0,-1 0 0 0 0,1 0 0 0 0,-2-1 0 0 0,1 0 0 0 0,0 0 0 0 0,-1 0 0 0 0,0-1 0 0 0,0 1 0 0 0,0-1 0 0 0,-8 3 0 0 0,12-6-206 0 0,-1-1-1 0 0,1 1 1 0 0,0-1 0 0 0,0 1 0 0 0,0-1 0 0 0,-1 0 0 0 0,1 0 0 0 0,0 0 0 0 0,0 0 0 0 0,-1 0 0 0 0,1 0-1 0 0,0-1 1 0 0,0 1 0 0 0,0-1 0 0 0,0 1 0 0 0,-1-1 0 0 0,1 0 0 0 0,0 0 0 0 0,0 0 0 0 0,0 0 0 0 0,1 0-1 0 0,-1-1 1 0 0,0 1 0 0 0,0-1 0 0 0,1 1 0 0 0,-1-1 0 0 0,1 1 0 0 0,-1-1 0 0 0,1 0 0 0 0,-2-2 0 0 0,-2-3-140 0 0,0-1 1 0 0,1 0-1 0 0,0 0 1 0 0,0-1 0 0 0,-4-13-1 0 0,5 9-498 0 0,0 0-1 0 0,0 0 1 0 0,1 0-1 0 0,1-1 1 0 0,0 1-1 0 0,1-1 1 0 0,0 1-1 0 0,2 0 0 0 0,2-19 1 0 0,0 15-926 0 0,1 0 0 0 0,0 0 1 0 0,1 1-1 0 0,0 0 0 0 0,2 0 0 0 0,15-25 1 0 0,-13 24-775 0 0</inkml:trace>
</inkml:ink>
</file>

<file path=ppt/ink/ink4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9.3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75 300 0 0,'10'-13'1746'0'0,"1"0"1"0"0,0 1-1 0 0,22-19 0 0 0,-32 31-1627 0 0,0-1 0 0 0,0 0 0 0 0,1 1 0 0 0,-1-1 0 0 0,0 0 0 0 0,1 1 0 0 0,-1 0 0 0 0,0-1 0 0 0,1 1 0 0 0,-1 0 0 0 0,1 0 0 0 0,-1-1 0 0 0,1 1 0 0 0,-1 0 0 0 0,0 1 0 0 0,1-1 0 0 0,-1 0 0 0 0,1 0 0 0 0,-1 1 0 0 0,1-1 0 0 0,-1 0 0 0 0,0 1 0 0 0,1-1 0 0 0,-1 1 0 0 0,0 0 0 0 0,0 0 0 0 0,1-1 0 0 0,-1 1 0 0 0,0 0 0 0 0,0 0 0 0 0,0 0 0 0 0,0 0 0 0 0,0 0 0 0 0,0 0 0 0 0,0 0 0 0 0,0 1 0 0 0,-1-1 0 0 0,2 2 0 0 0,3 5 443 0 0,1 1-1 0 0,-1 0 0 0 0,6 19 1 0 0,-9-25-333 0 0,7 21 361 0 0,-2 0 1 0 0,0 0-1 0 0,-2 1 1 0 0,5 47-1 0 0,-8-17-1890 0 0,-4 65-1 0 0,-2-69-3498 0 0,6-40 1095 0 0</inkml:trace>
</inkml:ink>
</file>

<file path=ppt/ink/ink4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29.7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9 222 1684 0 0,'0'0'5467'0'0,"-3"2"-4420"0"0,-3 3-748 0 0,-1 1-1 0 0,1 0 0 0 0,0 0 1 0 0,1 0-1 0 0,-1 1 1 0 0,1 0-1 0 0,1 0 1 0 0,-1 0-1 0 0,1 1 1 0 0,0-1-1 0 0,1 1 1 0 0,0 0-1 0 0,0 0 1 0 0,1 0-1 0 0,0 0 1 0 0,0 1-1 0 0,1-1 1 0 0,0 1-1 0 0,0 15 0 0 0,1-18-249 0 0,0 0 0 0 0,1 0 0 0 0,0 0-1 0 0,0 0 1 0 0,0 0 0 0 0,1 0-1 0 0,-1-1 1 0 0,1 1 0 0 0,1 0-1 0 0,-1-1 1 0 0,1 1 0 0 0,0-1-1 0 0,0 0 1 0 0,1 0 0 0 0,0 0-1 0 0,-1-1 1 0 0,1 1 0 0 0,1-1 0 0 0,-1 0-1 0 0,1 0 1 0 0,0 0 0 0 0,0-1-1 0 0,0 1 1 0 0,0-1 0 0 0,0 0-1 0 0,1-1 1 0 0,-1 0 0 0 0,13 4-1 0 0,-12-5-40 0 0,1 1 0 0 0,-1-1 0 0 0,1-1-1 0 0,-1 1 1 0 0,1-1 0 0 0,0 0 0 0 0,-1-1-1 0 0,1 1 1 0 0,-1-2 0 0 0,1 1 0 0 0,-1 0-1 0 0,1-1 1 0 0,-1-1 0 0 0,0 1-1 0 0,9-5 1 0 0,-12 5-33 0 0,0 0 0 0 0,0 0 0 0 0,0 0 0 0 0,0-1 0 0 0,-1 1 0 0 0,1-1 0 0 0,0 1 0 0 0,-1-1 0 0 0,0 0 0 0 0,0 0 0 0 0,0 0 0 0 0,0 0 0 0 0,0-1 0 0 0,-1 1 0 0 0,0 0 0 0 0,1-1 0 0 0,-1 1 0 0 0,0-1 0 0 0,-1 1 0 0 0,1-1 0 0 0,0 0 0 0 0,-1 1 0 0 0,0-1 0 0 0,0 0 0 0 0,0 1 0 0 0,-1-1 0 0 0,1 0 0 0 0,-1 1 0 0 0,-1-7 0 0 0,-1 2 0 0 0,0 1 1 0 0,0 0-1 0 0,-1-1 0 0 0,1 1 1 0 0,-2 1-1 0 0,1-1 1 0 0,-1 0-1 0 0,0 1 1 0 0,0 0-1 0 0,-1 0 1 0 0,1 1-1 0 0,-1 0 0 0 0,-1 0 1 0 0,-7-5-1 0 0,-43-23-1871 0 0,1 8-3812 0 0,45 16 1132 0 0</inkml:trace>
  <inkml:trace contextRef="#ctx0" brushRef="#br0" timeOffset="1">421 4 1744 0 0,'3'-1'1756'0'0,"-2"1"-1580"0"0,-1-1 0 0 0,1 1 0 0 0,0 0 0 0 0,0-1 0 0 0,0 1 0 0 0,0 0 0 0 0,1 0 0 0 0,-1 0-1 0 0,0 0 1 0 0,0 0 0 0 0,0 0 0 0 0,0 0 0 0 0,0 0 0 0 0,0 0 0 0 0,0 1 0 0 0,0-1 0 0 0,0 0 0 0 0,0 0 0 0 0,0 1 0 0 0,0-1 0 0 0,-1 1 0 0 0,1-1 0 0 0,0 1 0 0 0,0-1 0 0 0,0 1 0 0 0,0 0 0 0 0,-1-1 0 0 0,1 1 0 0 0,0 0 0 0 0,0 0 0 0 0,-1 0 0 0 0,1-1 0 0 0,-1 1 0 0 0,1 0 0 0 0,-1 0 0 0 0,1 0 0 0 0,0 2 0 0 0,2 7 472 0 0,0 0 0 0 0,0 1 0 0 0,-1 0 0 0 0,0 0 0 0 0,0 14 0 0 0,1 9 425 0 0,19 123 2174 0 0,-5-26-2153 0 0,6-3-3803 0 0,-23-127 2508 0 0,0 1 0 0 0,1-1 0 0 0,-1 0 0 0 0,1 0 0 0 0,-1 0 0 0 0,1 1 0 0 0,-1-1 0 0 0,1 0 0 0 0,-1 0 0 0 0,1 0 0 0 0,0 0 0 0 0,0 0 0 0 0,0 0 0 0 0,-1 0 0 0 0,1 0 1 0 0,0 0-1 0 0,2 0 0 0 0,17-3-7067 0 0,-9-7 3777 0 0</inkml:trace>
</inkml:ink>
</file>

<file path=ppt/ink/ink4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30.0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 29 1908 0 0,'-3'0'3642'0'0,"-16"0"155"0"0,33-8-2332 0 0,19 2-934 0 0,41-2 0 0 0,-1 4-2995 0 0,-34 2-1846 0 0</inkml:trace>
</inkml:ink>
</file>

<file path=ppt/ink/ink4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30.4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4 0 1484 0 0,'-64'18'11150'0'0,"78"-13"-9902"0"0,-13-5-1191 0 0,1 1 0 0 0,0-1 0 0 0,-1 1 0 0 0,1-1 0 0 0,0 0 0 0 0,0 0 0 0 0,0 0 1 0 0,-1 0-1 0 0,1 0 0 0 0,0 0 0 0 0,0 0 0 0 0,-1-1 0 0 0,3 1 0 0 0,4-2 75 0 0,67-3 898 0 0,2 1-1702 0 0,-26 5-3025 0 0,-43 0 1947 0 0,-1 0 803 0 0,2 2-2251 0 0,6 2 23 0 0</inkml:trace>
</inkml:ink>
</file>

<file path=ppt/ink/ink4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3.7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4 22 184 0 0,'-2'-2'465'0'0,"0"0"0"0"0,0 0 0 0 0,-1 0 0 0 0,1 0-1 0 0,-1 1 1 0 0,1-1 0 0 0,-1 1 0 0 0,1 0 0 0 0,-1-1 0 0 0,0 1 0 0 0,0 0 0 0 0,0 1 0 0 0,0-1 0 0 0,-4 0-1 0 0,4 1-287 0 0,0 0-1 0 0,0 1 1 0 0,0 0-1 0 0,0-1 0 0 0,0 1 1 0 0,0 0-1 0 0,0 0 1 0 0,0 1-1 0 0,1-1 1 0 0,-1 1-1 0 0,0-1 0 0 0,1 1 1 0 0,0 0-1 0 0,-4 3 1 0 0,-9 8 306 0 0,2 1 0 0 0,0 1 0 0 0,0 0 0 0 0,2 0 0 0 0,0 1 0 0 0,0 1 0 0 0,-13 29 0 0 0,11-16-8 0 0,1 2-1 0 0,1-1 1 0 0,-11 55 0 0 0,19-71-338 0 0,1 1 0 0 0,1 0-1 0 0,1-1 1 0 0,0 1 0 0 0,0 0 0 0 0,2-1 0 0 0,0 1 0 0 0,1 0 0 0 0,7 21 0 0 0,-8-29-86 0 0,1-1 1 0 0,0 1-1 0 0,0-1 1 0 0,0 0 0 0 0,1 0-1 0 0,0-1 1 0 0,1 1-1 0 0,-1-1 1 0 0,1 0-1 0 0,0 0 1 0 0,1 0 0 0 0,0-1-1 0 0,-1 0 1 0 0,2 0-1 0 0,-1-1 1 0 0,0 1 0 0 0,1-1-1 0 0,0 0 1 0 0,0-1-1 0 0,13 5 1 0 0,-16-7-52 0 0,-1 0 0 0 0,0 0 1 0 0,1-1-1 0 0,-1 1 0 0 0,1-1 0 0 0,-1 0 0 0 0,1 0 1 0 0,-1 0-1 0 0,1 0 0 0 0,-1 0 0 0 0,1-1 1 0 0,-1 0-1 0 0,0 0 0 0 0,1 0 0 0 0,-1 0 0 0 0,0 0 1 0 0,0-1-1 0 0,1 1 0 0 0,-1-1 0 0 0,0 0 0 0 0,0 0 1 0 0,-1 0-1 0 0,1 0 0 0 0,0 0 0 0 0,-1-1 0 0 0,1 1 1 0 0,-1-1-1 0 0,0 0 0 0 0,0 0 0 0 0,0 1 1 0 0,0-1-1 0 0,-1-1 0 0 0,1 1 0 0 0,-1 0 0 0 0,0 0 1 0 0,1-1-1 0 0,-1 1 0 0 0,-1 0 0 0 0,1-1 0 0 0,-1 1 1 0 0,1-1-1 0 0,-1 1 0 0 0,0-1 0 0 0,0 1 0 0 0,0-1 1 0 0,-1 1-1 0 0,1-1 0 0 0,-1 1 0 0 0,0 0 1 0 0,0-1-1 0 0,0 1 0 0 0,0 0 0 0 0,-1 0 0 0 0,1-1 1 0 0,-1 1-1 0 0,0 0 0 0 0,0 1 0 0 0,0-1 0 0 0,-4-4 1 0 0,-1 0-220 0 0,0 0-1 0 0,-1 1 1 0 0,0 0 0 0 0,0 1 0 0 0,0 0 0 0 0,-1 0 0 0 0,-16-7 0 0 0,-3 3-3082 0 0,-37-9 1 0 0,36 11-1153 0 0,17 4 1632 0 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09.8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0 17 1148 0 0,'-5'-15'7141'0'0,"4"14"-6721"0"0,-5 11 2286 0 0,-4 38-2699 0 0,8-36 924 0 0,-9 67 29 0 0,-2 95-1 0 0,4-43-1138 0 0,0-76-973 0 0,0-16-4139 0 0,8-35 4154 0 0,-3 11-2972 0 0</inkml:trace>
</inkml:ink>
</file>

<file path=ppt/ink/ink4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4.1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 12 432 0 0,'9'-5'1459'0'0,"-8"5"-1193"0"0,-1-1 0 0 0,1 0 0 0 0,0 1 0 0 0,0-1 0 0 0,-1 1 1 0 0,1-1-1 0 0,0 1 0 0 0,0-1 0 0 0,0 1 0 0 0,0 0 0 0 0,0-1 1 0 0,0 1-1 0 0,-1 0 0 0 0,1 0 0 0 0,0-1 0 0 0,0 1 0 0 0,0 0 1 0 0,0 0-1 0 0,0 0 0 0 0,0 0 0 0 0,0 1 0 0 0,0-1 0 0 0,0 0 1 0 0,0 0-1 0 0,0 0 0 0 0,0 1 0 0 0,0-1 0 0 0,0 0 0 0 0,1 2 1 0 0,-2-1-157 0 0,-1 1 1 0 0,1-1-1 0 0,-1 1 1 0 0,1-1-1 0 0,-1 1 1 0 0,0-1-1 0 0,1 1 1 0 0,-1-1-1 0 0,0 0 1 0 0,-1 2 26 0 0,-5 10 254 0 0,2 0-1 0 0,-1 0 0 0 0,2 1 1 0 0,-1 0-1 0 0,2 0 0 0 0,0 0 0 0 0,1 0 1 0 0,0 0-1 0 0,1 29 0 0 0,1-38-302 0 0,0 1 0 0 0,1 0-1 0 0,0 0 1 0 0,0-1 0 0 0,0 1 0 0 0,1-1-1 0 0,0 1 1 0 0,0-1 0 0 0,0 1 0 0 0,1-1-1 0 0,-1 0 1 0 0,1 0 0 0 0,0 0-1 0 0,1-1 1 0 0,-1 1 0 0 0,1-1 0 0 0,0 0-1 0 0,0 0 1 0 0,1 0 0 0 0,-1 0 0 0 0,1-1-1 0 0,0 1 1 0 0,-1-1 0 0 0,1-1-1 0 0,1 1 1 0 0,-1-1 0 0 0,8 3 0 0 0,-8-4-40 0 0,0 0 1 0 0,0 0-1 0 0,0 0 0 0 0,0 0 1 0 0,0-1-1 0 0,1 0 1 0 0,-1 0-1 0 0,0-1 1 0 0,0 1-1 0 0,0-1 1 0 0,0 0-1 0 0,0-1 1 0 0,0 1-1 0 0,0-1 1 0 0,0 0-1 0 0,0 0 0 0 0,0 0 1 0 0,-1-1-1 0 0,0 0 1 0 0,1 0-1 0 0,-1 0 1 0 0,0 0-1 0 0,0-1 1 0 0,0 1-1 0 0,-1-1 1 0 0,0 0-1 0 0,1 0 1 0 0,-1 0-1 0 0,0-1 1 0 0,-1 1-1 0 0,1-1 0 0 0,-1 0 1 0 0,0 1-1 0 0,0-1 1 0 0,-1 0-1 0 0,1 0 1 0 0,-1 0-1 0 0,0 0 1 0 0,0-1-1 0 0,-1 1 1 0 0,0 0-1 0 0,0 0 1 0 0,0 0-1 0 0,0-1 0 0 0,-1 1 1 0 0,0 0-1 0 0,-1-5 1 0 0,-1 4-266 0 0,1-1-1 0 0,-1 1 1 0 0,-1 0 0 0 0,1 1 0 0 0,-1-1 0 0 0,0 0 0 0 0,0 1-1 0 0,-1 0 1 0 0,1 0 0 0 0,-1 0 0 0 0,0 1 0 0 0,-1 0-1 0 0,1 0 1 0 0,-1 0 0 0 0,0 0 0 0 0,0 1 0 0 0,0 0 0 0 0,0 0-1 0 0,0 1 1 0 0,-1 0 0 0 0,1 0 0 0 0,-9-1 0 0 0,9 2-570 0 0,0 0 0 0 0,1 0-1 0 0,-1 1 1 0 0,0 0 0 0 0,0 0 0 0 0,0 1 0 0 0,-5 1 0 0 0,3-1-1908 0 0</inkml:trace>
</inkml:ink>
</file>

<file path=ppt/ink/ink4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4.48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 1576 0 0,'44'-10'6839'0'0,"-42"9"-6044"0"0,4 5 250 0 0,-6-5-1017 0 0,1 1 1 0 0,-1 0 0 0 0,0 0 0 0 0,0 0-1 0 0,1 1 1 0 0,-1-1 0 0 0,0 0 0 0 0,1 0-1 0 0,-1 0 1 0 0,0 0 0 0 0,1 0 0 0 0,-1 0-1 0 0,0 0 1 0 0,1 0 0 0 0,-1 1 0 0 0,0-1-1 0 0,0 0 1 0 0,1 0 0 0 0,-1 0 0 0 0,0 1 0 0 0,0-1-1 0 0,1 0 1 0 0,-1 0 0 0 0,0 1 0 0 0,0-1-1 0 0,0 0 1 0 0,0 0 0 0 0,1 1 0 0 0,-1-1-1 0 0,0 0 1 0 0,0 1 0 0 0,0-1 0 0 0,0 1-1 0 0,-3 42 2213 0 0,1-36-2039 0 0,1 0-1 0 0,0 0 0 0 0,1 0 0 0 0,0 0 1 0 0,0 0-1 0 0,0 0 0 0 0,1 0 0 0 0,0 0 1 0 0,0 0-1 0 0,1 0 0 0 0,0 0 0 0 0,0 0 1 0 0,5 8-1 0 0,-3-8-18 0 0,1 0-1 0 0,1 0 1 0 0,0-1 0 0 0,0 0 0 0 0,0 0 0 0 0,0 0-1 0 0,1-1 1 0 0,0 0 0 0 0,0 0 0 0 0,1-1 0 0 0,-1 1-1 0 0,1-2 1 0 0,0 1 0 0 0,0-1 0 0 0,0 0-1 0 0,0-1 1 0 0,1 0 0 0 0,10 1 0 0 0,-13-2-80 0 0,1 0 0 0 0,-1-1 1 0 0,0 0-1 0 0,1 0 0 0 0,-1-1 1 0 0,0 0-1 0 0,0 0 0 0 0,0 0 0 0 0,0-1 1 0 0,0 0-1 0 0,9-4 0 0 0,-11 4-54 0 0,0 0 0 0 0,0-1 0 0 0,0 0 0 0 0,0 0-1 0 0,-1 0 1 0 0,1 0 0 0 0,-1-1 0 0 0,0 1 0 0 0,0-1 0 0 0,0 0-1 0 0,0 0 1 0 0,0 0 0 0 0,-1 0 0 0 0,0 0 0 0 0,0-1-1 0 0,2-5 1 0 0,-3 7-86 0 0,0-1-1 0 0,0 1 1 0 0,-1-1-1 0 0,1 0 1 0 0,-1 1-1 0 0,1-1 1 0 0,-1 0-1 0 0,-1 1 1 0 0,1-1-1 0 0,0 0 1 0 0,-1 1-1 0 0,0-1 1 0 0,0 1-1 0 0,0-1 1 0 0,0 1-1 0 0,0-1 1 0 0,-1 1-1 0 0,1 0 1 0 0,-1-1-1 0 0,0 1 1 0 0,0 0-1 0 0,0 0 1 0 0,-1 1-1 0 0,1-1 1 0 0,-1 0-1 0 0,0 1 1 0 0,-3-4-1 0 0,-1 1-649 0 0,0 0 0 0 0,0 1 0 0 0,0 0 0 0 0,-1 0 0 0 0,1 1 0 0 0,-1-1 0 0 0,0 2 0 0 0,0-1 0 0 0,0 1 0 0 0,0 0 0 0 0,-15-1-1 0 0,-12 2-5662 0 0</inkml:trace>
</inkml:ink>
</file>

<file path=ppt/ink/ink4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4.8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1 3 468 0 0,'15'-3'10651'0'0,"-35"18"-9310"0"0,11-6-970 0 0,1 0 0 0 0,0 1 0 0 0,1 0 0 0 0,0 0 0 0 0,1 1 0 0 0,-1 0 0 0 0,2 0 0 0 0,-8 21 0 0 0,12-27-250 0 0,0-1 0 0 0,-1 1 0 0 0,1 0 0 0 0,1 0 0 0 0,-1 0 0 0 0,1 0-1 0 0,0 0 1 0 0,0 0 0 0 0,1 0 0 0 0,-1 0 0 0 0,1 0 0 0 0,0 0-1 0 0,0 0 1 0 0,1-1 0 0 0,-1 1 0 0 0,1 0 0 0 0,0-1 0 0 0,1 1-1 0 0,-1-1 1 0 0,1 0 0 0 0,-1 0 0 0 0,1 0 0 0 0,1 0 0 0 0,3 5-1 0 0,-3-6-52 0 0,-1 1-1 0 0,1-1 0 0 0,-1 0 0 0 0,1 0 0 0 0,0 0 0 0 0,0 0 0 0 0,0 0 0 0 0,1-1 0 0 0,-1 0 0 0 0,1 0 1 0 0,-1 0-1 0 0,1 0 0 0 0,-1-1 0 0 0,1 0 0 0 0,0 0 0 0 0,0 0 0 0 0,0-1 0 0 0,0 1 0 0 0,9-2 1 0 0,-9 1-66 0 0,1-1 0 0 0,-1 0 1 0 0,0-1-1 0 0,1 1 0 0 0,-1-1 1 0 0,0 0-1 0 0,0 0 1 0 0,0-1-1 0 0,0 1 0 0 0,-1-1 1 0 0,1 0-1 0 0,-1-1 1 0 0,0 1-1 0 0,1-1 0 0 0,-2 0 1 0 0,1 0-1 0 0,0 0 1 0 0,-1 0-1 0 0,0-1 0 0 0,0 1 1 0 0,0-1-1 0 0,0 0 0 0 0,-1 0 1 0 0,0 0-1 0 0,0 0 1 0 0,0 0-1 0 0,-1 0 0 0 0,2-9 1 0 0,-2 8-178 0 0,-1-1 1 0 0,1 0-1 0 0,-2 0 1 0 0,1 0-1 0 0,-1 1 1 0 0,0-1-1 0 0,0 0 1 0 0,-1 1-1 0 0,1-1 1 0 0,-2 1 0 0 0,1-1-1 0 0,-1 1 1 0 0,0 0-1 0 0,0 0 1 0 0,0 0-1 0 0,-1 1 1 0 0,0-1-1 0 0,0 1 1 0 0,-8-8-1 0 0,7 9-416 0 0,0 0 1 0 0,-1 0-1 0 0,1 1 0 0 0,-1-1 0 0 0,0 1 1 0 0,1 0-1 0 0,-2 1 0 0 0,1-1 0 0 0,0 1 1 0 0,0 1-1 0 0,-1-1 0 0 0,1 1 0 0 0,-13-1 0 0 0,-1 1-2103 0 0</inkml:trace>
</inkml:ink>
</file>

<file path=ppt/ink/ink4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5.6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4 8 976 0 0,'-7'-8'6764'0'0,"6"8"-6542"0"0,-5 4 362 0 0,-1 0 0 0 0,1 0 0 0 0,0 0 0 0 0,0 1 0 0 0,0 0 0 0 0,-5 6 0 0 0,-34 40 1331 0 0,32-35-1357 0 0,-114 145 2154 0 0,106-129-3175 0 0,-27 53 0 0 0,45-79-43 0 0,-1 0 1 0 0,1 0 0 0 0,-1 0-1 0 0,-5 6 1 0 0,7-10-361 0 0,0 0 0 0 0,0 0 0 0 0,0 0 0 0 0,0-1 0 0 0,-1 1-1 0 0,1-1 1 0 0,-4 3 0 0 0</inkml:trace>
</inkml:ink>
</file>

<file path=ppt/ink/ink4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15.9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5 1012 0 0,'0'0'242'0'0,"5"-24"6297"0"0,-4 24-6375 0 0,6 1 253 0 0,-1 1 0 0 0,1 1 0 0 0,-1-1 0 0 0,1 1 0 0 0,-1 0 1 0 0,0 1-1 0 0,0-1 0 0 0,-1 1 0 0 0,7 6 0 0 0,54 49 2178 0 0,-46-39-1954 0 0,94 94 1843 0 0,-98-96-2870 0 0,-1 1 0 0 0,-1 0-1 0 0,0 1 1 0 0,17 35 0 0 0,-28-49-579 0 0,3 6-516 0 0</inkml:trace>
</inkml:ink>
</file>

<file path=ppt/ink/ink4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3.17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63 72 580 0 0,'-1'-1'214'0'0,"0"1"-1"0"0,-1 0 1 0 0,1-1 0 0 0,0 1 0 0 0,-1-1-1 0 0,1 0 1 0 0,0 1 0 0 0,0-1-1 0 0,0 0 1 0 0,0 0 0 0 0,0 0-1 0 0,0 0 1 0 0,0 0 0 0 0,0 0 0 0 0,-1-1-1 0 0,-3-4 49 0 0,3 5 23 0 0,-9-20 1081 0 0,9 18-1339 0 0,0 1 0 0 0,0-1 0 0 0,-1 1 0 0 0,1 0 0 0 0,-1 0 0 0 0,1 0 0 0 0,-1 0 1 0 0,0 0-1 0 0,0 1 0 0 0,0-1 0 0 0,1 1 0 0 0,-2 0 0 0 0,1 0 0 0 0,0 0 0 0 0,0 0 0 0 0,0 0 0 0 0,0 1 0 0 0,-6-1 0 0 0,-4 1 35 0 0,1 0 0 0 0,-1 0 0 0 0,-14 3 0 0 0,22-2-6 0 0,-14 1 26 0 0,-1 0 0 0 0,1 2 0 0 0,-1 0 1 0 0,-28 12-1 0 0,47-16-80 0 0,0 0 0 0 0,1 0 0 0 0,-1 1 0 0 0,0-1 1 0 0,0 1-1 0 0,1-1 0 0 0,-1 0 0 0 0,0 1 1 0 0,1-1-1 0 0,-1 1 0 0 0,1-1 0 0 0,-1 1 0 0 0,1-1 1 0 0,-1 1-1 0 0,1 0 0 0 0,-1-1 0 0 0,1 1 0 0 0,-1 0 1 0 0,1-1-1 0 0,0 1 0 0 0,-1 0 0 0 0,1 0 0 0 0,0-1 1 0 0,0 1-1 0 0,-1 0 0 0 0,1 0 0 0 0,0-1 1 0 0,0 1-1 0 0,0 0 0 0 0,0 0 0 0 0,0 0 0 0 0,0-1 1 0 0,0 1-1 0 0,0 0 0 0 0,1 0 0 0 0,-1-1 0 0 0,0 1 1 0 0,0 0-1 0 0,1 0 0 0 0,-1-1 0 0 0,0 1 0 0 0,1 0 1 0 0,-1-1-1 0 0,1 1 0 0 0,-1 0 0 0 0,1-1 1 0 0,0 2-1 0 0,3 3 10 0 0,1 0 1 0 0,0 0-1 0 0,0-1 0 0 0,7 6 1 0 0,-7-5-7 0 0,3 1 21 0 0,75 68-53 0 0,-74-64 100 0 0,1 1-1 0 0,-2 0 0 0 0,1 0 1 0 0,-2 1-1 0 0,14 25 1 0 0,-20-34 7 0 0,0 0 1 0 0,1 0-1 0 0,-1 0 1 0 0,0 0-1 0 0,-1 0 1 0 0,1 1-1 0 0,0-1 1 0 0,-1 0 0 0 0,0 0-1 0 0,0 1 1 0 0,0-1-1 0 0,0 0 1 0 0,0 0-1 0 0,-1 1 1 0 0,1-1-1 0 0,-1 0 1 0 0,0 0-1 0 0,-2 6 1 0 0,0-5 11 0 0,1 0 0 0 0,0-1 1 0 0,-1 0-1 0 0,0 1 0 0 0,0-1 0 0 0,0 0 1 0 0,0 0-1 0 0,-1 0 0 0 0,1-1 0 0 0,-1 1 1 0 0,1-1-1 0 0,-7 3 0 0 0,0-1 7 0 0,0 0-1 0 0,0 0 1 0 0,0-1-1 0 0,0-1 1 0 0,0 0 0 0 0,0 0-1 0 0,-1-1 1 0 0,1 0 0 0 0,-1-1-1 0 0,-15-1 1 0 0,14-1-71 0 0,2 1-323 0 0,1 0 0 0 0,0-1-1 0 0,0 0 1 0 0,-14-6 0 0 0,21 7-345 0 0,-6-5-2765 0 0,19-2 820 0 0,0 2 1443 0 0</inkml:trace>
</inkml:ink>
</file>

<file path=ppt/ink/ink4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3.5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0 16 908 0 0,'9'-8'1683'0'0,"-4"1"823"0"0,-12 9-2338 0 0,0 0-1 0 0,0 1 1 0 0,1 0 0 0 0,-1 0-1 0 0,1 1 1 0 0,0 0 0 0 0,0 0-1 0 0,0 0 1 0 0,1 1-1 0 0,-1 0 1 0 0,1 0 0 0 0,-8 10-1 0 0,9-10-14 0 0,0 0-1 0 0,0 1 0 0 0,1-1 1 0 0,0 1-1 0 0,0 0 0 0 0,0 0 1 0 0,0 0-1 0 0,1 0 0 0 0,0 0 1 0 0,1 0-1 0 0,-1 1 1 0 0,1-1-1 0 0,0 0 0 0 0,1 10 1 0 0,0-14-123 0 0,0-1 1 0 0,0 1-1 0 0,0-1 1 0 0,0 1-1 0 0,0-1 1 0 0,1 1-1 0 0,-1-1 1 0 0,1 1-1 0 0,-1-1 1 0 0,1 1-1 0 0,-1-1 1 0 0,1 0-1 0 0,0 1 1 0 0,0-1-1 0 0,0 0 1 0 0,0 0-1 0 0,0 0 1 0 0,0 1-1 0 0,0-1 1 0 0,0 0-1 0 0,0 0 1 0 0,0-1-1 0 0,0 1 1 0 0,1 0-1 0 0,-1 0 1 0 0,0 0-1 0 0,1-1 1 0 0,-1 1-1 0 0,1-1 1 0 0,-1 1-1 0 0,1-1 1 0 0,-1 0-1 0 0,1 1 1 0 0,-1-1-1 0 0,1 0 1 0 0,-1 0-1 0 0,1 0 1 0 0,-1 0-1 0 0,3-1 1 0 0,1 0 5 0 0,0 1 1 0 0,-1-1-1 0 0,1-1 1 0 0,0 1-1 0 0,-1-1 1 0 0,0 0 0 0 0,1 0-1 0 0,-1 0 1 0 0,0 0-1 0 0,0-1 1 0 0,5-4-1 0 0,70-71 1322 0 0,-78 77-1326 0 0,4-1 1 0 0,-5 2-35 0 0,0 0 1 0 0,0 0 0 0 0,1-1 0 0 0,-1 1 0 0 0,0 0 0 0 0,0 0 0 0 0,1-1 0 0 0,-1 1 0 0 0,0 0 0 0 0,1 0 0 0 0,-1 0 0 0 0,0 0-1 0 0,1-1 1 0 0,-1 1 0 0 0,0 0 0 0 0,1 0 0 0 0,-1 0 0 0 0,0 0 0 0 0,1 0 0 0 0,-1 0 0 0 0,1 0 0 0 0,-1 0 0 0 0,0 0 0 0 0,1 0-1 0 0,-1 0 1 0 0,0 0 0 0 0,1 0 0 0 0,0 1 0 0 0,0 0-35 0 0,1 1 1 0 0,0-1-1 0 0,0 1 0 0 0,0 0 1 0 0,-1 0-1 0 0,1-1 0 0 0,-1 1 1 0 0,1 0-1 0 0,-1 0 0 0 0,0 1 1 0 0,0-1-1 0 0,0 0 0 0 0,0 0 1 0 0,0 1-1 0 0,0 2 0 0 0,6 16-863 0 0,5 15-1554 0 0,1-14-2295 0 0,-8-16 3212 0 0</inkml:trace>
</inkml:ink>
</file>

<file path=ppt/ink/ink4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4.0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992 0 0,'3'1'1066'0'0,"-1"0"-789"0"0,0 0 0 0 0,0 1 0 0 0,1-1 1 0 0,-1 1-1 0 0,0-1 0 0 0,0 1 0 0 0,0 0 1 0 0,-1-1-1 0 0,1 1 0 0 0,0 0 1 0 0,-1 0-1 0 0,1 1 0 0 0,-1-1 0 0 0,0 0 1 0 0,1 0-1 0 0,-1 1 0 0 0,0-1 1 0 0,0 1-1 0 0,0 3 0 0 0,5 13 997 0 0,4 30-1 0 0,-6-25-734 0 0,4 38 1888 0 0,-8-61-1680 0 0,-3-27-303 0 0,3 21-448 0 0,1 0-1 0 0,0 0 0 0 0,1-1 0 0 0,-1 1 1 0 0,1 0-1 0 0,0 1 0 0 0,5-9 0 0 0,-6 11-5 0 0,0-1-1 0 0,1 1 0 0 0,0 0 0 0 0,-1 0 0 0 0,1 0 0 0 0,0 0 0 0 0,0 1 0 0 0,0-1 0 0 0,0 0 0 0 0,1 1 0 0 0,-1-1 1 0 0,0 1-1 0 0,1 0 0 0 0,-1 0 0 0 0,1 0 0 0 0,-1 0 0 0 0,1 0 0 0 0,-1 1 0 0 0,5-1 0 0 0,-2 1-1 0 0,-1 0-1 0 0,1 1 1 0 0,0-1-1 0 0,-1 1 1 0 0,1 0-1 0 0,-1 1 1 0 0,1-1-1 0 0,-1 1 1 0 0,1 0-1 0 0,5 3 1 0 0,-9-4 26 0 0,20 12 837 0 0,-10-33-633 0 0,-8 14-201 0 0,0 0 1 0 0,0 1-1 0 0,1-1 0 0 0,0 1 0 0 0,5-7 1 0 0,-4 7-24 0 0,0 0 1 0 0,1 0-1 0 0,0 0 1 0 0,0 0-1 0 0,0 1 1 0 0,1 0-1 0 0,9-4 1 0 0,-13 7-5 0 0,0 0 0 0 0,0 0 0 0 0,0 0 0 0 0,0 1 1 0 0,0 0-1 0 0,0-1 0 0 0,0 1 0 0 0,0 0 0 0 0,0 0 1 0 0,0 0-1 0 0,0 1 0 0 0,0-1 0 0 0,0 1 0 0 0,0 0 1 0 0,0 0-1 0 0,0 0 0 0 0,0 0 0 0 0,-1 0 0 0 0,5 3 1 0 0,-5-3-23 0 0,0 1 0 0 0,0 0 0 0 0,0 0 1 0 0,0 0-1 0 0,0 0 0 0 0,0 0 0 0 0,0 1 1 0 0,0-1-1 0 0,-1 0 0 0 0,1 1 0 0 0,-1-1 1 0 0,0 1-1 0 0,0 0 0 0 0,0-1 0 0 0,0 1 1 0 0,0 0-1 0 0,0 3 0 0 0,1 4-821 0 0,-1-1-1 0 0,0 21 1 0 0,-4 14-3517 0 0</inkml:trace>
</inkml:ink>
</file>

<file path=ppt/ink/ink4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4.4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48 244 0 0,'2'-1'190'0'0,"0"-1"3"0"0,0 1 0 0 0,0 0 0 0 0,-1 1 1 0 0,1-1-1 0 0,0 0 0 0 0,0 0 0 0 0,0 1 0 0 0,0-1 1 0 0,0 1-1 0 0,0 0 0 0 0,0 0 0 0 0,0-1 0 0 0,0 1 1 0 0,0 0-1 0 0,0 1 0 0 0,0-1 0 0 0,0 0 0 0 0,0 1 1 0 0,0-1-1 0 0,0 1 0 0 0,0-1 0 0 0,0 1 0 0 0,2 1 0 0 0,-1 1 64 0 0,1 1 0 0 0,-1 0 0 0 0,1 0-1 0 0,-1 0 1 0 0,0 0 0 0 0,0 1-1 0 0,-1-1 1 0 0,1 1 0 0 0,-1-1-1 0 0,0 1 1 0 0,0 0 0 0 0,-1 0 0 0 0,2 6-1 0 0,1 12 576 0 0,4 39-1 0 0,-3-18-421 0 0,-5-36-178 0 0,1 0-1 0 0,-2 0 1 0 0,-1 13 0 0 0,2-19-26 0 0,-5 1-1 0 0,5-3-197 0 0,0 1 0 0 0,0-1 0 0 0,0 0 0 0 0,0 0 0 0 0,-1 0 0 0 0,1 1 0 0 0,0-1 0 0 0,0 0 0 0 0,-1 0 0 0 0,1 0 0 0 0,0 1 0 0 0,0-1 0 0 0,-1 0 0 0 0,1 0 0 0 0,0 0 0 0 0,0 0 1 0 0,-1 0-1 0 0,1 0 0 0 0,0 0 0 0 0,-1 1 0 0 0,1-1 0 0 0,0 0 0 0 0,-1 0 0 0 0,1 0 0 0 0,0 0 0 0 0,0 0 0 0 0,-1 0 0 0 0,1-1 0 0 0,0 1 0 0 0,-1 0 0 0 0,1 0 0 0 0,0 0 0 0 0,0 0 0 0 0,-1 0 0 0 0,-2-3-21 0 0,0 0-1 0 0,0 0 0 0 0,1 0 1 0 0,-1 0-1 0 0,1-1 0 0 0,0 1 0 0 0,0-1 1 0 0,0 1-1 0 0,0-1 0 0 0,0 0 0 0 0,1 1 1 0 0,0-1-1 0 0,0 0 0 0 0,0 0 1 0 0,0 0-1 0 0,1 0 0 0 0,-1 0 0 0 0,1 0 1 0 0,0-7-1 0 0,1-6-126 0 0,0 0 0 0 0,0 1 0 0 0,7-26 0 0 0,-4 27 56 0 0,0 0 1 0 0,2 0 0 0 0,-1 1 0 0 0,2 0-1 0 0,0 0 1 0 0,1 0 0 0 0,0 1-1 0 0,1 0 1 0 0,0 1 0 0 0,1 0-1 0 0,0 0 1 0 0,1 1 0 0 0,1 1 0 0 0,13-11-1 0 0,-21 18 76 0 0,0 1 0 0 0,0 0 0 0 0,0 1 0 0 0,0-1 0 0 0,0 1 0 0 0,1-1 0 0 0,-1 1 0 0 0,0 0 0 0 0,1 1 0 0 0,-1-1 0 0 0,0 1 0 0 0,1 0 0 0 0,5 0 0 0 0,-10 1 6 0 0,1-1-1 0 0,0 1 0 0 0,-1-1 1 0 0,1 1-1 0 0,-1-1 0 0 0,1 1 1 0 0,-1-1-1 0 0,1 1 1 0 0,-1 0-1 0 0,1-1 0 0 0,-1 1 1 0 0,0 0-1 0 0,1 0 0 0 0,-1-1 1 0 0,0 1-1 0 0,1 0 1 0 0,-1 0-1 0 0,0-1 0 0 0,0 1 1 0 0,0 0-1 0 0,0 0 0 0 0,0-1 1 0 0,0 1-1 0 0,0 0 1 0 0,0 0-1 0 0,0 0 0 0 0,0-1 1 0 0,-1 1-1 0 0,1 0 0 0 0,0 0 1 0 0,0-1-1 0 0,-1 1 1 0 0,0 1-1 0 0,-5 7 37 0 0,-2-1 0 0 0,1 0 1 0 0,-1 0-1 0 0,0-1 0 0 0,-1 0 1 0 0,-14 10-1 0 0,-61 30-3390 0 0,79-45 2833 0 0</inkml:trace>
</inkml:ink>
</file>

<file path=ppt/ink/ink4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4.8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416 0 0,'3'0'1363'0'0,"0"1"-1108"0"0,-1-1 1 0 0,0 1 0 0 0,0-1-1 0 0,0 1 1 0 0,0-1 0 0 0,-1 1-1 0 0,1 0 1 0 0,0 0-1 0 0,0 0 1 0 0,0 0 0 0 0,-1 0-1 0 0,1 1 1 0 0,0-1 0 0 0,-1 0-1 0 0,1 1 1 0 0,-1-1-1 0 0,1 1 1 0 0,-1 0 0 0 0,0-1-1 0 0,0 1 1 0 0,0 0 0 0 0,0 0-1 0 0,0-1 1 0 0,1 4-1 0 0,7 28 973 0 0,0 0 0 0 0,3 37 0 0 0,2 69-3189 0 0,-11-100-3199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1.5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588 0 0,'6'0'396'0'0,"-1"0"0"0"0,1 1 1 0 0,-1-1-1 0 0,1 1 0 0 0,-1 0 0 0 0,1 0 0 0 0,-1 1 0 0 0,1 0 0 0 0,-1 0 0 0 0,0 0 0 0 0,0 1 1 0 0,0-1-1 0 0,0 1 0 0 0,-1 0 0 0 0,1 1 0 0 0,-1-1 0 0 0,0 1 0 0 0,0 0 0 0 0,0 0 1 0 0,0 0-1 0 0,-1 0 0 0 0,1 1 0 0 0,4 8 0 0 0,4 9 308 0 0,-1 0-1 0 0,0 1 1 0 0,-2-1-1 0 0,0 2 1 0 0,6 30-1 0 0,18 125 769 0 0,-32-172-1425 0 0,6 50-141 0 0,1 104 0 0 0,-9-116-3260 0 0,-10 54 1 0 0,11-95 2794 0 0,-2 5-3277 0 0,-5 1 695 0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0.6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 251 1444 0 0,'-2'-3'1774'0'0,"0"2"-1536"0"0,1-1 70 0 0,0 1-1 0 0,-1 0 1 0 0,1-1 0 0 0,0 1 0 0 0,0-1 0 0 0,0 1 0 0 0,0-1 0 0 0,1 0-1 0 0,-1 1 1 0 0,0-1 0 0 0,1 0 0 0 0,-1 0 0 0 0,1 1 0 0 0,-1-1 0 0 0,1 0-1 0 0,0 0 1 0 0,0 0 0 0 0,0 1 0 0 0,0-3 0 0 0,2 1-168 0 0,-1 0-1 0 0,1 0 1 0 0,0 1-1 0 0,0-1 1 0 0,0 1 0 0 0,1-1-1 0 0,-1 1 1 0 0,1 0 0 0 0,-1 0-1 0 0,1 0 1 0 0,0 1-1 0 0,-1-1 1 0 0,1 0 0 0 0,0 1-1 0 0,0 0 1 0 0,0 0 0 0 0,6-2-1 0 0,12-3 282 0 0,30-5 0 0 0,-40 9-270 0 0,25-5 83 0 0,63-13 927 0 0,137-8 0 0 0,-227 27-1089 0 0,1 1-1 0 0,-1 1 0 0 0,0-1 0 0 0,1 2 0 0 0,-1-1 0 0 0,0 1 1 0 0,0 1-1 0 0,0-1 0 0 0,0 2 0 0 0,12 6 0 0 0,-15-7-31 0 0,0 0 0 0 0,-1 1-1 0 0,0 0 1 0 0,0 0 0 0 0,0 0 0 0 0,-1 1-1 0 0,1 0 1 0 0,-1 0 0 0 0,0 0-1 0 0,-1 0 1 0 0,1 1 0 0 0,-1-1 0 0 0,0 1-1 0 0,0 0 1 0 0,-1 0 0 0 0,3 7 0 0 0,-3-4 2 0 0,0 0 1 0 0,0 0-1 0 0,-1 0 1 0 0,0 0 0 0 0,0 12-1 0 0,-1-16-27 0 0,0-1 0 0 0,-1 0 0 0 0,1 0 0 0 0,-1 0 0 0 0,0 1 0 0 0,-1-1 0 0 0,1 0 0 0 0,0 0 0 0 0,-1 0 0 0 0,0-1 1 0 0,0 1-1 0 0,0 0 0 0 0,-3 3 0 0 0,3-6-6 0 0,1 1 1 0 0,0-1 0 0 0,-1 1-1 0 0,0-1 1 0 0,1 1 0 0 0,-1-1-1 0 0,0 0 1 0 0,1 0 0 0 0,-1 0-1 0 0,0 0 1 0 0,0 0 0 0 0,0 0-1 0 0,0-1 1 0 0,0 1-1 0 0,0-1 1 0 0,0 1 0 0 0,0-1-1 0 0,0 0 1 0 0,0 0 0 0 0,0 1-1 0 0,0-2 1 0 0,-1 1 0 0 0,1 0-1 0 0,0 0 1 0 0,0-1 0 0 0,0 1-1 0 0,0-1 1 0 0,0 1 0 0 0,0-1-1 0 0,0 0 1 0 0,0 0 0 0 0,1 0-1 0 0,-1 0 1 0 0,-2-2 0 0 0,2 2-24 0 0,1 0 0 0 0,0 0 0 0 0,0 0 0 0 0,0 0 1 0 0,0-1-1 0 0,0 1 0 0 0,0 0 0 0 0,0-1 0 0 0,0 1 0 0 0,0-1 1 0 0,1 1-1 0 0,-1-1 0 0 0,1 1 0 0 0,-1-1 0 0 0,1 1 1 0 0,-1-1-1 0 0,1 0 0 0 0,0 1 0 0 0,0-1 0 0 0,0 0 0 0 0,0-1 1 0 0,0-1-41 0 0,0-1 0 0 0,1 1 0 0 0,-1 0 0 0 0,1-1 0 0 0,0 1 0 0 0,0 0 0 0 0,2-4 0 0 0,1 1 1 0 0,0 1 0 0 0,0 0-1 0 0,0 0 1 0 0,1 0 0 0 0,-1 0 0 0 0,2 1 0 0 0,-1 0 0 0 0,0 0 0 0 0,1 0 0 0 0,0 1 0 0 0,0 0 0 0 0,1 0 0 0 0,-1 0 0 0 0,1 1 0 0 0,9-4 0 0 0,11-3-52 0 0,0 1 1 0 0,45-8-1 0 0,17 1-11 0 0,-38 8 228 0 0,0-3 0 0 0,49-16 0 0 0,-90 23 33 0 0,0-1-1 0 0,0 0 1 0 0,-1 0 0 0 0,0-1 0 0 0,0 0-1 0 0,-1-1 1 0 0,1 0 0 0 0,-1 0-1 0 0,-1-1 1 0 0,11-13 0 0 0,-17 19-121 0 0,-2-2 7 0 0,1 4-30 0 0,0-1 0 0 0,0 1 0 0 0,0 0 0 0 0,0 0-1 0 0,0-1 1 0 0,0 1 0 0 0,0 0 0 0 0,0 0 0 0 0,0-1 0 0 0,0 1-1 0 0,0 0 1 0 0,0-1 0 0 0,-1 1 0 0 0,1 0 0 0 0,0 0 0 0 0,0 0-1 0 0,0-1 1 0 0,0 1 0 0 0,0 0 0 0 0,0 0 0 0 0,-1-1 0 0 0,1 1-1 0 0,0 0 1 0 0,0 0 0 0 0,0 0 0 0 0,-1-1 0 0 0,1 1 0 0 0,0 0-1 0 0,0 0 1 0 0,0 0 0 0 0,-1 0 0 0 0,1 0 0 0 0,0 0-1 0 0,0 0 1 0 0,-1-1 0 0 0,1 1 0 0 0,0 0 0 0 0,0 0 0 0 0,-1 0-1 0 0,1 0 1 0 0,-7 1-1 0 0,1 0 0 0 0,0 0-1 0 0,0 1 1 0 0,0-1 0 0 0,0 1-1 0 0,1 1 1 0 0,-1-1 0 0 0,1 1 0 0 0,-1 0-1 0 0,1 0 1 0 0,0 1 0 0 0,0-1-1 0 0,0 1 1 0 0,0 0 0 0 0,1 0-1 0 0,0 1 1 0 0,0 0 0 0 0,-6 7 0 0 0,3-1 18 0 0,-1-1 0 0 0,2 1 0 0 0,0 0 1 0 0,0 0-1 0 0,1 1 0 0 0,0-1 0 0 0,1 1 1 0 0,-3 17-1 0 0,6-27-28 0 0,1 0 1 0 0,0 1-1 0 0,0-1 1 0 0,1 0-1 0 0,-1 0 1 0 0,1 0-1 0 0,-1 1 0 0 0,1-1 1 0 0,-1 0-1 0 0,1 0 1 0 0,0 0-1 0 0,0 0 1 0 0,0 0-1 0 0,0 0 1 0 0,1 0-1 0 0,-1-1 0 0 0,0 1 1 0 0,1 0-1 0 0,-1 0 1 0 0,1-1-1 0 0,0 1 1 0 0,-1-1-1 0 0,1 0 0 0 0,0 1 1 0 0,0-1-1 0 0,0 0 1 0 0,0 0-1 0 0,0 0 1 0 0,0-1-1 0 0,0 1 1 0 0,0 0-1 0 0,0-1 0 0 0,1 1 1 0 0,-1-1-1 0 0,0 0 1 0 0,0 1-1 0 0,4-2 1 0 0,1 0-164 0 0,-1-1 0 0 0,0 0 0 0 0,0 0 0 0 0,0-1 1 0 0,0 1-1 0 0,0-1 0 0 0,-1-1 0 0 0,1 1 0 0 0,-1-1 1 0 0,9-8-1 0 0,1-3-208 0 0,-1-1 0 0 0,16-23 0 0 0,-26 32 355 0 0,4-7-182 0 0,-5 12 137 0 0,-2 8 88 0 0,-1-4 0 0 0,-8 10-1300 0 0</inkml:trace>
</inkml:ink>
</file>

<file path=ppt/ink/ink5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5.2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5 47 760 0 0,'5'-13'3204'0'0,"-5"13"-3099"0"0,0-1-1 0 0,1 0 1 0 0,-1 0-1 0 0,0 1 0 0 0,0-1 1 0 0,0 0-1 0 0,0 0 0 0 0,0 0 1 0 0,0 1-1 0 0,0-1 1 0 0,0 0-1 0 0,0 0 0 0 0,0 0 1 0 0,0 1-1 0 0,0-1 0 0 0,0 0 1 0 0,-1-1-1 0 0,0 1 189 0 0,2 21 1388 0 0,1-19-1644 0 0,0 1 1 0 0,0-1-1 0 0,-1 1 1 0 0,1-1-1 0 0,0 0 1 0 0,0 0-1 0 0,0 0 1 0 0,0 0-1 0 0,1 0 1 0 0,-1 0-1 0 0,0 0 1 0 0,0-1-1 0 0,0 1 1 0 0,1-1-1 0 0,-1 1 1 0 0,0-1-1 0 0,1 0 1 0 0,-1 0-1 0 0,0 0 1 0 0,5-1-1 0 0,-4 0 5 0 0,0 1 1 0 0,0-1-1 0 0,0 0 0 0 0,0 0 0 0 0,0 0 0 0 0,0 0 1 0 0,-1-1-1 0 0,1 1 0 0 0,0-1 0 0 0,-1 0 0 0 0,1 0 1 0 0,-1 0-1 0 0,1 0 0 0 0,-1 0 0 0 0,4-5 1 0 0,-6 7-46 0 0,0 0 1 0 0,1-1 0 0 0,-1 1 0 0 0,0-1 0 0 0,0 1 0 0 0,1-1 0 0 0,-1 1 0 0 0,0-1 0 0 0,0 1 0 0 0,0-1 0 0 0,0 1-1 0 0,0-1 1 0 0,0 1 0 0 0,0-1 0 0 0,0 1 0 0 0,0-1 0 0 0,0 1 0 0 0,0-1 0 0 0,0 1 0 0 0,0-1 0 0 0,0 1 0 0 0,-1-1-1 0 0,1 1 1 0 0,0-1 0 0 0,0 1 0 0 0,0-1 0 0 0,-1 1 0 0 0,1-1 0 0 0,0 1 0 0 0,-1-1 0 0 0,1 1 0 0 0,0 0-1 0 0,-1-1 1 0 0,1 1 0 0 0,0 0 0 0 0,-1-1 0 0 0,1 1 0 0 0,-1 0 0 0 0,0-1 0 0 0,-1 0-4 0 0,1 0 1 0 0,-1 0-1 0 0,0 1 0 0 0,0-1 1 0 0,0 0-1 0 0,0 1 0 0 0,1-1 0 0 0,-1 1 1 0 0,0 0-1 0 0,0 0 0 0 0,0-1 1 0 0,-3 1-1 0 0,-6 2 79 0 0,-1 0 0 0 0,0 1 0 0 0,0 0 0 0 0,1 0 1 0 0,0 2-1 0 0,-1-1 0 0 0,2 1 0 0 0,-1 1 0 0 0,0 0 0 0 0,-12 10 0 0 0,18-12 24 0 0,-1 0 1 0 0,1 1-1 0 0,0 0 1 0 0,1 0-1 0 0,-1 0 0 0 0,1 1 1 0 0,0-1-1 0 0,-6 13 1 0 0,8-14-24 0 0,0 0 0 0 0,1 0 0 0 0,0 0 0 0 0,0 0 0 0 0,0 0 0 0 0,0 0 0 0 0,1 1 0 0 0,-1-1 0 0 0,1 0 0 0 0,0 1 0 0 0,0-1 1 0 0,1 0-1 0 0,0 0 0 0 0,-1 1 0 0 0,3 5 0 0 0,-1-6-30 0 0,-1 0 1 0 0,1 0 0 0 0,0 0-1 0 0,0 0 1 0 0,0-1 0 0 0,1 1-1 0 0,-1-1 1 0 0,1 1 0 0 0,0-1 0 0 0,0 0-1 0 0,0 0 1 0 0,0 0 0 0 0,0 0-1 0 0,1-1 1 0 0,0 1 0 0 0,-1-1-1 0 0,1 0 1 0 0,0 0 0 0 0,0 0-1 0 0,0-1 1 0 0,0 0 0 0 0,0 1-1 0 0,0-1 1 0 0,1 0 0 0 0,6 0-1 0 0,-5-1-28 0 0,0 1 0 0 0,0-2-1 0 0,-1 1 1 0 0,1 0 0 0 0,0-1 0 0 0,-1 0-1 0 0,1-1 1 0 0,0 1 0 0 0,-1-1-1 0 0,0 0 1 0 0,1 0 0 0 0,-1-1 0 0 0,0 1-1 0 0,0-1 1 0 0,0 0 0 0 0,-1-1-1 0 0,1 1 1 0 0,7-8 0 0 0,0-4-44 0 0,-1-1 0 0 0,-1 0 0 0 0,0-1-1 0 0,-2 0 1 0 0,14-34 0 0 0,0 0 24 0 0,-21 49-10 0 0,3-1-45 0 0,-4 3 58 0 0,0-1 0 0 0,1 1 0 0 0,-1 0 0 0 0,0 0-1 0 0,0 0 1 0 0,0-1 0 0 0,0 1 0 0 0,0 0 0 0 0,1 0 0 0 0,-1 0-1 0 0,0-1 1 0 0,0 1 0 0 0,0 0 0 0 0,1 0 0 0 0,-1 0 0 0 0,0 0-1 0 0,0 0 1 0 0,1 0 0 0 0,-1 0 0 0 0,0-1 0 0 0,0 1 0 0 0,1 0-1 0 0,-1 0 1 0 0,0 0 0 0 0,0 0 0 0 0,1 0 0 0 0,-1 0 0 0 0,0 0-1 0 0,0 0 1 0 0,1 0 0 0 0,-1 0 0 0 0,0 0 0 0 0,0 0 0 0 0,1 1 0 0 0,-1-1-1 0 0,0 0 1 0 0,8 6 104 0 0,0 0 0 0 0,0 1 1 0 0,-1 0-1 0 0,0 1 0 0 0,-1-1 0 0 0,0 1 0 0 0,9 15 0 0 0,4 4 210 0 0,-15-23-360 0 0,-1 0 1 0 0,0-1-1 0 0,0 1 1 0 0,0 0-1 0 0,-1 1 1 0 0,0-1-1 0 0,0 0 1 0 0,0 1-1 0 0,0-1 1 0 0,0 1 0 0 0,-1 0-1 0 0,0 0 1 0 0,0-1-1 0 0,0 1 1 0 0,-1 7-1 0 0,0-10-116 0 0,-1 0 0 0 0,0 0-1 0 0,0 1 1 0 0,0-1 0 0 0,0 0-1 0 0,0 0 1 0 0,0 0 0 0 0,-1 0-1 0 0,1 0 1 0 0,-1-1 0 0 0,1 1-1 0 0,-1 0 1 0 0,0-1 0 0 0,0 1-1 0 0,0-1 1 0 0,-3 3 0 0 0,-34 17-4745 0 0,38-21 4658 0 0,-15 7-2965 0 0</inkml:trace>
</inkml:ink>
</file>

<file path=ppt/ink/ink5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6.1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 1 2268 0 0,'-1'0'-57'0'0,"-27"16"6775"0"0,28-16-6619 0 0,0 0 0 0 0,0 1 0 0 0,0-1 0 0 0,0 0 0 0 0,0 0 0 0 0,0 1 0 0 0,0-1 0 0 0,0 0 0 0 0,0 0 0 0 0,0 1 0 0 0,0-1 0 0 0,0 0 0 0 0,0 0 0 0 0,0 1 0 0 0,15 2 553 0 0,150 5-736 0 0,-44 0-5812 0 0,-99-8 3214 0 0</inkml:trace>
</inkml:ink>
</file>

<file path=ppt/ink/ink5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6.5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140 0 0,'0'0'2958'0'0,"1"0"-2759"0"0,0 0 0 0 0,0 0-1 0 0,-1 0 1 0 0,1 0 0 0 0,0 0 0 0 0,0 0-1 0 0,0 0 1 0 0,0 0 0 0 0,0 1 0 0 0,-1-1-1 0 0,1 0 1 0 0,0 1 0 0 0,0-1-1 0 0,0 0 1 0 0,-1 1 0 0 0,2 0 0 0 0,3 16 733 0 0,-1 0 1 0 0,-1 0 0 0 0,-1 0-1 0 0,0 0 1 0 0,-1 24 0 0 0,2 6-101 0 0,0-10-692 0 0,10 137 249 0 0,-10-60-8880 0 0</inkml:trace>
</inkml:ink>
</file>

<file path=ppt/ink/ink5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6.9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48 388 0 0,'4'-13'3005'0'0,"1"9"-2643"0"0,0 1 1 0 0,1-1-1 0 0,0 1 0 0 0,-1 0 1 0 0,1 0-1 0 0,0 1 0 0 0,1 0 0 0 0,-1 0 1 0 0,9-2-1 0 0,68-7 740 0 0,-47 7-623 0 0,12-2 843 0 0,-1-2-1 0 0,51-17 1 0 0,-95 24-882 0 0,-6 2-369 0 0,-6 0-44 0 0,0 1-1 0 0,1 0 0 0 0,-1 1 1 0 0,1 0-1 0 0,0 0 0 0 0,0 0 1 0 0,0 1-1 0 0,-12 8 0 0 0,16-9 0 0 0,0 0-1 0 0,0-1 0 0 0,0 1 0 0 0,0 1 1 0 0,1-1-1 0 0,0 0 0 0 0,-1 1 0 0 0,1 0 1 0 0,1 0-1 0 0,-1 0 0 0 0,0 0 0 0 0,1 0 0 0 0,0 0 1 0 0,0 1-1 0 0,0-1 0 0 0,1 1 0 0 0,-3 8 1 0 0,4-11-10 0 0,0 0 0 0 0,0 0 0 0 0,0 0 0 0 0,0-1 0 0 0,1 1 0 0 0,-1 0 0 0 0,0 0 0 0 0,1 0 0 0 0,-1-1 0 0 0,1 1 0 0 0,0 0 0 0 0,0 0-1 0 0,-1-1 1 0 0,1 1 0 0 0,0-1 0 0 0,0 1 0 0 0,1-1 0 0 0,-1 1 0 0 0,1 0 0 0 0,2 1 5 0 0,-1 0 0 0 0,0-1-1 0 0,1 1 1 0 0,-1-1 0 0 0,1 0-1 0 0,0 0 1 0 0,0-1-1 0 0,4 3 1 0 0,3-1 15 0 0,-1-1 1 0 0,1 0-1 0 0,0 0 0 0 0,0-1 1 0 0,19 0-1 0 0,-23-1-40 0 0,1-1 0 0 0,-1-1 1 0 0,1 1-1 0 0,-1-1 0 0 0,0 0 0 0 0,0-1 0 0 0,0 0 0 0 0,0 0 1 0 0,0 0-1 0 0,-1-1 0 0 0,1 0 0 0 0,-1 0 0 0 0,7-7 0 0 0,-10 8-5 0 0,0 1-1 0 0,-1-1 0 0 0,1 0 1 0 0,0 0-1 0 0,-1 0 0 0 0,0 0 1 0 0,0 0-1 0 0,0-1 0 0 0,0 1 0 0 0,-1-1 1 0 0,1 1-1 0 0,-1-1 0 0 0,0 0 1 0 0,0 1-1 0 0,0-1 0 0 0,0 0 0 0 0,-1 0 1 0 0,0 1-1 0 0,1-1 0 0 0,-1 0 1 0 0,-1 0-1 0 0,1 0 0 0 0,0 0 0 0 0,-1 0 1 0 0,0 1-1 0 0,0-1 0 0 0,-3-6 1 0 0,2 5-10 0 0,-1 1 0 0 0,0-1 0 0 0,0 0 0 0 0,0 1 0 0 0,-1 0 0 0 0,0 0 1 0 0,1 0-1 0 0,-1 0 0 0 0,-1 1 0 0 0,1 0 0 0 0,0 0 0 0 0,-1 0 0 0 0,0 0 1 0 0,0 0-1 0 0,0 1 0 0 0,0 0 0 0 0,-6-2 0 0 0,-2 0-876 0 0,0 1 0 0 0,0 0-1 0 0,0 1 1 0 0,0 0 0 0 0,-21 0-1 0 0,30 2-592 0 0,-10 4-3071 0 0</inkml:trace>
</inkml:ink>
</file>

<file path=ppt/ink/ink5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7.3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3 2272 0 0,'30'-12'6244'0'0,"-27"13"-5482"0"0,-2-1-670 0 0,1 0 1 0 0,-1 1-1 0 0,0-1 0 0 0,0 1 1 0 0,0-1-1 0 0,0 1 0 0 0,0-1 0 0 0,0 1 1 0 0,0 0-1 0 0,0-1 0 0 0,0 1 0 0 0,0 0 1 0 0,0 0-1 0 0,0 0 0 0 0,1 1 0 0 0,6 24 1530 0 0,-5 6-784 0 0,-1 1 0 0 0,-4 52 0 0 0,0-46-2501 0 0,4 47 0 0 0,-2-84 1466 0 0,1 19-1790 0 0,-2-8-2227 0 0</inkml:trace>
</inkml:ink>
</file>

<file path=ppt/ink/ink5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7.8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 212 1080 0 0,'-14'8'3938'0'0,"14"-8"-3882"0"0,0 0 1 0 0,0 0-1 0 0,0 0 1 0 0,-1 0-1 0 0,1 0 0 0 0,0 0 1 0 0,0 0-1 0 0,0 0 1 0 0,0 0-1 0 0,-1 0 1 0 0,1 0-1 0 0,0 0 0 0 0,0 0 1 0 0,0 0-1 0 0,0 0 1 0 0,-1 0-1 0 0,1 0 1 0 0,0 0-1 0 0,0 1 0 0 0,-1-1 227 0 0,1 0-227 0 0,0 0 1 0 0,0 1-1 0 0,0-1 0 0 0,0 0 1 0 0,0 0-1 0 0,0 0 1 0 0,0 0-1 0 0,0 0 1 0 0,-1 1-1 0 0,1-1 0 0 0,0 0 1 0 0,0 0-1 0 0,0 0 1 0 0,0 0-1 0 0,0 1 1 0 0,0-1-1 0 0,0 0 0 0 0,0 0 1 0 0,0 0-1 0 0,0 1 1 0 0,0-1-1 0 0,0 0 1 0 0,0 0-1 0 0,1 0 1 0 0,-1 0-1 0 0,0 1 0 0 0,0-1 1 0 0,0 0-1 0 0,0 0 1 0 0,0 0-1 0 0,1 1 226 0 0,-1-1-225 0 0,0 0-1 0 0,0 0 1 0 0,0 0-1 0 0,18 4 955 0 0,21-4-914 0 0,-17 0 16 0 0,72-3 747 0 0,0-3 0 0 0,100-21-1 0 0,-186 25-635 0 0,1-1 1 0 0,0 0-1 0 0,-1 0 0 0 0,0-1 0 0 0,14-8 0 0 0,-20 11-125 0 0,-3-1-55 0 0,1 2-40 0 0,0-1-1 0 0,0 1 1 0 0,-1-1-1 0 0,1 1 1 0 0,0-1 0 0 0,-1 1-1 0 0,1-1 1 0 0,-1 1-1 0 0,1-1 1 0 0,0 1-1 0 0,-1 0 1 0 0,1-1 0 0 0,-1 1-1 0 0,1 0 1 0 0,-1-1-1 0 0,1 1 1 0 0,-1 0 0 0 0,1 0-1 0 0,-1-1 1 0 0,0 1-1 0 0,1 0 1 0 0,-1 0 0 0 0,1 0-1 0 0,-1 0 1 0 0,1 0-1 0 0,-1 0 1 0 0,0 0 0 0 0,1 0-1 0 0,-1 0 1 0 0,1 0-1 0 0,-1 0 1 0 0,0 0 0 0 0,1 0-1 0 0,-1 0 1 0 0,0 1-1 0 0,-9 0 1 0 0,1 1 0 0 0,-1 0-1 0 0,1 1 1 0 0,0 0-1 0 0,0 0 1 0 0,0 1 0 0 0,0 0-1 0 0,0 0 1 0 0,-11 9 0 0 0,7-5 18 0 0,7-5 3 0 0,1 1-1 0 0,-1 0 1 0 0,1 0-1 0 0,0 0 1 0 0,0 0-1 0 0,1 1 1 0 0,0 0-1 0 0,-1 0 1 0 0,2 0-1 0 0,-1 1 1 0 0,1 0 0 0 0,-1-1-1 0 0,1 1 1 0 0,1 0-1 0 0,-1 0 1 0 0,-1 7-1 0 0,4-11-11 0 0,0-1 1 0 0,0 0-1 0 0,-1 0 0 0 0,1 0 0 0 0,0 0 0 0 0,0 0 0 0 0,0 1 1 0 0,1-1-1 0 0,-1 0 0 0 0,0 0 0 0 0,0 0 0 0 0,1 0 0 0 0,-1 0 1 0 0,0 0-1 0 0,1 1 0 0 0,-1-1 0 0 0,1 0 0 0 0,0 0 0 0 0,-1 0 0 0 0,1-1 1 0 0,0 1-1 0 0,1 1 0 0 0,-1 0-20 0 0,1-1 1 0 0,0 0 0 0 0,0 0-1 0 0,0 0 1 0 0,0 0-1 0 0,0 0 1 0 0,0 0-1 0 0,0 0 1 0 0,0-1-1 0 0,5 2 1 0 0,0-2-116 0 0,0 1 0 0 0,0-1 1 0 0,0 0-1 0 0,1 0 0 0 0,8-2 1 0 0,-1-2-147 0 0,-1-1 1 0 0,0 0-1 0 0,0-1 1 0 0,-1 0-1 0 0,25-16 1 0 0,-38 22 265 0 0,1-1-1 0 0,0 1 1 0 0,0-1 0 0 0,-1 1-1 0 0,1-1 1 0 0,0 1 0 0 0,0-1 0 0 0,0 1-1 0 0,0 0 1 0 0,0-1 0 0 0,-1 1-1 0 0,1 0 1 0 0,0 0 0 0 0,0 0 0 0 0,0 0-1 0 0,0-1 1 0 0,0 1 0 0 0,0 1-1 0 0,0-1 1 0 0,0 0 0 0 0,0 0-1 0 0,0 0 1 0 0,0 0 0 0 0,0 1 0 0 0,-1-1-1 0 0,1 0 1 0 0,0 1 0 0 0,0-1-1 0 0,0 1 1 0 0,0-1 0 0 0,-1 1 0 0 0,2 0-1 0 0,1 3 78 0 0,-1-1-1 0 0,1 0 0 0 0,-1 1 0 0 0,0-1 0 0 0,0 1 1 0 0,1 6-1 0 0,-1-7 33 0 0,-1 1 1 0 0,1-1-1 0 0,0 1 0 0 0,0-1 1 0 0,4 6-1 0 0,-1-5-48 0 0,0 0 1 0 0,0-1-1 0 0,0 1 0 0 0,0-1 1 0 0,0-1-1 0 0,1 1 1 0 0,0-1-1 0 0,-1 0 0 0 0,1 0 1 0 0,0 0-1 0 0,0-1 0 0 0,0 0 1 0 0,0 0-1 0 0,0-1 1 0 0,0 0-1 0 0,0 0 0 0 0,0 0 1 0 0,10-2-1 0 0,-6 1-116 0 0,-1-1-1 0 0,1 0 1 0 0,-1-1-1 0 0,1 0 1 0 0,-1 0-1 0 0,0-1 1 0 0,0 0-1 0 0,0-1 1 0 0,-1 0-1 0 0,14-11 1 0 0,-10 5-100 0 0,-1-2 1 0 0,0 0-1 0 0,-1 0 0 0 0,0 0 1 0 0,-1-2-1 0 0,-1 1 0 0 0,0-1 1 0 0,-1 0-1 0 0,-1 0 0 0 0,0-1 0 0 0,-1 0 1 0 0,-1 0-1 0 0,0-1 0 0 0,-1 1 1 0 0,1-18-1 0 0,-4 30 175 0 0,0-1 0 0 0,0 1-1 0 0,0-1 1 0 0,0 1 0 0 0,-1-1 0 0 0,0 0-1 0 0,0 1 1 0 0,0-1 0 0 0,0 1 0 0 0,-2-5 0 0 0,2 8 15 0 0,0 0-1 0 0,0-1 1 0 0,0 1 0 0 0,0 0 0 0 0,-1-1 0 0 0,1 1 0 0 0,0 0 0 0 0,0 0 0 0 0,-1 0 0 0 0,1 0 0 0 0,-1 0 0 0 0,1 0 0 0 0,-1 0-1 0 0,1 1 1 0 0,-1-1 0 0 0,0 1 0 0 0,1-1 0 0 0,-1 1 0 0 0,0-1 0 0 0,1 1 0 0 0,-1 0 0 0 0,0 0 0 0 0,1 0 0 0 0,-1 0 0 0 0,0 0-1 0 0,1 0 1 0 0,-1 0 0 0 0,-2 1 0 0 0,0 0 42 0 0,-1 0 0 0 0,0 1 0 0 0,1 0 0 0 0,-1 0-1 0 0,1 0 1 0 0,-1 0 0 0 0,1 0 0 0 0,0 1 0 0 0,0 0 0 0 0,0 0 0 0 0,0 0-1 0 0,1 0 1 0 0,-1 1 0 0 0,1-1 0 0 0,0 1 0 0 0,-5 8 0 0 0,3-5 3 0 0,0 1-1 0 0,1 0 1 0 0,0 0 0 0 0,1 0-1 0 0,-1 0 1 0 0,2 1 0 0 0,-1 0 0 0 0,-1 9-1 0 0,3-6-14 0 0,1-1-1 0 0,0 0 0 0 0,1 0 1 0 0,0 1-1 0 0,1-1 0 0 0,0 0 1 0 0,1 0-1 0 0,0 0 0 0 0,0-1 1 0 0,1 1-1 0 0,9 15 0 0 0,-7-14-555 0 0,0-1-1 0 0,1 0 0 0 0,1 0 0 0 0,0 0 1 0 0,0-1-1 0 0,1-1 0 0 0,0 1 0 0 0,1-2 0 0 0,18 14 1 0 0,0-7-4044 0 0,-12-11 992 0 0</inkml:trace>
</inkml:ink>
</file>

<file path=ppt/ink/ink5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8.3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9 8 1384 0 0,'-5'-8'6484'0'0,"1"13"-5923"0"0,0 1 0 0 0,1-1 0 0 0,0 1 0 0 0,0-1 0 0 0,1 1 1 0 0,-1 0-1 0 0,1 0 0 0 0,-2 12 0 0 0,-7 57 1206 0 0,9-63-1457 0 0,-10 132 1308 0 0,-2 16-2586 0 0,8-107-2297 0 0,6-50 2205 0 0</inkml:trace>
</inkml:ink>
</file>

<file path=ppt/ink/ink5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7:58.6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4 568 0 0,'1'0'199'0'0,"-1"-1"1"0"0,1 1-1 0 0,-1 0 0 0 0,1-1 1 0 0,0 1-1 0 0,0 0 0 0 0,-1-1 1 0 0,1 1-1 0 0,0 0 0 0 0,0 0 0 0 0,-1-1 1 0 0,1 1-1 0 0,0 0 0 0 0,0 0 1 0 0,-1 0-1 0 0,1 0 0 0 0,0 0 1 0 0,0 0-1 0 0,0 1 0 0 0,-1-1 1 0 0,2 0-1 0 0,-1 1-89 0 0,-1-1 1 0 0,1 1-1 0 0,-1-1 1 0 0,1 1-1 0 0,-1 0 1 0 0,0-1-1 0 0,1 1 0 0 0,-1-1 1 0 0,0 1-1 0 0,1 0 1 0 0,-1-1-1 0 0,0 1 1 0 0,0 0-1 0 0,0-1 1 0 0,0 1-1 0 0,1 0 0 0 0,-1-1 1 0 0,0 1-1 0 0,0 1 1 0 0,-1 6 279 0 0,0 0 0 0 0,-1 0 0 0 0,-2 12 0 0 0,1-9 146 0 0,-2 10-87 0 0,1 1-1 0 0,1 0 1 0 0,1 1-1 0 0,0-1 0 0 0,5 44 1 0 0,-2-58-392 0 0,0 0 1 0 0,1 0-1 0 0,-1 0 1 0 0,2 0-1 0 0,-1 0 1 0 0,1-1-1 0 0,1 1 1 0 0,-1-1-1 0 0,1 0 1 0 0,0 0-1 0 0,1 0 1 0 0,0-1-1 0 0,0 1 1 0 0,0-1-1 0 0,1 0 1 0 0,0-1-1 0 0,0 1 1 0 0,0-1-1 0 0,13 7 1 0 0,-16-10-42 0 0,1 0 1 0 0,-1 0-1 0 0,1-1 1 0 0,0 1-1 0 0,0-1 1 0 0,-1 0-1 0 0,1 0 1 0 0,0-1 0 0 0,0 1-1 0 0,0-1 1 0 0,0 0-1 0 0,0 0 1 0 0,7-1-1 0 0,-8 1-22 0 0,-1-1-1 0 0,1 0 0 0 0,-1 1 0 0 0,1-1 0 0 0,-1 0 1 0 0,0 0-1 0 0,1-1 0 0 0,-1 1 0 0 0,0 0 1 0 0,0-1-1 0 0,0 1 0 0 0,0-1 0 0 0,0 0 0 0 0,0 1 1 0 0,0-1-1 0 0,-1 0 0 0 0,1 0 0 0 0,-1 0 0 0 0,1-1 1 0 0,1-3-1 0 0,-2 3 0 0 0,-1 1-1 0 0,1 0 1 0 0,-1 0 0 0 0,1 0-1 0 0,-1-1 1 0 0,0 1 0 0 0,0 0-1 0 0,0 0 1 0 0,0-1 0 0 0,-1 1-1 0 0,1 0 1 0 0,-1 0 0 0 0,1-1-1 0 0,-1 1 1 0 0,0 0 0 0 0,1 0-1 0 0,-1 0 1 0 0,0 0 0 0 0,-1 0-1 0 0,1 0 1 0 0,-2-2 0 0 0,-2-3-25 0 0,-1 1 1 0 0,1-1 0 0 0,-1 1 0 0 0,-8-6 0 0 0,9 8-315 0 0,-1 0 0 0 0,1 0 0 0 0,0 1 0 0 0,-1 0 0 0 0,0 0 0 0 0,1 0 0 0 0,-1 1 0 0 0,0 0 0 0 0,0 0 0 0 0,-1 0 0 0 0,-7 0 0 0 0,11 1-621 0 0,0 1-252 0 0,-11-1-724 0 0</inkml:trace>
</inkml:ink>
</file>

<file path=ppt/ink/ink5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2.65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6 46 1308 0 0,'-22'-45'9112'0'0,"22"45"-9049"0"0,-1 0 1 0 0,1 1 0 0 0,-1-1-1 0 0,1 0 1 0 0,-1 1 0 0 0,1-1 0 0 0,-1 0-1 0 0,1 1 1 0 0,0-1 0 0 0,-1 1 0 0 0,1-1-1 0 0,0 1 1 0 0,-1-1 0 0 0,1 1-1 0 0,0-1 1 0 0,0 1 0 0 0,0-1 0 0 0,-1 1-1 0 0,1-1 1 0 0,0 1 0 0 0,0 0-1 0 0,0-1 1 0 0,0 1 0 0 0,0 0 0 0 0,-2 19 643 0 0,1-16-460 0 0,-2 40 754 0 0,2 0 1 0 0,7 66 0 0 0,0-19-482 0 0,1 40-200 0 0,0 59-5825 0 0,-7-190 5416 0 0,0 0-1 0 0,0 1 1 0 0,0-1-1 0 0,0 0 1 0 0,0 0-1 0 0,0 1 1 0 0,0-1-1 0 0,0 0 1 0 0,0 0-1 0 0,0 1 1 0 0,0-1-1 0 0,0 0 1 0 0,0 0 0 0 0,0 1-1 0 0,0-1 1 0 0,0 0-1 0 0,0 0 1 0 0,0 1-1 0 0,0-1 1 0 0,0 0-1 0 0,0 0 1 0 0,0 0-1 0 0,0 1 1 0 0,1-1-1 0 0,-1 0 1 0 0,3 2-1163 0 0,-3-2 1162 0 0,0 0 1 0 0,0 0-1 0 0,1 0 1 0 0,-1 0-1 0 0,1 0 1 0 0,7-5-2403 0 0,0-5 196 0 0</inkml:trace>
</inkml:ink>
</file>

<file path=ppt/ink/ink5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2.9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72 452 0 0,'28'-56'7267'0'0,"-27"59"-6671"0"0,1 32 1084 0 0,-2-25-1429 0 0,1 0 0 0 0,0 1 0 0 0,1-1 0 0 0,-1 0 0 0 0,2 0 0 0 0,5 14 0 0 0,-5-16-150 0 0,1 0 0 0 0,1 0 0 0 0,-1 0 1 0 0,1-1-1 0 0,1 0 0 0 0,-1 0 0 0 0,1 0 0 0 0,0 0 0 0 0,1-1 0 0 0,0 0 0 0 0,0-1 0 0 0,0 1 0 0 0,0-1 0 0 0,1-1 0 0 0,0 0 0 0 0,0 0 0 0 0,0 0 0 0 0,14 3 0 0 0,-18-5-67 0 0,-1-1 0 0 0,1 0 0 0 0,0 0 1 0 0,0 0-1 0 0,0-1 0 0 0,0 1 0 0 0,0-1 0 0 0,0 0 0 0 0,0 0 1 0 0,0-1-1 0 0,0 1 0 0 0,0-1 0 0 0,0 0 0 0 0,-1 0 0 0 0,1 0 1 0 0,0 0-1 0 0,0 0 0 0 0,-1-1 0 0 0,1 0 0 0 0,-1 0 0 0 0,1 0 1 0 0,-1 0-1 0 0,0-1 0 0 0,0 1 0 0 0,0-1 0 0 0,0 0 0 0 0,0 0 1 0 0,-1 0-1 0 0,1 0 0 0 0,-1 0 0 0 0,0 0 0 0 0,0-1 0 0 0,0 1 1 0 0,0-1-1 0 0,-1 1 0 0 0,1-1 0 0 0,-1 0 0 0 0,0 0 0 0 0,0 0 1 0 0,0-4-1 0 0,0 1-54 0 0,-1 1 0 0 0,0-1 0 0 0,0 0 0 0 0,0 0 0 0 0,-1 0 0 0 0,0 0 0 0 0,0 1 0 0 0,-1-1 0 0 0,0 0 0 0 0,0 1 0 0 0,-1-1 0 0 0,1 1 0 0 0,-2 0 0 0 0,1 0 0 0 0,0 0 0 0 0,-1 0 1 0 0,0 1-1 0 0,-1-1 0 0 0,-8-7 0 0 0,7 7-265 0 0,0 1 1 0 0,-1 0 0 0 0,1 1 0 0 0,-1 0-1 0 0,0 0 1 0 0,0 0 0 0 0,-1 1 0 0 0,1 0 0 0 0,-1 0-1 0 0,-9-2 1 0 0,13 5-199 0 0,1-1 0 0 0,-1 1 0 0 0,1-1 0 0 0,-1 1 0 0 0,0 0 0 0 0,1 1 0 0 0,-1-1 0 0 0,1 1-1 0 0,-1-1 1 0 0,1 1 0 0 0,-1 0 0 0 0,1 0 0 0 0,-1 0 0 0 0,-3 3 0 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1.2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 1 1056 0 0,'0'0'6557'0'0,"-5"14"-4392"0"0,3-5-1981 0 0,1-1 1 0 0,0 0-1 0 0,1 1 0 0 0,-1 0 0 0 0,2-1 1 0 0,-1 1-1 0 0,1-1 0 0 0,0 0 0 0 0,1 1 0 0 0,0-1 1 0 0,0 0-1 0 0,1 0 0 0 0,0 0 0 0 0,1 0 0 0 0,0 0 1 0 0,0-1-1 0 0,0 1 0 0 0,1-1 0 0 0,0-1 1 0 0,0 1-1 0 0,1 0 0 0 0,0-1 0 0 0,0 0 0 0 0,0-1 1 0 0,1 1-1 0 0,11 6 0 0 0,-16-11-162 0 0,1 1 1 0 0,1-1-1 0 0,-1 1 0 0 0,0-1 1 0 0,0 0-1 0 0,0 0 0 0 0,1 0 0 0 0,-1-1 1 0 0,1 1-1 0 0,4-1 0 0 0,25 1 55 0 0,-25-3-67 0 0,-2-1-3 0 0,1 1-30 0 0,-1-1 0 0 0,0 1 0 0 0,0-1 0 0 0,-1-1 0 0 0,1 1-1 0 0,-1-1 1 0 0,1 0 0 0 0,-1 0 0 0 0,0 0 0 0 0,0-1-1 0 0,-1 0 1 0 0,0 0 0 0 0,6-8 0 0 0,3-8 172 0 0,0 0 0 0 0,11-28-1 0 0,-9 19 753 0 0,-13 24-605 0 0,-1 3-159 0 0,0 0 1 0 0,0 0-1 0 0,1 1 0 0 0,-1-1 0 0 0,0 0 1 0 0,1 1-1 0 0,0-1 0 0 0,2-3 1 0 0,-3 7-118 0 0,0 0-1 0 0,-1-1 1 0 0,1 1 0 0 0,-1 0 0 0 0,1-1 0 0 0,-1 1 0 0 0,0 0 0 0 0,1-1 0 0 0,-1 1 0 0 0,0 0 0 0 0,1 0 0 0 0,-1-1 0 0 0,0 1 0 0 0,0 0-1 0 0,0 0 1 0 0,1 0 0 0 0,-1-1 0 0 0,0 1 0 0 0,0 0 0 0 0,-1 1 0 0 0,2 14 108 0 0,-3 30-943 0 0,-8 49 1 0 0,3-43-6445 0 0,0-35 359 0 0</inkml:trace>
</inkml:ink>
</file>

<file path=ppt/ink/ink5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3.8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98 1 1868 0 0,'3'3'6154'0'0,"-16"14"-4164"0"0,-21 19-880 0 0,1 0-540 0 0,1 2-1 0 0,2 1 1 0 0,-40 68 0 0 0,11-16-4219 0 0,56-87 3033 0 0,3-2 269 0 0,-1-1 1 0 0,0 1-1 0 0,0-1 1 0 0,0 0 0 0 0,0 1-1 0 0,0-1 1 0 0,0 0-1 0 0,-1 0 1 0 0,1 0-1 0 0,0 0 1 0 0,-3 2-1 0 0,-8 3-2227 0 0</inkml:trace>
</inkml:ink>
</file>

<file path=ppt/ink/ink5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4.13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3 1636 0 0,'8'-14'3553'0'0,"-7"13"-3369"0"0,0 0 1 0 0,0 0-1 0 0,1 1 0 0 0,-1-1 0 0 0,1 0 0 0 0,-1 0 0 0 0,1 1 1 0 0,-1-1-1 0 0,1 1 0 0 0,-1 0 0 0 0,1-1 0 0 0,0 1 1 0 0,-1 0-1 0 0,1 0 0 0 0,-1 0 0 0 0,1 0 0 0 0,0 0 1 0 0,-1 0-1 0 0,1 0 0 0 0,-1 1 0 0 0,1-1 0 0 0,-1 1 1 0 0,1-1-1 0 0,-1 1 0 0 0,1-1 0 0 0,-1 1 0 0 0,1 0 1 0 0,1 1-1 0 0,9 4 394 0 0,-1 1 0 0 0,16 13 0 0 0,-19-14-215 0 0,29 23 152 0 0,-1 1-1 0 0,59 65 1 0 0,-74-70-1373 0 0,15 16-1861 0 0,-11-16-2739 0 0</inkml:trace>
</inkml:ink>
</file>

<file path=ppt/ink/ink5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4.4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920 0 0,'0'0'1613'0'0,"1"0"-1399"0"0,-1 0 0 0 0,4 3 1286 0 0,-4-2-1286 0 0,1-1 0 0 0,-1 1 0 0 0,0-1 1 0 0,1 1-1 0 0,-1 0 0 0 0,0-1 0 0 0,0 1 0 0 0,1-1 1 0 0,-1 2-1 0 0,-3 67 4537 0 0,0-41-3147 0 0,3 55 0 0 0,24 75-129 0 0,-13-106-3330 0 0,1-3-3502 0 0</inkml:trace>
</inkml:ink>
</file>

<file path=ppt/ink/ink5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4.8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1 37 548 0 0,'-1'-2'293'0'0,"0"0"1"0"0,0 0-1 0 0,0-1 0 0 0,-1 1 1 0 0,1 0-1 0 0,-1 0 0 0 0,1 0 1 0 0,-1 0-1 0 0,0 1 0 0 0,0-1 1 0 0,1 0-1 0 0,-1 1 0 0 0,-1-1 1 0 0,1 1-1 0 0,0 0 0 0 0,0-1 1 0 0,0 1-1 0 0,-1 0 0 0 0,-3-1 0 0 0,2 2-42 0 0,-1-1 0 0 0,1 1-1 0 0,0-1 1 0 0,-1 1 0 0 0,1 0-1 0 0,-1 1 1 0 0,1-1-1 0 0,0 1 1 0 0,-1 0 0 0 0,-5 2-1 0 0,-4 3 128 0 0,0 0-1 0 0,0 0 0 0 0,0 1 0 0 0,1 1 1 0 0,-18 14-1 0 0,25-18-336 0 0,1 1 1 0 0,0 0-1 0 0,0-1 0 0 0,0 2 1 0 0,0-1-1 0 0,1 0 1 0 0,0 1-1 0 0,0 0 0 0 0,0 0 1 0 0,1 0-1 0 0,0 1 0 0 0,0-1 1 0 0,1 1-1 0 0,0-1 0 0 0,0 1 1 0 0,0 0-1 0 0,1 0 0 0 0,0 0 1 0 0,0 0-1 0 0,1 0 0 0 0,0 0 1 0 0,0 0-1 0 0,1 0 1 0 0,-1 0-1 0 0,2 0 0 0 0,-1 0 1 0 0,1 0-1 0 0,0-1 0 0 0,0 1 1 0 0,1-1-1 0 0,0 1 0 0 0,0-1 1 0 0,0 0-1 0 0,1 0 0 0 0,0 0 1 0 0,0 0-1 0 0,1-1 1 0 0,8 9-1 0 0,-4-7-283 0 0,-1 0 0 0 0,1 0 0 0 0,0-1 0 0 0,0 0 1 0 0,0-1-1 0 0,1 0 0 0 0,0-1 0 0 0,0 0 0 0 0,0 0 0 0 0,12 2 0 0 0,-14-4-198 0 0,1 0-1 0 0,-1-1 0 0 0,0-1 1 0 0,0 1-1 0 0,0-1 0 0 0,1 0 1 0 0,-1-1-1 0 0,0 0 0 0 0,0 0 1 0 0,0-1-1 0 0,0 0 0 0 0,0-1 0 0 0,0 1 1 0 0,7-5-1 0 0,5-5-932 0 0</inkml:trace>
</inkml:ink>
</file>

<file path=ppt/ink/ink5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5.1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9 1028 0 0,'14'-69'8916'0'0,"-16"87"-8550"0"0,1-1 0 0 0,0 0 0 0 0,1 1 0 0 0,1-1 0 0 0,1 0 0 0 0,6 28 1 0 0,-5-28-209 0 0,8 60 50 0 0,14 69-5158 0 0,-21-132 2499 0 0,2-3-617 0 0</inkml:trace>
</inkml:ink>
</file>

<file path=ppt/ink/ink5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5.8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2 178 1396 0 0,'0'-1'190'0'0,"-1"0"0"0"0,1 0 0 0 0,-1 0 1 0 0,0 1-1 0 0,1-1 0 0 0,-1 0 0 0 0,0 1 0 0 0,1-1 0 0 0,-1 1 0 0 0,0-1 0 0 0,0 0 0 0 0,0 1 1 0 0,1 0-1 0 0,-1-1 0 0 0,0 1 0 0 0,0 0 0 0 0,0-1 0 0 0,0 1 0 0 0,0 0 0 0 0,0 0 0 0 0,0-1 1 0 0,0 1-1 0 0,-1 0 0 0 0,-2 0 134 0 0,-1 1 0 0 0,1-1 1 0 0,0 1-1 0 0,-1-1 0 0 0,-6 3 0 0 0,-1 2 223 0 0,-1-1 0 0 0,-21 13-1 0 0,23-11-286 0 0,1 1-1 0 0,0 0 1 0 0,-18 16 0 0 0,25-20-208 0 0,0 0 1 0 0,0 0 0 0 0,1 1 0 0 0,-1-1-1 0 0,1 1 1 0 0,-1 0 0 0 0,1 0 0 0 0,0 0-1 0 0,1 0 1 0 0,-1 0 0 0 0,1 0 0 0 0,0 0-1 0 0,-2 7 1 0 0,4-6 1 0 0,-1-4-70 0 0,0 0 0 0 0,0 0 1 0 0,1 0-1 0 0,-1 0 0 0 0,0 0 0 0 0,1 0 1 0 0,-1 0-1 0 0,1 0 0 0 0,-1 0 0 0 0,1 0 0 0 0,-1 0 1 0 0,1 0-1 0 0,0 0 0 0 0,-1-1 0 0 0,1 1 0 0 0,0 0 1 0 0,0-1-1 0 0,-1 1 0 0 0,1 0 0 0 0,0-1 0 0 0,0 1 1 0 0,0-1-1 0 0,0 1 0 0 0,0-1 0 0 0,0 0 0 0 0,0 1 1 0 0,0-1-1 0 0,0 0 0 0 0,0 0 0 0 0,0 1 1 0 0,0-1-1 0 0,0 0 0 0 0,0 0 0 0 0,0 0 0 0 0,0 0 1 0 0,0 0-1 0 0,2-1 0 0 0,0 1-92 0 0,-1 0-1 0 0,1 0 1 0 0,-1-1 0 0 0,1 1 0 0 0,-1-1-1 0 0,1 1 1 0 0,-1-1 0 0 0,1 0-1 0 0,-1 0 1 0 0,1 0 0 0 0,-1 0 0 0 0,0 0-1 0 0,0-1 1 0 0,0 1 0 0 0,0-1 0 0 0,0 1-1 0 0,3-3 1 0 0,26-33-1245 0 0,-28 33 1285 0 0,4-5 401 0 0,-1-1 1 0 0,0 1-1 0 0,7-19 1390 0 0,-14 29-1651 0 0,0 0-1 0 0,0 0 0 0 0,1 1 1 0 0,-1-1-1 0 0,0 0 1 0 0,1 1-1 0 0,-1-1 0 0 0,1 0 1 0 0,-1 1-1 0 0,1-1 0 0 0,0 0 1 0 0,-1 1-1 0 0,1-1 1 0 0,0 1-1 0 0,0-1 0 0 0,0 1 1 0 0,0 1-1 0 0,1 2 25 0 0,0-1-1 0 0,-1 1 1 0 0,1-1-1 0 0,1 1 1 0 0,-1-1-1 0 0,1 0 1 0 0,-1 1-1 0 0,1-1 1 0 0,1 0-1 0 0,-1 0 1 0 0,0 0-1 0 0,1-1 1 0 0,0 1-1 0 0,0-1 1 0 0,0 1-1 0 0,4 2 1 0 0,-2-2-6 0 0,0-1-1 0 0,0 0 1 0 0,0 0-1 0 0,0 0 1 0 0,0-1-1 0 0,1 0 1 0 0,-1 0-1 0 0,1 0 1 0 0,0-1-1 0 0,0 1 1 0 0,8-1-1 0 0,-4 0-37 0 0,1-1 0 0 0,0 0 0 0 0,-1-1 0 0 0,1 0-1 0 0,-1 0 1 0 0,1-1 0 0 0,-1-1 0 0 0,1 0 0 0 0,-1 0-1 0 0,0-1 1 0 0,0 0 0 0 0,-1-1 0 0 0,17-11 0 0 0,-16 8 19 0 0,0-2-1 0 0,0 1 1 0 0,-1-1 0 0 0,0-1 0 0 0,-1 0 0 0 0,0 0 0 0 0,-1 0-1 0 0,0-1 1 0 0,-1 0 0 0 0,-1-1 0 0 0,0 1 0 0 0,0-1 0 0 0,-1 0 0 0 0,3-16-1 0 0,-7 2 80 0 0,-2 11-104 0 0,-10-27 44 0 0,12 41-79 0 0,-10-11-46 0 0,4 5-349 0 0,9 22 223 0 0,2 1 163 0 0,1-1 1 0 0,0 0-1 0 0,10 13 0 0 0,9 24 30 0 0,-18-36-8 0 0,-1 0 0 0 0,-1 1-1 0 0,0 0 1 0 0,2 19-1 0 0,-6-28-15 0 0,0 1 0 0 0,-1-1-1 0 0,0 0 1 0 0,0 1-1 0 0,-1-1 1 0 0,0 0 0 0 0,0 1-1 0 0,-1-1 1 0 0,0 0 0 0 0,0 0-1 0 0,-6 12 1 0 0,3-9 28 0 0,-1 1 0 0 0,1-1 0 0 0,-2 0 0 0 0,1-1 0 0 0,-15 17 0 0 0,19-25-86 0 0,18-21-1607 0 0,-13 17 1560 0 0,97-115-2092 0 0,-88 101 2099 0 0,-1 1 0 0 0,0-2 0 0 0,-1 1 0 0 0,-1-1 0 0 0,10-30 0 0 0,-14 16-35 0 0,-5 29 80 0 0,-2-4 216 0 0,6 16-39 0 0,-1-1 0 0 0,1 1 0 0 0,0-1-1 0 0,1 0 1 0 0,0 0 0 0 0,0-1 0 0 0,0 1 0 0 0,1-1-1 0 0,13 12 1 0 0,-11-11-32 0 0,-1 0 0 0 0,1 0 0 0 0,-2 1 0 0 0,1 0 0 0 0,-1 0 0 0 0,8 18 0 0 0,-13-26-163 0 0,-1 1 0 0 0,1 0 0 0 0,-1 0 1 0 0,0-1-1 0 0,0 1 0 0 0,0 0 0 0 0,1 0 0 0 0,-2-1 0 0 0,1 1 0 0 0,0 0 0 0 0,0 0 0 0 0,0-1 0 0 0,-1 1 0 0 0,1 0 0 0 0,-1-1 1 0 0,1 1-1 0 0,-1 0 0 0 0,0-1 0 0 0,0 1 0 0 0,0-1 0 0 0,0 1 0 0 0,0-1 0 0 0,0 0 0 0 0,0 1 0 0 0,0-1 0 0 0,0 0 0 0 0,-1 0 1 0 0,1 0-1 0 0,-1 1 0 0 0,-2 0 0 0 0,-3 3-1128 0 0,-1-1 0 0 0,0 0-1 0 0,0 0 1 0 0,-17 4 0 0 0,0-1-2068 0 0</inkml:trace>
</inkml:ink>
</file>

<file path=ppt/ink/ink5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6.6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5 36 1012 0 0,'-4'-4'445'0'0,"1"1"0"0"0,-2-1 0 0 0,1 1 0 0 0,0 0 0 0 0,0 1-1 0 0,-1-1 1 0 0,0 1 0 0 0,1 0 0 0 0,-1 0 0 0 0,0 0 0 0 0,0 1 0 0 0,0 0 0 0 0,-9-2 0 0 0,5 3-178 0 0,0 0 0 0 0,0 0 1 0 0,0 1-1 0 0,0 0 0 0 0,0 0 1 0 0,0 1-1 0 0,0 0 0 0 0,-8 4 1 0 0,14-5-213 0 0,0 1 1 0 0,0-1 0 0 0,0 0-1 0 0,0 1 1 0 0,0 0-1 0 0,0 0 1 0 0,0 0-1 0 0,1 0 1 0 0,-1 0 0 0 0,1 1-1 0 0,0-1 1 0 0,-1 1-1 0 0,1-1 1 0 0,0 1 0 0 0,1 0-1 0 0,-1 0 1 0 0,0 0-1 0 0,1 0 1 0 0,0 0 0 0 0,-1 0-1 0 0,1 0 1 0 0,1 1-1 0 0,-1-1 1 0 0,0 0 0 0 0,1 1-1 0 0,-1 5 1 0 0,2-3-20 0 0,-1 0 0 0 0,1 0 0 0 0,1 0 0 0 0,-1 0 0 0 0,1 0 0 0 0,0 0 0 0 0,0 0 0 0 0,1-1 0 0 0,0 1 0 0 0,0-1 0 0 0,0 0 0 0 0,8 10 0 0 0,6 4 26 0 0,34 32 1 0 0,-23-23-7 0 0,-13-13-8 0 0,25 26 30 0 0,-37-37-9 0 0,0 0-1 0 0,0 0 1 0 0,0 0-1 0 0,0 1 0 0 0,-1-1 1 0 0,0 1-1 0 0,0-1 1 0 0,2 8-1 0 0,-4-10-30 0 0,1 0 0 0 0,-1-1-1 0 0,0 1 1 0 0,-1-1 0 0 0,1 1 0 0 0,0-1-1 0 0,0 1 1 0 0,-1-1 0 0 0,1 1-1 0 0,0 0 1 0 0,-1-1 0 0 0,0 0 0 0 0,1 1-1 0 0,-1-1 1 0 0,0 1 0 0 0,0-1 0 0 0,0 0-1 0 0,0 0 1 0 0,0 1 0 0 0,0-1-1 0 0,0 0 1 0 0,0 0 0 0 0,0 0 0 0 0,0 0-1 0 0,-1 0 1 0 0,1 0 0 0 0,0-1 0 0 0,-1 1-1 0 0,1 0 1 0 0,-1-1 0 0 0,1 1-1 0 0,-1-1 1 0 0,1 1 0 0 0,-3 0 0 0 0,-7 2 129 0 0,1-1 0 0 0,-1 0 0 0 0,-17 1-1 0 0,25-2-139 0 0,-26 1-34 0 0,1-2 0 0 0,-1 0-1 0 0,-48-8 1 0 0,70 7-588 0 0,1 0-1 0 0,-1 0 1 0 0,1-1-1 0 0,0 0 1 0 0,0 0-1 0 0,-1-1 0 0 0,-9-5 1 0 0,16 8 506 0 0,-1-1 1 0 0,1 1-1 0 0,0 0 0 0 0,0-1 0 0 0,-1 1 1 0 0,1 0-1 0 0,0-1 0 0 0,0 1 1 0 0,0 0-1 0 0,0-1 0 0 0,0 1 1 0 0,-1 0-1 0 0,1-1 0 0 0,0 1 1 0 0,0 0-1 0 0,0-1 0 0 0,0 1 1 0 0,0 0-1 0 0,0-1 0 0 0,0 1 1 0 0,0 0-1 0 0,0-1 0 0 0,0 1 1 0 0,0-1-1 0 0,1 1 0 0 0,-1 0 1 0 0,0-1-1 0 0,0 1 0 0 0,0 0 0 0 0,0-1 1 0 0,0 1-1 0 0,1 0 0 0 0,-1-1 1 0 0,8-8-1832 0 0,1 2-502 0 0</inkml:trace>
</inkml:ink>
</file>

<file path=ppt/ink/ink5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7.0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7 11 1056 0 0,'2'-2'951'0'0,"4"-6"2556"0"0,-22 9-1940 0 0,-26 12-337 0 0,24-4-757 0 0,1 1-1 0 0,-21 17 1 0 0,33-23-396 0 0,0 0 0 0 0,1 0 0 0 0,0 0 0 0 0,0 0-1 0 0,0 1 1 0 0,0 0 0 0 0,1-1 0 0 0,0 1 0 0 0,0 0 0 0 0,0 1 0 0 0,0-1-1 0 0,-2 8 1 0 0,5-11-59 0 0,-1 0 0 0 0,0-1 0 0 0,1 1-1 0 0,-1 0 1 0 0,1 0 0 0 0,0-1 0 0 0,0 1-1 0 0,0 0 1 0 0,0 0 0 0 0,0 0 0 0 0,0-1 0 0 0,0 1-1 0 0,0 0 1 0 0,1 0 0 0 0,-1-1 0 0 0,1 1-1 0 0,-1 0 1 0 0,1-1 0 0 0,0 1 0 0 0,0-1 0 0 0,0 1-1 0 0,-1 0 1 0 0,1-1 0 0 0,1 0 0 0 0,-1 1-1 0 0,0-1 1 0 0,0 0 0 0 0,0 1 0 0 0,1-1-1 0 0,-1 0 1 0 0,1 0 0 0 0,-1 0 0 0 0,1 0 0 0 0,-1-1-1 0 0,1 1 1 0 0,0 0 0 0 0,-1 0 0 0 0,1-1-1 0 0,0 1 1 0 0,-1-1 0 0 0,1 0 0 0 0,0 0-1 0 0,3 1 1 0 0,3-1 8 0 0,-1 0 1 0 0,1 0-1 0 0,0 0 0 0 0,-1-1 0 0 0,1 0 0 0 0,-1-1 0 0 0,1 0 0 0 0,-1 0 1 0 0,10-4-1 0 0,35-25 655 0 0,-16 9 411 0 0,-34 21-966 0 0,1 0-7 0 0,6-1-14 0 0,-7 1-15 0 0,5 15 130 0 0,-1 2-327 0 0,-1 1 0 0 0,3 24 0 0 0,-4-21-2434 0 0,10 29 0 0 0,-10-35-1212 0 0</inkml:trace>
</inkml:ink>
</file>

<file path=ppt/ink/ink5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7.8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39 424 0 0,'2'-2'1866'0'0,"1"0"-1111"0"0,-3 1-591 0 0,1 1 0 0 0,-1-1 0 0 0,1 0 1 0 0,0 1-1 0 0,-1-1 0 0 0,1 1 0 0 0,0-1 0 0 0,-1 0 0 0 0,1 1 1 0 0,0 0-1 0 0,0-1 0 0 0,0 1 0 0 0,-1-1 0 0 0,1 1 0 0 0,0 0 0 0 0,0 0 1 0 0,0-1-1 0 0,0 1 0 0 0,0 0 0 0 0,-1 0 0 0 0,1 0 0 0 0,0 0 1 0 0,0 0-1 0 0,0 0 0 0 0,0 0 0 0 0,0 0 0 0 0,0 1 0 0 0,0-1 0 0 0,-1 0 1 0 0,1 0-1 0 0,0 1 0 0 0,0-1 0 0 0,0 1 0 0 0,-1-1 0 0 0,1 1 1 0 0,0-1-1 0 0,1 2 0 0 0,1 2 130 0 0,0 0-1 0 0,1 1 1 0 0,-2-1 0 0 0,1 1 0 0 0,-1 0 0 0 0,1 0-1 0 0,-1 0 1 0 0,1 7 0 0 0,10 47 1065 0 0,-5-21-839 0 0,-8-16 2685 0 0,-4-27-2987 0 0,3 4-224 0 0,0-1 1 0 0,1 0-1 0 0,-1 0 0 0 0,1 0 1 0 0,0 0-1 0 0,-1 1 0 0 0,1-1 1 0 0,0 0-1 0 0,0 0 0 0 0,1 0 1 0 0,-1 0-1 0 0,0 0 0 0 0,0 0 1 0 0,1 1-1 0 0,-1-1 0 0 0,2-3 1 0 0,12-27-172 0 0,-12 30 163 0 0,-1 0 0 0 0,1 0 0 0 0,-1 0-1 0 0,1 0 1 0 0,0 1 0 0 0,-1-1 0 0 0,1 0 0 0 0,0 1 0 0 0,0-1-1 0 0,1 1 1 0 0,-1 0 0 0 0,0 0 0 0 0,0 0 0 0 0,1 0-1 0 0,-1 0 1 0 0,0 0 0 0 0,1 0 0 0 0,-1 1 0 0 0,1-1-1 0 0,-1 1 1 0 0,1 0 0 0 0,-1 0 0 0 0,1 0 0 0 0,4 0-1 0 0,-3 1 15 0 0,0 0-1 0 0,-1 0 1 0 0,1 0-1 0 0,0 1 1 0 0,-1-1-1 0 0,1 1 1 0 0,-1 0-1 0 0,0 0 1 0 0,0 0-1 0 0,0 1 1 0 0,0-1-1 0 0,0 1 1 0 0,0-1-1 0 0,0 1 1 0 0,-1 0-1 0 0,1 0 1 0 0,1 4-1 0 0,2 2-149 0 0,-6-8 193 0 0,0-1 0 0 0,0 1 1 0 0,1-1-1 0 0,-1 1 0 0 0,0-1 1 0 0,0 1-1 0 0,0-1 0 0 0,1 0 1 0 0,-1 1-1 0 0,0-1 0 0 0,1 1 1 0 0,-1-1-1 0 0,0 0 0 0 0,1 1 1 0 0,-1-1-1 0 0,0 0 0 0 0,1 1 1 0 0,-1-1-1 0 0,1 0 0 0 0,-1 1 1 0 0,1-1-1 0 0,-1 0 0 0 0,1 0 1 0 0,-1 0-1 0 0,1 1 0 0 0,0-1 1 0 0,16-20 823 0 0,-13 15-883 0 0,1-1 0 0 0,-1 1 0 0 0,1 0-1 0 0,0 0 1 0 0,0 1 0 0 0,0-1 0 0 0,1 1 0 0 0,0 0 0 0 0,-1 1 0 0 0,2-1-1 0 0,-1 1 1 0 0,0 1 0 0 0,10-4 0 0 0,-14 6 14 0 0,0 0-1 0 0,0 0 1 0 0,-1 0-1 0 0,1 0 1 0 0,0 1-1 0 0,0-1 1 0 0,-1 0-1 0 0,1 1 1 0 0,0 0 0 0 0,0-1-1 0 0,-1 1 1 0 0,1 0-1 0 0,-1 0 1 0 0,1 0-1 0 0,-1 0 1 0 0,1 0-1 0 0,-1 0 1 0 0,0 1 0 0 0,1-1-1 0 0,-1 0 1 0 0,0 1-1 0 0,0-1 1 0 0,2 3-1 0 0,1 4-614 0 0,0-1-1 0 0,0 1 1 0 0,-1-1-1 0 0,5 14 1 0 0,4 13-3746 0 0,0-5-122 0 0,-9-29 3808 0 0,-2-1 571 0 0,1 0 1 0 0,-1 0-1 0 0,1 0 1 0 0,-1-1-1 0 0,0 1 1 0 0,1 0-1 0 0,-1-1 1 0 0,0 1-1 0 0,0-1 1 0 0,0 1-1 0 0,0-1 0 0 0,0 0 1 0 0,-1 1-1 0 0,2-3 1 0 0,-2 2 126 0 0,6-7 523 0 0,1-1 0 0 0,-1 1 0 0 0,1 0 0 0 0,1 1 0 0 0,14-14 0 0 0,-21 21-411 0 0,1 0 0 0 0,-1 0 0 0 0,1 0 0 0 0,0 0-1 0 0,-1 1 1 0 0,1-1 0 0 0,0 1 0 0 0,0-1 0 0 0,-1 1 0 0 0,1 0 0 0 0,0 0 0 0 0,0 0 0 0 0,0 0-1 0 0,-1 0 1 0 0,1 0 0 0 0,0 0 0 0 0,0 0 0 0 0,0 1 0 0 0,1 0 0 0 0,-1-1-208 0 0,0 1 150 0 0,0-1-1 0 0,-1 1 1 0 0,1-1-1 0 0,-1 1 1 0 0,1 0 0 0 0,-1 0-1 0 0,1 0 1 0 0,-1 0 0 0 0,1 0-1 0 0,-1 0 1 0 0,0 0-1 0 0,1 0 1 0 0,-1 1 0 0 0,0-1-1 0 0,0 1 1 0 0,2 1 0 0 0,11 26 830 0 0,-12-24-689 0 0,13 31 887 0 0,-3 1-1 0 0,15 75 1 0 0,-20-79-324 0 0,-7-24 361 0 0,-7-15-961 0 0,-7-18-585 0 0,9 1-3 0 0,0-1 1 0 0,2 0 0 0 0,0 1-1 0 0,2-1 1 0 0,1 0-1 0 0,5-45 1 0 0,-2 49 261 0 0,0 1 1 0 0,2 0 0 0 0,0 1-1 0 0,1-1 1 0 0,1 1-1 0 0,1 0 1 0 0,0 1-1 0 0,21-32 1 0 0,-25 44 113 0 0,-1 0 0 0 0,1 0 0 0 0,0 0 0 0 0,1 0 0 0 0,-1 1 0 0 0,1 0 0 0 0,0 0 0 0 0,0 0 0 0 0,0 1 1 0 0,0 0-1 0 0,1 0 0 0 0,-1 0 0 0 0,1 0 0 0 0,7-1 0 0 0,-12 4 31 0 0,-1 0 1 0 0,1 0 0 0 0,-1-1-1 0 0,1 1 1 0 0,-1 0 0 0 0,1 0-1 0 0,-1 0 1 0 0,1 1 0 0 0,-1-1-1 0 0,1 0 1 0 0,-1 0 0 0 0,1 0-1 0 0,-1 0 1 0 0,1 0 0 0 0,-1 1-1 0 0,0-1 1 0 0,1 0 0 0 0,-1 0-1 0 0,1 1 1 0 0,-1-1 0 0 0,0 0-1 0 0,1 1 1 0 0,-1-1 0 0 0,1 0-1 0 0,-1 1 1 0 0,0-1 0 0 0,1 0-1 0 0,-1 1 1 0 0,0-1 0 0 0,0 1-1 0 0,1 0 1 0 0,-1 1 3 0 0,1 1-1 0 0,-1-1 1 0 0,0 1-1 0 0,1-1 1 0 0,-1 0-1 0 0,0 1 1 0 0,-1-1 0 0 0,1 1-1 0 0,0-1 1 0 0,-1 0-1 0 0,1 1 1 0 0,-1-1-1 0 0,0 0 1 0 0,0 1-1 0 0,0-1 1 0 0,0 0-1 0 0,0 0 1 0 0,0 0 0 0 0,-1 0-1 0 0,1 0 1 0 0,-1 0-1 0 0,1 0 1 0 0,-1 0-1 0 0,0-1 1 0 0,0 1-1 0 0,1-1 1 0 0,-1 1-1 0 0,-4 1 1 0 0,2 0 10 0 0,-16 13-17 0 0,-1-1 0 0 0,-1-2 0 0 0,-24 13 1 0 0,30-19-1017 0 0,0 0 0 0 0,-30 7 0 0 0,45-14 824 0 0,0 1 1 0 0,0-1 0 0 0,0 0-1 0 0,1 0 1 0 0,-1 0 0 0 0,0 0 0 0 0,0 0-1 0 0,0 0 1 0 0,0 0 0 0 0,0 0 0 0 0,0 0-1 0 0,0 0 1 0 0,1 0 0 0 0,-1 0 0 0 0,0-1-1 0 0,0 1 1 0 0,0 0 0 0 0,0-1-1 0 0,1 1 1 0 0,-1-1 0 0 0,0 1 0 0 0,0-1-1 0 0,-1 0 1 0 0,-6-7-2207 0 0</inkml:trace>
</inkml:ink>
</file>

<file path=ppt/ink/ink5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8.2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144 0 0,'3'0'277'0'0,"0"0"1"0"0,0 0-1 0 0,0 0 0 0 0,-1 0 1 0 0,1 0-1 0 0,0 1 0 0 0,0 0 0 0 0,0-1 1 0 0,-1 1-1 0 0,1 0 0 0 0,0 1 1 0 0,-1-1-1 0 0,1 0 0 0 0,-1 1 1 0 0,0-1-1 0 0,1 1 0 0 0,-1 0 0 0 0,0-1 1 0 0,0 1-1 0 0,0 1 0 0 0,0-1 1 0 0,0 0-1 0 0,0 0 0 0 0,-1 1 0 0 0,1-1 1 0 0,-1 0-1 0 0,0 1 0 0 0,0 0 1 0 0,1-1-1 0 0,-1 4 0 0 0,5 16 633 0 0,-1 0 1 0 0,-1 0-1 0 0,-1 0 0 0 0,0 41 0 0 0,-3-57-814 0 0,10 206-968 0 0,-4-156-7057 0 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1.6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 108 1660 0 0,'-16'-53'7363'0'0,"3"7"-4192"0"0,12 44-3110 0 0,-2-5-246 0 0</inkml:trace>
</inkml:ink>
</file>

<file path=ppt/ink/ink5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08.5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 117 2000 0 0,'12'-4'3859'0'0,"50"-19"583"0"0,-48 19-4170 0 0,0 0 0 0 0,0-2 0 0 0,0 0 0 0 0,0 0 1 0 0,-1-1-1 0 0,18-13 0 0 0,-27 17-280 0 0,11-12-42 0 0,-15 15 48 0 0,1 0-1 0 0,-1-1 1 0 0,0 1 0 0 0,1-1 0 0 0,-1 1-1 0 0,0-1 1 0 0,0 1 0 0 0,0-1 0 0 0,1 1-1 0 0,-1-1 1 0 0,0 1 0 0 0,0-1-1 0 0,0 1 1 0 0,0-1 0 0 0,0 1 0 0 0,0-1-1 0 0,0 1 1 0 0,0-1 0 0 0,0 1-1 0 0,0-1 1 0 0,0 1 0 0 0,0-1 0 0 0,0 1-1 0 0,-1-1 1 0 0,1 1 0 0 0,0-1-1 0 0,0 1 1 0 0,0-1 0 0 0,-1 1 0 0 0,1-1-1 0 0,-1 0 1 0 0,-1 1 10 0 0,0-1 0 0 0,0 0 0 0 0,0 1 0 0 0,0 0-1 0 0,0-1 1 0 0,0 1 0 0 0,0 0 0 0 0,0 0 0 0 0,-1 0 0 0 0,1 0 0 0 0,0 1-1 0 0,0-1 1 0 0,0 1 0 0 0,0-1 0 0 0,-3 2 0 0 0,4-2 6 0 0,-13 5 191 0 0,0-1 0 0 0,1 2-1 0 0,0 0 1 0 0,0 0 0 0 0,0 2-1 0 0,-19 14 1 0 0,26-18-60 0 0,0 0 1 0 0,0 1-1 0 0,1 0 0 0 0,0 0 0 0 0,0 0 1 0 0,1 1-1 0 0,-1 0 0 0 0,1 0 0 0 0,0 0 1 0 0,1 0-1 0 0,-1 0 0 0 0,1 1 0 0 0,1 0 1 0 0,-1-1-1 0 0,-1 11 0 0 0,3-15-80 0 0,1 1-1 0 0,0 0 1 0 0,0 0-1 0 0,0-1 1 0 0,0 1-1 0 0,0 0 1 0 0,1-1-1 0 0,-1 1 1 0 0,1 0-1 0 0,0-1 1 0 0,0 1-1 0 0,0-1 1 0 0,0 1-1 0 0,0-1 1 0 0,0 1-1 0 0,1-1 1 0 0,-1 0 0 0 0,3 3-1 0 0,-1-2-7 0 0,1 0 0 0 0,-1 0 0 0 0,1 0 0 0 0,-1 0 0 0 0,1-1 0 0 0,0 1-1 0 0,0-1 1 0 0,0 0 0 0 0,1 0 0 0 0,4 1 0 0 0,0 0-8 0 0,0-1 0 0 0,1 0 0 0 0,-1 0 0 0 0,1-1 0 0 0,0-1 0 0 0,0 1 0 0 0,-1-1 0 0 0,1-1 0 0 0,14-2 0 0 0,-14 0-86 0 0,0 0-1 0 0,-1 0 1 0 0,1-1-1 0 0,-1 0 1 0 0,0-1-1 0 0,0 0 1 0 0,0 0-1 0 0,-1-1 1 0 0,0 0-1 0 0,0-1 1 0 0,0 0-1 0 0,-1 0 1 0 0,11-13-1 0 0,-7 4 94 0 0,0 0-1 0 0,-1-1 1 0 0,0-1-1 0 0,-1 1 1 0 0,-2-2 0 0 0,7-20-1 0 0,-8 27-77 0 0,-2 16 41 0 0,-2 28 85 0 0,0-6-7 0 0,12 21 96 0 0,-10-38-212 0 0,-1 0 0 0 0,0 0 0 0 0,-1 0 0 0 0,0 0 0 0 0,0 1 0 0 0,-1-1 0 0 0,0 1 0 0 0,-2 16 0 0 0,1-23-128 0 0,-1 0-1 0 0,0 0 0 0 0,0 0 1 0 0,0 0-1 0 0,-1 0 0 0 0,1 0 1 0 0,-1 0-1 0 0,1-1 0 0 0,-1 1 1 0 0,0-1-1 0 0,0 1 0 0 0,0-1 0 0 0,0 0 1 0 0,-1 1-1 0 0,1-1 0 0 0,-1-1 1 0 0,1 1-1 0 0,-1 0 0 0 0,1 0 1 0 0,-7 2-1 0 0,2-2-859 0 0,0 1-1 0 0,-1-1 1 0 0,1 0-1 0 0,-1-1 1 0 0,1 0-1 0 0,-1 0 1 0 0,-11 0-1 0 0,-3-2-3825 0 0</inkml:trace>
</inkml:ink>
</file>

<file path=ppt/ink/ink5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10.1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24 996 0 0,'-1'-11'5295'0'0,"1"10"-5219"0"0,0 1 1 0 0,0-1 0 0 0,0 0 0 0 0,1 1 0 0 0,-1-1-1 0 0,0 1 1 0 0,0-1 0 0 0,1 1 0 0 0,-1-1-1 0 0,1 0 1 0 0,-1 1 0 0 0,0-1 0 0 0,1 1 0 0 0,-1 0-1 0 0,1-1 1 0 0,-1 1 0 0 0,1-1 0 0 0,-1 1-1 0 0,1 0 1 0 0,0-1 0 0 0,-1 1 0 0 0,1 0 0 0 0,-1 0-1 0 0,1 0 1 0 0,0-1 0 0 0,-1 1 0 0 0,1 0 0 0 0,0 0-1 0 0,-1 0 1 0 0,1 0 0 0 0,1 0 0 0 0,0 1 31 0 0,0-1 1 0 0,0 1-1 0 0,0 0 1 0 0,0-1-1 0 0,0 1 1 0 0,0 0 0 0 0,0 1-1 0 0,-1-1 1 0 0,1 0-1 0 0,2 2 1 0 0,2 3 111 0 0,0 0 1 0 0,0 0-1 0 0,-1 0 1 0 0,10 14-1 0 0,-10-10-100 0 0,1 1 0 0 0,-2 0-1 0 0,1 0 1 0 0,-2 1-1 0 0,1-1 1 0 0,-1 1 0 0 0,-1-1-1 0 0,0 1 1 0 0,-1 0 0 0 0,0 0-1 0 0,-1 0 1 0 0,0 0-1 0 0,-3 15 1 0 0,-3 9 646 0 0,-3 1 1 0 0,-23 65-1 0 0,26-83-407 0 0,0-5 398 0 0,5-10-450 0 0,-1 0-1 0 0,1 0 0 0 0,0 0 1 0 0,0 0-1 0 0,0 0 1 0 0,0 6-1 0 0,1-9-295 0 0,1-1 1 0 0,0 1-1 0 0,-1-1 1 0 0,1 1-1 0 0,-1-1 1 0 0,1 0-1 0 0,0 1 1 0 0,-1-1-1 0 0,1 0 1 0 0,0 1-1 0 0,0-1 1 0 0,-1 0-1 0 0,1 0 1 0 0,0 0-1 0 0,0 0 1 0 0,-1 0-1 0 0,1 0 1 0 0,0 0-1 0 0,0 0 1 0 0,-1 0-1 0 0,2 0 1 0 0,15-1-45 0 0,-16 1 33 0 0,44-3-458 0 0,0-2-1 0 0,0-2 1 0 0,68-20-1 0 0,-82 17 312 0 0,0-1-1 0 0,-1-1 0 0 0,0-2 1 0 0,0-1-1 0 0,43-31 0 0 0,-61 37 132 0 0,0 0-1 0 0,18-19 0 0 0,-28 26 23 0 0,1 0-1 0 0,-1-1 1 0 0,0 1-1 0 0,0-1 0 0 0,0 1 1 0 0,-1-1-1 0 0,1 0 1 0 0,-1 0-1 0 0,1 0 1 0 0,-1 0-1 0 0,0 0 1 0 0,0 0-1 0 0,0 0 0 0 0,-1 0 1 0 0,1 0-1 0 0,-1-1 1 0 0,0 1-1 0 0,1 0 1 0 0,-2-5-1 0 0,1 7-6 0 0,-1-1 0 0 0,0 0-1 0 0,0 1 1 0 0,0-1 0 0 0,0 1 0 0 0,0-1 0 0 0,0 1-1 0 0,0 0 1 0 0,0-1 0 0 0,0 1 0 0 0,-1 0-1 0 0,1 0 1 0 0,0 0 0 0 0,-1 0 0 0 0,1 0 0 0 0,-1 0-1 0 0,0 0 1 0 0,1 0 0 0 0,-1 1 0 0 0,1-1-1 0 0,-1 1 1 0 0,0-1 0 0 0,0 1 0 0 0,1 0-1 0 0,-1-1 1 0 0,0 1 0 0 0,0 0 0 0 0,-1 0 0 0 0,-6 0-3 0 0,0 0 0 0 0,0 0 0 0 0,1 1 0 0 0,-13 3 0 0 0,8-2 51 0 0,0 2 0 0 0,0 0-1 0 0,-23 11 1 0 0,32-13-26 0 0,0 0 0 0 0,0 0 0 0 0,0 1 1 0 0,0-1-1 0 0,1 1 0 0 0,-1 0 0 0 0,1 0 1 0 0,-1 1-1 0 0,1-1 0 0 0,0 1 0 0 0,0-1 0 0 0,1 1 1 0 0,-1 0-1 0 0,-3 7 0 0 0,6-9-19 0 0,-1 0 1 0 0,1-1-1 0 0,-1 1 0 0 0,1 0 1 0 0,0 0-1 0 0,0-1 0 0 0,0 1 0 0 0,0 0 1 0 0,0-1-1 0 0,0 1 0 0 0,0 0 0 0 0,1 0 1 0 0,-1-1-1 0 0,0 1 0 0 0,1 0 1 0 0,0-1-1 0 0,-1 1 0 0 0,1-1 0 0 0,0 1 1 0 0,0-1-1 0 0,0 1 0 0 0,0-1 0 0 0,0 0 1 0 0,0 1-1 0 0,0-1 0 0 0,0 0 1 0 0,1 0-1 0 0,-1 1 0 0 0,0-1 0 0 0,1 0 1 0 0,-1-1-1 0 0,1 1 0 0 0,-1 0 1 0 0,1 0-1 0 0,0-1 0 0 0,-1 1 0 0 0,3 0 1 0 0,5 2-159 0 0,0 0 1 0 0,0-1 0 0 0,0 0-1 0 0,0 0 1 0 0,14 0 0 0 0,-4-2-257 0 0,31-4 0 0 0,-34 3 315 0 0,0-1 1 0 0,0 2-1 0 0,18 1 1 0 0,-33-1 119 0 0,0 1 1 0 0,1-1-1 0 0,-1 0 1 0 0,0 0-1 0 0,0 1 1 0 0,0-1-1 0 0,0 0 1 0 0,0 1-1 0 0,0-1 1 0 0,0 1-1 0 0,0-1 1 0 0,0 1 0 0 0,0 0-1 0 0,0-1 1 0 0,0 1-1 0 0,0 0 1 0 0,-1 0-1 0 0,1 0 1 0 0,0 0-1 0 0,-1 0 1 0 0,1-1-1 0 0,0 1 1 0 0,0 2-1 0 0,4 26 321 0 0,-3-13-196 0 0,1 19 145 0 0,-3-27-544 0 0,0-1-1 0 0,1 1 0 0 0,3 13 0 0 0,2 11-4458 0 0</inkml:trace>
</inkml:ink>
</file>

<file path=ppt/ink/ink5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10.5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9 11 828 0 0,'-1'0'222'0'0,"1"-1"-1"0"0,-2-1 666 0 0,2 2-666 0 0,-1-1 1 0 0,1 1-1 0 0,-1-1 1 0 0,0 1-1 0 0,1 0 1 0 0,-1-1 0 0 0,0 1-1 0 0,1 0 1 0 0,-1 0-1 0 0,0-1 1 0 0,0 1-1 0 0,-8 1 175 0 0,0 0 0 0 0,0 1 0 0 0,0 0-1 0 0,0 0 1 0 0,1 1 0 0 0,-1 0 0 0 0,1 0 0 0 0,0 1-1 0 0,0 0 1 0 0,0 1 0 0 0,0 0 0 0 0,1 0-1 0 0,0 0 1 0 0,-9 10 0 0 0,3-4-132 0 0,1 2 1 0 0,1 0-1 0 0,0 0 1 0 0,1 1-1 0 0,0 0 0 0 0,-14 28 1 0 0,22-38-223 0 0,0 1-1 0 0,-1 0 1 0 0,2 0 0 0 0,-1 0 0 0 0,1 1 0 0 0,0-1 0 0 0,0 0-1 0 0,0 0 1 0 0,1 1 0 0 0,-1-1 0 0 0,1 0 0 0 0,1 1 0 0 0,-1-1-1 0 0,1 0 1 0 0,0 0 0 0 0,0 1 0 0 0,0-1 0 0 0,1 0 0 0 0,0 0-1 0 0,0 0 1 0 0,0 0 0 0 0,1-1 0 0 0,-1 1 0 0 0,1-1 0 0 0,0 1-1 0 0,1-1 1 0 0,-1 0 0 0 0,1 0 0 0 0,-1 0 0 0 0,1-1-1 0 0,1 1 1 0 0,-1-1 0 0 0,7 4 0 0 0,-2-1-70 0 0,1 0 0 0 0,0-1 0 0 0,1 0-1 0 0,-1-1 1 0 0,1 0 0 0 0,0-1 0 0 0,0 0 0 0 0,0 0 0 0 0,1-1 0 0 0,-1-1-1 0 0,1 0 1 0 0,-1 0 0 0 0,1-1 0 0 0,19-3 0 0 0,-19 0-150 0 0,0 0-1 0 0,-1-1 1 0 0,1 0-1 0 0,-1-1 1 0 0,0 0 0 0 0,-1-1-1 0 0,1 0 1 0 0,-1-1 0 0 0,0 0-1 0 0,-1 0 1 0 0,1-1 0 0 0,-1 0-1 0 0,-1-1 1 0 0,0 0 0 0 0,0 0-1 0 0,-1-1 1 0 0,12-20 0 0 0,-2-3 310 0 0,-1 0 0 0 0,-1 0 0 0 0,-2-2 0 0 0,14-59 0 0 0,-24 75 299 0 0,-3 19-421 0 0,0 0 0 0 0,0 0 0 0 0,0 0 0 0 0,0 0 0 0 0,0 0 0 0 0,0 0 0 0 0,0 0 0 0 0,0-1 0 0 0,-1 1 0 0 0,1 0 0 0 0,0 0-1 0 0,0 0 1 0 0,0 0 0 0 0,0 0 0 0 0,0 0 0 0 0,0 0 0 0 0,0 0 0 0 0,0 0 0 0 0,0 0 0 0 0,-1 0 0 0 0,1 0 0 0 0,0 0 0 0 0,0 0 0 0 0,0 0 0 0 0,0 0 0 0 0,0 0 0 0 0,0 0-1 0 0,0 0 1 0 0,0 0 0 0 0,-1 0 0 0 0,1 0 0 0 0,0 0 0 0 0,0 0 0 0 0,0 0 0 0 0,0 0 0 0 0,0 0 0 0 0,0 0 0 0 0,0 0 0 0 0,0 0 0 0 0,0 0 0 0 0,0 0 0 0 0,-1 1 0 0 0,1-1-1 0 0,0 0 1 0 0,0 0 0 0 0,0 0 0 0 0,0 0 0 0 0,0 0 0 0 0,0 0 0 0 0,0 0 0 0 0,0 0 0 0 0,0 0 0 0 0,0 0 0 0 0,0 1 0 0 0,0-1 0 0 0,0 0 0 0 0,0 0 0 0 0,0 0 0 0 0,0 0-1 0 0,0 0 1 0 0,0 0 0 0 0,0 0 0 0 0,0 0 0 0 0,0 1 0 0 0,0-1 0 0 0,-2 3 99 0 0,0 1 0 0 0,0 0 1 0 0,0 0-1 0 0,1 0 0 0 0,-1 0 0 0 0,0 4 0 0 0,-2 18 145 0 0,1 1 0 0 0,1-1 0 0 0,2 1 1 0 0,2 28-1 0 0,19 105-2542 0 0,-20-154 1818 0 0,-1-2 25 0 0,1 0 0 0 0,-1-1 1 0 0,1 1-1 0 0,0 0 0 0 0,0-1 0 0 0,0 1 0 0 0,0-1 1 0 0,0 1-1 0 0,1-1 0 0 0,0 1 0 0 0,0-1 0 0 0,0 0 0 0 0,0 0 1 0 0,5 6-1 0 0,4-4-1897 0 0</inkml:trace>
</inkml:ink>
</file>

<file path=ppt/ink/ink5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11.5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2 177 1028 0 0,'-2'-2'1522'0'0,"1"0"-1311"0"0,-1 1 0 0 0,0-1-1 0 0,1 1 1 0 0,-1-1-1 0 0,0 1 1 0 0,0 0 0 0 0,0 0-1 0 0,0 0 1 0 0,0 0 0 0 0,-1 0-1 0 0,1 0 1 0 0,0 1 0 0 0,0-1-1 0 0,-1 1 1 0 0,1-1 0 0 0,0 1-1 0 0,0 0 1 0 0,-1 0 0 0 0,1 0-1 0 0,0 0 1 0 0,-1 0 0 0 0,-2 1-1 0 0,-5 0 108 0 0,-1 1 1 0 0,1 0-1 0 0,0 1 0 0 0,-11 3 0 0 0,16-4-218 0 0,-1 0 1 0 0,1 1-1 0 0,-1-1 0 0 0,1 1 0 0 0,0 0 1 0 0,0 1-1 0 0,0-1 0 0 0,0 1 0 0 0,1 0 1 0 0,-1 0-1 0 0,1 0 0 0 0,0 1 0 0 0,0-1 1 0 0,1 1-1 0 0,-1 0 0 0 0,-4 9 0 0 0,8-13-94 0 0,-1 0 0 0 0,1 0 1 0 0,-1 1-1 0 0,1-1 0 0 0,-1 0 0 0 0,1 0 0 0 0,0 1 0 0 0,0-1 0 0 0,-1 0 0 0 0,1 1 0 0 0,0-1 0 0 0,0 0 0 0 0,0 0 0 0 0,1 1 0 0 0,-1-1 0 0 0,0 0 0 0 0,0 1 1 0 0,1-1-1 0 0,-1 0 0 0 0,0 0 0 0 0,1 1 0 0 0,0-1 0 0 0,-1 0 0 0 0,1 0 0 0 0,0 0 0 0 0,-1 0 0 0 0,1 0 0 0 0,0 0 0 0 0,0 0 0 0 0,0 0 0 0 0,0 0 1 0 0,0 0-1 0 0,0 0 0 0 0,0-1 0 0 0,0 1 0 0 0,0 0 0 0 0,0-1 0 0 0,1 1 0 0 0,-1-1 0 0 0,0 1 0 0 0,0-1 0 0 0,1 0 0 0 0,-1 1 0 0 0,2-1 0 0 0,3 1-146 0 0,0 0-1 0 0,0-1 1 0 0,0 0-1 0 0,0 0 1 0 0,0 0-1 0 0,-1-1 1 0 0,1 0-1 0 0,11-3 1 0 0,-7 0-99 0 0,1-1 0 0 0,-1 0 1 0 0,13-9-1 0 0,11-5 274 0 0,-32 18 383 0 0,4 23 493 0 0,-6-18-799 0 0,0 1 1 0 0,0-1 0 0 0,0 1 0 0 0,1-1 0 0 0,0 0 0 0 0,0 1 0 0 0,0-1 0 0 0,0 0 0 0 0,1 0-1 0 0,-1 0 1 0 0,1 0 0 0 0,0 0 0 0 0,0 0 0 0 0,1 0 0 0 0,-1 0 0 0 0,1-1 0 0 0,0 1-1 0 0,0-1 1 0 0,0 0 0 0 0,0 0 0 0 0,1 0 0 0 0,6 4 0 0 0,-5-5-70 0 0,-1 0 0 0 0,1 0 1 0 0,0 0-1 0 0,0-1 0 0 0,0 0 0 0 0,0 0 1 0 0,1 0-1 0 0,-1-1 0 0 0,0 1 0 0 0,0-1 1 0 0,1-1-1 0 0,-1 1 0 0 0,0-1 0 0 0,0 0 1 0 0,0 0-1 0 0,0 0 0 0 0,0-1 0 0 0,0 1 1 0 0,0-1-1 0 0,0 0 0 0 0,-1-1 0 0 0,1 1 1 0 0,-1-1-1 0 0,8-5 0 0 0,-3 0-41 0 0,0 1-1 0 0,0-2 1 0 0,-1 1 0 0 0,0-1-1 0 0,0 0 1 0 0,-1 0-1 0 0,0-1 1 0 0,-1 0 0 0 0,9-20-1 0 0,-10 20-1 0 0,0 0 0 0 0,-2-1-1 0 0,1 1 1 0 0,-1-1 0 0 0,-1 0 0 0 0,0 0-1 0 0,-1 0 1 0 0,0 0 0 0 0,0-1 0 0 0,-1 1-1 0 0,0 0 1 0 0,-4-17 0 0 0,4 25 21 0 0,-11-29 409 0 0,10 29-425 0 0,-1 0 0 0 0,1 0 0 0 0,-1 0 0 0 0,1 0 0 0 0,-1 1 0 0 0,0-1 0 0 0,-1 0 0 0 0,-3-4 0 0 0,5 6-28 0 0,0 1-5 0 0,1-1 24 0 0,-1 1-1 0 0,0 0 1 0 0,1-1-1 0 0,-1 1 0 0 0,0 0 1 0 0,1-1-1 0 0,-1 1 1 0 0,0 0-1 0 0,0 0 0 0 0,1-1 1 0 0,-1 1-1 0 0,0 0 1 0 0,0 0-1 0 0,1 0 0 0 0,-1 0 1 0 0,0 0-1 0 0,0 0 1 0 0,1 0-1 0 0,-1 0 0 0 0,0 1 1 0 0,0-1-1 0 0,1 0 1 0 0,-1 0-1 0 0,0 1 0 0 0,1-1 1 0 0,-1 0-1 0 0,0 1 1 0 0,1-1-1 0 0,-1 0 0 0 0,0 1 1 0 0,1-1-1 0 0,-1 1 1 0 0,1-1-1 0 0,-1 1 0 0 0,1 0 1 0 0,-1-1-1 0 0,1 1 1 0 0,-1 0-1 0 0,1-1 0 0 0,0 1 1 0 0,-1 0-1 0 0,1-1 1 0 0,0 1-1 0 0,-1 0 0 0 0,1-1 1 0 0,0 1-1 0 0,0 0 1 0 0,0 0-1 0 0,0-1 0 0 0,0 1 1 0 0,0 0-1 0 0,0 0 0 0 0,0-1 1 0 0,0 1-1 0 0,0 0 1 0 0,0 0-1 0 0,0-1 0 0 0,1 1 1 0 0,-1 1-1 0 0,3 10-4 0 0,1-1-1 0 0,0 0 0 0 0,0 0 0 0 0,1-1 1 0 0,0 1-1 0 0,11 16 0 0 0,5 9 7 0 0,-13-22 42 0 0,-1 0 1 0 0,0 1-1 0 0,-1 0 1 0 0,-1 0-1 0 0,0 0 1 0 0,-1 1-1 0 0,0-1 1 0 0,-2 1-1 0 0,2 20 1 0 0,-2 10 514 0 0,-2-44-353 0 0,4 1-141 0 0,-3-3-64 0 0,-1 0 0 0 0,0 1 0 0 0,0-1 0 0 0,0 0 0 0 0,1 0 0 0 0,-1 0 0 0 0,0 0 0 0 0,0 1 0 0 0,1-1 0 0 0,-1 0 0 0 0,0 0 0 0 0,0 0 0 0 0,1 0 0 0 0,-1 0 0 0 0,0 0 0 0 0,0 0 0 0 0,1 0 0 0 0,-1 0 0 0 0,0 0 0 0 0,0 0 0 0 0,1 0 0 0 0,-1 0 0 0 0,0 0 0 0 0,0 0 0 0 0,1 0 0 0 0,-1 0 0 0 0,0 0 0 0 0,1 0 0 0 0,-1 0-1 0 0,0 0 1 0 0,0 0 0 0 0,1 0 0 0 0,-1 0 0 0 0,0-1 0 0 0,0 1 0 0 0,1 0 0 0 0,10-6-284 0 0,0 0-1 0 0,-1-1 0 0 0,1 0 1 0 0,-1-1-1 0 0,-1 0 0 0 0,1 0 1 0 0,12-16-1 0 0,52-74-915 0 0,-61 78 1053 0 0,2 0 227 0 0,16-34 0 0 0,-28 47 6 0 0,0 0 0 0 0,0-1-1 0 0,0 1 1 0 0,-1-1 0 0 0,0 0-1 0 0,0 0 1 0 0,-1 1 0 0 0,1-12-1 0 0,-2 19-79 0 0,0-1 0 0 0,0 1 0 0 0,0 0 0 0 0,0-1 0 0 0,0 1 0 0 0,0 0 0 0 0,-1-1 0 0 0,1 1 0 0 0,0 0-1 0 0,0 0 1 0 0,0-1 0 0 0,0 1 0 0 0,0 0 0 0 0,-1-1 0 0 0,1 1 0 0 0,0 0 0 0 0,0 0 0 0 0,0-1-1 0 0,-1 1 1 0 0,1 0 0 0 0,0 0 0 0 0,0-1 0 0 0,-1 1 0 0 0,1 0 0 0 0,0 0 0 0 0,-1 0 0 0 0,1 0 0 0 0,0 0-1 0 0,0-1 1 0 0,-1 1 0 0 0,1 0 0 0 0,0 0 0 0 0,-1 0 0 0 0,1 0 0 0 0,0 0 0 0 0,-1 0 0 0 0,1 0 0 0 0,0 0-1 0 0,-1 0 1 0 0,1 0 0 0 0,0 0 0 0 0,-1 0 0 0 0,1 1 0 0 0,-1-1-6 0 0,0 0 0 0 0,0 0 0 0 0,1 0 0 0 0,-1 0-1 0 0,0 1 1 0 0,1-1 0 0 0,-1 0 0 0 0,1 1 0 0 0,-1-1 0 0 0,0 0 0 0 0,1 1 0 0 0,-1-1 0 0 0,1 1-1 0 0,-1-1 1 0 0,1 1 0 0 0,-1-1 0 0 0,1 1 0 0 0,-1-1 0 0 0,1 1 0 0 0,-1 1 0 0 0,0 3 12 0 0,0 0 0 0 0,0 0 0 0 0,0 1 0 0 0,1-1 0 0 0,0 1 0 0 0,0-1-1 0 0,0 0 1 0 0,1 1 0 0 0,0-1 0 0 0,0 0 0 0 0,0 1 0 0 0,0-1 0 0 0,1 0 0 0 0,0 0 0 0 0,5 10 0 0 0,5 5 316 0 0,1 0-1 0 0,22 28 1 0 0,1 1 293 0 0,-35-47-591 0 0,0-1 1 0 0,0 0-1 0 0,0 0 1 0 0,-1 0 0 0 0,1 1-1 0 0,0-1 1 0 0,-1 0 0 0 0,1 1-1 0 0,-1-1 1 0 0,0 0 0 0 0,1 1-1 0 0,-1-1 1 0 0,0 0-1 0 0,0 1 1 0 0,0-1 0 0 0,0 1-1 0 0,0-1 1 0 0,0 1 0 0 0,-1-1-1 0 0,1 0 1 0 0,0 1-1 0 0,-1 1 1 0 0,0-2-15 0 0,0 1 0 0 0,0 0 0 0 0,-1-1-1 0 0,1 1 1 0 0,0-1 0 0 0,-1 0 0 0 0,1 1 0 0 0,-1-1 0 0 0,1 0-1 0 0,-1 0 1 0 0,0 0 0 0 0,0 0 0 0 0,-3 2 0 0 0,-6 1-290 0 0,-1-1 1 0 0,0 0 0 0 0,1 0-1 0 0,-15 0 1 0 0,19-2-123 0 0,-59 1-6376 0 0,48-3 3072 0 0</inkml:trace>
</inkml:ink>
</file>

<file path=ppt/ink/ink5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12.23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7 50 716 0 0,'0'0'2250'0'0,"16"16"1953"0"0,-6-14-4009 0 0,0-1 0 0 0,0 0 0 0 0,0-1 0 0 0,1 0 0 0 0,-1-1 0 0 0,0 0 0 0 0,0 0 0 0 0,0-1 0 0 0,0-1 0 0 0,-1 1 0 0 0,1-2 0 0 0,-1 1 0 0 0,1-1 1 0 0,13-9-1 0 0,-21 13-192 0 0,-1-1 1 0 0,0 0 0 0 0,0 1 0 0 0,0-1 0 0 0,0 0 0 0 0,0 0 0 0 0,0 0-1 0 0,0 0 1 0 0,-1 0 0 0 0,1 0 0 0 0,0 0 0 0 0,0 0 0 0 0,-1 0 0 0 0,1 0-1 0 0,-1 0 1 0 0,1 0 0 0 0,0-2 0 0 0,-1 2 1 0 0,0 1 1 0 0,0-1-1 0 0,0 1 1 0 0,-1-1-1 0 0,1 1 1 0 0,0-1-1 0 0,0 1 1 0 0,0-1-1 0 0,-1 1 0 0 0,1-1 1 0 0,0 1-1 0 0,-1-1 1 0 0,1 1-1 0 0,0-1 1 0 0,-1 1-1 0 0,1-1 1 0 0,0 1-1 0 0,-1 0 1 0 0,1-1-1 0 0,-1 1 0 0 0,1 0 1 0 0,-1-1-1 0 0,1 1 1 0 0,-1 0-1 0 0,0-1 1 0 0,-3 0 41 0 0,1 0 1 0 0,0 0 0 0 0,-1 0-1 0 0,1 1 1 0 0,-1-1 0 0 0,1 1-1 0 0,-1 0 1 0 0,1 0-1 0 0,-1 0 1 0 0,-4 1 0 0 0,-6 2 106 0 0,1 1 0 0 0,0 0 1 0 0,0 1-1 0 0,0 1 1 0 0,1 0-1 0 0,0 0 0 0 0,-18 13 1 0 0,24-14-46 0 0,-1 0 0 0 0,1 0 1 0 0,0 0-1 0 0,0 1 0 0 0,1 0 0 0 0,0 0 0 0 0,0 0 1 0 0,0 0-1 0 0,1 1 0 0 0,0 0 0 0 0,0 0 0 0 0,1 0 1 0 0,0 0-1 0 0,-4 12 0 0 0,7-14-11 0 0,-1-1 0 0 0,0 1-1 0 0,1-1 1 0 0,0 1 0 0 0,0-1 0 0 0,0 1 0 0 0,1-1-1 0 0,-1 1 1 0 0,1-1 0 0 0,0 0 0 0 0,0 1-1 0 0,1-1 1 0 0,0 0 0 0 0,2 6 0 0 0,0-4 1 0 0,0 0 1 0 0,0 0-1 0 0,0-1 0 0 0,1 1 1 0 0,0-1-1 0 0,0 0 0 0 0,0-1 1 0 0,9 7-1 0 0,1-1 37 0 0,1-1 0 0 0,0-1 0 0 0,0-1 0 0 0,1 0 0 0 0,0-1 0 0 0,24 6 0 0 0,-27-9-138 0 0,1 0-1 0 0,0 0 0 0 0,0-2 1 0 0,0 0-1 0 0,0-1 1 0 0,0 0-1 0 0,0-1 1 0 0,0-1-1 0 0,0 0 0 0 0,-1-1 1 0 0,1-1-1 0 0,-1 0 1 0 0,0-1-1 0 0,0 0 1 0 0,0-1-1 0 0,-1-1 0 0 0,1 0 1 0 0,-2-1-1 0 0,1 0 1 0 0,-1-1-1 0 0,0-1 0 0 0,-1 0 1 0 0,0 0-1 0 0,-1-1 1 0 0,0 0-1 0 0,11-18 1 0 0,-13 17 27 0 0,0 0 1 0 0,-1 0-1 0 0,7-19 1 0 0,-12 27-2 0 0,0 0 0 0 0,-1 0 0 0 0,0 0 0 0 0,0-1 0 0 0,0 1 1 0 0,0-1-1 0 0,0 1 0 0 0,-1 0 0 0 0,0-1 0 0 0,0 1 0 0 0,0-1 0 0 0,-1 1 1 0 0,0-1-1 0 0,-1-4 0 0 0,2 8-29 0 0,0 0 0 0 0,0 0 0 0 0,-1 0 0 0 0,1 0 0 0 0,-1 0 0 0 0,1 0 0 0 0,-1 0 0 0 0,1 0 0 0 0,-1 0 0 0 0,0 0 0 0 0,1 0 0 0 0,-1 1 0 0 0,0-1 0 0 0,0 0-1 0 0,0 1 1 0 0,0-1 0 0 0,-1-1 0 0 0,1 2 5 0 0,1 0-1 0 0,-1 0 1 0 0,0 0-1 0 0,1 0 1 0 0,-1 0-1 0 0,1 0 0 0 0,-1 0 1 0 0,0 0-1 0 0,1 0 1 0 0,-1 0-1 0 0,1 1 1 0 0,-1-1-1 0 0,1 0 0 0 0,-1 0 1 0 0,0 0-1 0 0,1 1 1 0 0,-1-1-1 0 0,1 0 1 0 0,-1 1-1 0 0,1-1 0 0 0,0 0 1 0 0,-1 1-1 0 0,0 0 1 0 0,-1 1 10 0 0,1 0-1 0 0,-1 0 1 0 0,1 0 0 0 0,-1 0-1 0 0,1 1 1 0 0,0-1 0 0 0,0 0 0 0 0,0 1-1 0 0,0-1 1 0 0,0 1 0 0 0,0-1 0 0 0,0 5-1 0 0,1 2-6 0 0,0-1-1 0 0,0 0 0 0 0,1 0 0 0 0,0 0 1 0 0,1 0-1 0 0,0 0 0 0 0,0 0 0 0 0,1 0 1 0 0,4 9-1 0 0,5 7-34 0 0,22 33-1 0 0,5 11-2097 0 0,-39-67 2071 0 0,0 0 0 0 0,1 0 0 0 0,-1 0-1 0 0,0 0 1 0 0,0 0 0 0 0,0 0 0 0 0,0 0-1 0 0,0 0 1 0 0,0 0 0 0 0,0 0 0 0 0,-1 0-1 0 0,1 0 1 0 0,0 0 0 0 0,-1 0 0 0 0,1 0-1 0 0,0 0 1 0 0,-1 0 0 0 0,1 0 0 0 0,-1 0-1 0 0,1 0 1 0 0,-1 0 0 0 0,0 0 0 0 0,1-1-1 0 0,-1 1 1 0 0,0 0 0 0 0,0 0 0 0 0,0-1-1 0 0,-1 2 1 0 0,-25 15-1641 0 0,16-14 530 0 0,1 1 1 0 0,-1-1-1 0 0,1-1 0 0 0,-20 3 1 0 0,1-4-2148 0 0</inkml:trace>
</inkml:ink>
</file>

<file path=ppt/ink/ink5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3:58:58.9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2 95 776 0 0,'0'0'4064'0'0,"-18"-25"1290"0"0,18 22-5311 0 0,1 0 0 0 0,0 0 1 0 0,0 0-1 0 0,0 0 0 0 0,0 0 0 0 0,0 0 1 0 0,1 0-1 0 0,-1 0 0 0 0,1 1 1 0 0,0-1-1 0 0,-1 0 0 0 0,1 1 1 0 0,1-1-1 0 0,-1 1 0 0 0,0 0 0 0 0,0 0 1 0 0,1 0-1 0 0,0 0 0 0 0,-1 0 1 0 0,6-2-1 0 0,-5 2-29 0 0,1 0-1 0 0,-1 0 1 0 0,0 1-1 0 0,1-1 1 0 0,-1 1 0 0 0,1 0-1 0 0,0 0 1 0 0,-1 0-1 0 0,1 1 1 0 0,0-1 0 0 0,0 1-1 0 0,-1 0 1 0 0,1 0-1 0 0,0 0 1 0 0,0 1 0 0 0,-1-1-1 0 0,1 1 1 0 0,0 0-1 0 0,3 1 1 0 0,-4 0 2 0 0,0-1 1 0 0,0 1-1 0 0,0-1 0 0 0,0 1 0 0 0,-1 0 1 0 0,1 0-1 0 0,0 1 0 0 0,-1-1 0 0 0,0 0 1 0 0,0 1-1 0 0,1 0 0 0 0,-2-1 0 0 0,1 1 1 0 0,0 0-1 0 0,1 3 0 0 0,-1 0 32 0 0,0 0 0 0 0,0 0-1 0 0,0 0 1 0 0,-1 1 0 0 0,0-1 0 0 0,-1 0-1 0 0,1 12 1 0 0,-2-8 70 0 0,1-1 1 0 0,-2 1-1 0 0,1 0 0 0 0,-2-1 0 0 0,1 1 1 0 0,-8 17-1 0 0,-30 51 476 0 0,32-63-356 0 0,7-14 84 0 0,1 0-216 0 0,0-1-99 0 0,-1 1 0 0 0,1-1-1 0 0,0 0 1 0 0,0 0-1 0 0,0 1 1 0 0,0-1-1 0 0,0 0 1 0 0,0 1-1 0 0,0-1 1 0 0,-1 0 0 0 0,1 0-1 0 0,0 1 1 0 0,0-1-1 0 0,0 0 1 0 0,0 1-1 0 0,0-1 1 0 0,0 0-1 0 0,1 1 1 0 0,-1-1-1 0 0,0 0 1 0 0,0 0 0 0 0,0 1-1 0 0,0-1 1 0 0,0 0-1 0 0,0 0 1 0 0,0 1-1 0 0,1-1 1 0 0,-1 0-1 0 0,0 1 1 0 0,10 0-5 0 0,0 1 0 0 0,0 1 0 0 0,-1 0 0 0 0,1 0 0 0 0,-1 1 0 0 0,0 0 0 0 0,12 7 0 0 0,-16-8 36 0 0,0 0 1 0 0,-1 0-1 0 0,1 1 0 0 0,0 0 1 0 0,-1 0-1 0 0,0 0 1 0 0,0 0-1 0 0,0 1 1 0 0,-1-1-1 0 0,1 1 0 0 0,-1 0 1 0 0,0 0-1 0 0,-1 0 1 0 0,5 10-1 0 0,-7-13 37 0 0,0 1 0 0 0,0-1 0 0 0,0 0 1 0 0,0 1-1 0 0,0-1 0 0 0,0 0 0 0 0,0 1 0 0 0,-1-1 0 0 0,1 0 1 0 0,-1 0-1 0 0,0 1 0 0 0,1-1 0 0 0,-1 0 0 0 0,0 0 0 0 0,0 0 0 0 0,-1 0 1 0 0,1 0-1 0 0,0 0 0 0 0,-1 0 0 0 0,1-1 0 0 0,-1 1 0 0 0,1 0 0 0 0,-1-1 1 0 0,0 1-1 0 0,0-1 0 0 0,0 0 0 0 0,0 1 0 0 0,-2 0 0 0 0,-6 4 213 0 0,1-1 0 0 0,-1 0 0 0 0,0-1 0 0 0,-17 6-1 0 0,10-6-47 0 0,0 0-1 0 0,0 0 0 0 0,-1-2 0 0 0,1 0 0 0 0,-1-1 1 0 0,-21-2-1 0 0,26 0-434 0 0,0-1 1 0 0,0 0 0 0 0,-19-6-1 0 0,22 5-635 0 0,1-1-1 0 0,-1 0 1 0 0,1-1 0 0 0,-17-10-1 0 0,17 5-1772 0 0</inkml:trace>
</inkml:ink>
</file>

<file path=ppt/ink/ink5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58:13.42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0 102 568 0 0,'-3'0'1157'0'0,"-44"11"6546"0"0,51-7-7396 0 0,-4-4-302 0 0,0 1 1 0 0,0-1-1 0 0,0 0 0 0 0,0 0 0 0 0,0 1 1 0 0,0-1-1 0 0,0 0 0 0 0,0 1 0 0 0,1-1 1 0 0,-1 0-1 0 0,0 0 0 0 0,0 1 1 0 0,0-1-1 0 0,1 0 0 0 0,-1 0 0 0 0,0 0 1 0 0,0 1-1 0 0,0-1 0 0 0,1 0 1 0 0,-1 0-1 0 0,0 0 0 0 0,0 0 0 0 0,1 1 1 0 0,-1-1-1 0 0,0 0 0 0 0,1 0 1 0 0,-1 0-1 0 0,0 0 0 0 0,0 0 0 0 0,1 0 1 0 0,-1 0-1 0 0,0 0 0 0 0,1 0 1 0 0,-1 0-1 0 0,0 0 0 0 0,1 0 0 0 0,-1 0 1 0 0,0 0-1 0 0,1 0 0 0 0,83-11 465 0 0,104-27 0 0 0,-81 15-179 0 0,143-27 350 0 0,-247 50-606 0 0,-3 0-36 0 0,0-1 0 0 0,1 1 0 0 0,-1 0 0 0 0,0 0 0 0 0,0 0 0 0 0,0 0-1 0 0,1 0 1 0 0,-1 0 0 0 0,0 0 0 0 0,0 0 0 0 0,0 0 0 0 0,1 0 0 0 0,-1 0 0 0 0,0 0 0 0 0,0 0 0 0 0,0 0-1 0 0,1 0 1 0 0,-1 0 0 0 0,0 0 0 0 0,0 0 0 0 0,0 0 0 0 0,1 1 0 0 0,-1-1 0 0 0,0 0 0 0 0,0 0 0 0 0,0 0-1 0 0,1 0 1 0 0,-1 0 0 0 0,0 0 0 0 0,0 1 0 0 0,0-1 0 0 0,0 0 0 0 0,0 0 0 0 0,1 0 0 0 0,-1 0 0 0 0,0 1 0 0 0,0-1-1 0 0,0 0 1 0 0,0 0 0 0 0,0 0 0 0 0,0 1 0 0 0,0-1 0 0 0,0 0 0 0 0,0 0 0 0 0,0 0 0 0 0,0 1 0 0 0,0-1-1 0 0,-9 10-577 0 0,-18 8-5159 0 0,13-11 2659 0 0</inkml:trace>
</inkml:ink>
</file>

<file path=ppt/ink/ink5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58:14.8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 1 844 0 0,'0'0'2515'0'0,"-3"1"-1633"0"0,2 0-801 0 0,0 0 1 0 0,-1 0-1 0 0,1 0 0 0 0,0-1 0 0 0,0 2 1 0 0,0-1-1 0 0,0 0 0 0 0,0 0 1 0 0,0 0-1 0 0,0 0 0 0 0,0 1 0 0 0,0-1 1 0 0,0 0-1 0 0,1 1 0 0 0,-1-1 0 0 0,1 1 1 0 0,-1-1-1 0 0,1 1 0 0 0,-1 2 1 0 0,-3 36 1066 0 0,3-18-666 0 0,-7 172 2481 0 0,6-112-2038 0 0,0-30-458 0 0,2 178 960 0 0,0-227-1408 0 0,0-1 1 0 0,0 1-1 0 0,0-1 1 0 0,1 1 0 0 0,0-1-1 0 0,-1 1 1 0 0,1-1-1 0 0,0 1 1 0 0,0-1 0 0 0,0 0-1 0 0,0 0 1 0 0,0 1-1 0 0,1-1 1 0 0,-1 0 0 0 0,1 0-1 0 0,-1 0 1 0 0,1 0-1 0 0,0-1 1 0 0,0 1 0 0 0,0 0-1 0 0,0-1 1 0 0,0 1-1 0 0,0-1 1 0 0,4 2 0 0 0,5-1-3 0 0,0 0 1 0 0,0 0 0 0 0,1-1 0 0 0,-1-1 0 0 0,0 0 0 0 0,1 0-1 0 0,-1-1 1 0 0,0-1 0 0 0,13-3 0 0 0,106-30-217 0 0,-124 33 172 0 0,32-10-89 0 0,137-51-259 0 0,-157 55 358 0 0,0-1 0 0 0,-1-1 0 0 0,0 0 0 0 0,-1-1 1 0 0,0-1-1 0 0,-1 0 0 0 0,19-20 0 0 0,-29 26 39 0 0,-1 0 0 0 0,0 1 0 0 0,-1-1 0 0 0,1 0 0 0 0,-1-1 0 0 0,0 1 0 0 0,-1-1-1 0 0,1 1 1 0 0,-1-1 0 0 0,-1 0 0 0 0,1 0 0 0 0,-1 0 0 0 0,0 0 0 0 0,-1-9 0 0 0,0 13-10 0 0,0 0 0 0 0,0 0 0 0 0,0-1 0 0 0,-1 1 0 0 0,1 0 0 0 0,-1 0 0 0 0,0 0 0 0 0,0 0 0 0 0,0-1 1 0 0,0 2-1 0 0,-1-1 0 0 0,1 0 0 0 0,-1 0 0 0 0,0 0 0 0 0,0 1 0 0 0,0-1 0 0 0,0 0 0 0 0,0 1 0 0 0,0 0 0 0 0,-1 0 1 0 0,1 0-1 0 0,-1 0 0 0 0,1 0 0 0 0,-1 0 0 0 0,0 0 0 0 0,0 1 0 0 0,0 0 0 0 0,0-1 0 0 0,0 1 0 0 0,0 0 0 0 0,0 1 1 0 0,-6-2-1 0 0,1 2-12 0 0,1-1 0 0 0,-1 2 0 0 0,0-1 1 0 0,1 1-1 0 0,-1 0 0 0 0,0 1 1 0 0,1 0-1 0 0,-1 0 0 0 0,1 0 0 0 0,0 1 1 0 0,0 0-1 0 0,0 1 0 0 0,0-1 0 0 0,1 1 1 0 0,-1 1-1 0 0,1-1 0 0 0,-7 7 0 0 0,7-6-7 0 0,-1 1 0 0 0,1 0 0 0 0,0 0 0 0 0,1 1 0 0 0,0-1-1 0 0,0 1 1 0 0,0 1 0 0 0,1-1 0 0 0,0 0 0 0 0,0 1-1 0 0,1 0 1 0 0,0 0 0 0 0,0 0 0 0 0,1 0 0 0 0,-2 13 0 0 0,3-19 12 0 0,1 1 0 0 0,0 0 0 0 0,0 0 0 0 0,0 0 0 0 0,1 0 0 0 0,-1 0 0 0 0,1-1 0 0 0,-1 1 0 0 0,1 0 0 0 0,0 0 0 0 0,0-1 0 0 0,0 1 0 0 0,0-1 0 0 0,1 1 0 0 0,-1-1 0 0 0,1 1 0 0 0,0-1 0 0 0,-1 0 0 0 0,1 1 1 0 0,0-1-1 0 0,0 0 0 0 0,1-1 0 0 0,-1 1 0 0 0,0 0 0 0 0,0 0 0 0 0,1-1 0 0 0,2 2 0 0 0,-2-2-23 0 0,0-1-1 0 0,-1 1 1 0 0,1-1 0 0 0,-1 1 0 0 0,1-1-1 0 0,0 0 1 0 0,0 0 0 0 0,-1 0 0 0 0,1 0-1 0 0,0-1 1 0 0,-1 1 0 0 0,1-1 0 0 0,0 1-1 0 0,-1-1 1 0 0,1 0 0 0 0,-1 0-1 0 0,1 0 1 0 0,-1 0 0 0 0,0-1 0 0 0,1 1-1 0 0,-1-1 1 0 0,2-1 0 0 0,45-52-289 0 0,-48 54 245 0 0,0 1 19 0 0,0 0 35 0 0,0 1 1 0 0,0-1-1 0 0,0 1 0 0 0,0-1 0 0 0,0 1 0 0 0,0-1 1 0 0,0 1-1 0 0,0 0 0 0 0,0 0 0 0 0,0-1 1 0 0,0 1-1 0 0,0 0 0 0 0,-1 0 0 0 0,1 0 0 0 0,0 0 1 0 0,-1 0-1 0 0,1 0 0 0 0,0 2 0 0 0,12 25-42 0 0,-9-19 23 0 0,-2-5 63 0 0,1 1 0 0 0,0 0 0 0 0,0-1 0 0 0,1 0 0 0 0,-1 0 0 0 0,1 0 0 0 0,0 0 0 0 0,0 0 0 0 0,0-1 0 0 0,1 0 0 0 0,-1 0 0 0 0,1 0 0 0 0,-1 0 0 0 0,1-1-1 0 0,0 0 1 0 0,6 2 0 0 0,-4-2 23 0 0,0-1 0 0 0,1 1-1 0 0,-1-1 1 0 0,1-1 0 0 0,0 0-1 0 0,-1 0 1 0 0,1 0 0 0 0,-1-1 0 0 0,1 0-1 0 0,10-3 1 0 0,-5 0-5 0 0,0 0 1 0 0,-1-1-1 0 0,0 0 1 0 0,0-1-1 0 0,0 0 1 0 0,-1-1-1 0 0,0 0 1 0 0,0-1-1 0 0,-1-1 1 0 0,0 1-1 0 0,0-1 1 0 0,13-18-1 0 0,-15 15-41 0 0,-1 1 1 0 0,-1-1-1 0 0,0-1 0 0 0,-1 1 1 0 0,0-1-1 0 0,-1 0 0 0 0,-1 0 1 0 0,0 0-1 0 0,0-1 0 0 0,-2 1 1 0 0,1-21-1 0 0,-2-6-126 0 0,-2 0-1 0 0,-10-62 1 0 0,8 90-7 0 0,2 16 109 0 0,-1 18 45 0 0,3 13 231 0 0,1 0-1 0 0,9 52 1 0 0,0 5 183 0 0,1-16 2489 0 0,-9-66-2055 0 0,-2-8-472 0 0,2-3-334 0 0,-1 0-1 0 0,1-1 1 0 0,0 1-1 0 0,-1-1 1 0 0,0 1-1 0 0,1-1 1 0 0,-1 0-1 0 0,0 0 1 0 0,2-2-1 0 0,4-8-93 0 0,1-1-1 0 0,1 1 0 0 0,0 1 1 0 0,1-1-1 0 0,0 2 0 0 0,0-1 1 0 0,1 1-1 0 0,1 1 1 0 0,0 0-1 0 0,0 1 0 0 0,0 0 1 0 0,1 1-1 0 0,0 0 0 0 0,19-6 1 0 0,-26 11-26 0 0,1 1-1 0 0,0-1 1 0 0,0 1 0 0 0,0 1-1 0 0,0-1 1 0 0,1 1 0 0 0,-1 1-1 0 0,0-1 1 0 0,0 1 0 0 0,0 0 0 0 0,0 1-1 0 0,0-1 1 0 0,12 6 0 0 0,-16-5 34 0 0,0-1 1 0 0,0 1-1 0 0,0 0 1 0 0,0 0 0 0 0,0 0-1 0 0,0 0 1 0 0,0 0-1 0 0,-1 1 1 0 0,1-1-1 0 0,-1 1 1 0 0,0 0 0 0 0,0 0-1 0 0,0-1 1 0 0,0 1-1 0 0,0 1 1 0 0,0-1 0 0 0,-1 0-1 0 0,0 0 1 0 0,1 1-1 0 0,-1-1 1 0 0,-1 0-1 0 0,1 1 1 0 0,0-1 0 0 0,-1 1-1 0 0,0 0 1 0 0,0-1-1 0 0,0 1 1 0 0,0-1 0 0 0,-1 4-1 0 0,-1 5 19 0 0,-1-1 1 0 0,0 0-1 0 0,-1 0 0 0 0,0 0 0 0 0,0 0 1 0 0,-2-1-1 0 0,1 0 0 0 0,-1 0 1 0 0,-1 0-1 0 0,1-1 0 0 0,-2 0 0 0 0,-10 11 1 0 0,4-5-75 0 0,-2-1 0 0 0,0-1 0 0 0,0 0 1 0 0,-1-1-1 0 0,-1-1 0 0 0,-20 10 0 0 0,33-18-445 0 0,0-1-1 0 0,0 0 1 0 0,-1 0-1 0 0,-9 2 0 0 0,-2-5-1986 0 0,1-9-3920 0 0</inkml:trace>
</inkml:ink>
</file>

<file path=ppt/ink/ink5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58:15.3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 236 1012 0 0,'16'-2'1036'0'0,"-13"2"-161"0"0,1 0-84 0 0,10 0 21 0 0,-10 0 30 0 0,-1 0-25 0 0,11 0 1641 0 0,-10-1-1751 0 0,0 1-521 0 0,1-1 1 0 0,0 0-1 0 0,0 0 1 0 0,-1 0-1 0 0,1-1 1 0 0,0 1-1 0 0,-1-1 1 0 0,0 0 0 0 0,1-1-1 0 0,-1 1 1 0 0,0-1-1 0 0,0 1 1 0 0,0-1-1 0 0,-1-1 1 0 0,7-5-1 0 0,-8 6-140 0 0,1 0 0 0 0,0 0 0 0 0,-1 0 0 0 0,0 0 0 0 0,0-1 0 0 0,0 1 0 0 0,2-5 0 0 0,-2 4-13 0 0,-2 2-24 0 0,1 1 0 0 0,0 0 0 0 0,-1-1 0 0 0,0 1 1 0 0,1 0-1 0 0,-1-1 0 0 0,0 1 0 0 0,1 0 0 0 0,-1-1 0 0 0,0 1 0 0 0,0-1 0 0 0,0 1 0 0 0,0 0 0 0 0,-1-3 0 0 0,1 4-7 0 0,0-1-1 0 0,-1 0 0 0 0,1 1 0 0 0,0-1 1 0 0,-1 1-1 0 0,1-1 0 0 0,0 1 0 0 0,-1-1 0 0 0,1 1 1 0 0,-1-1-1 0 0,1 1 0 0 0,-1-1 0 0 0,1 1 1 0 0,-1 0-1 0 0,1-1 0 0 0,-1 1 0 0 0,0 0 1 0 0,1-1-1 0 0,-1 1 0 0 0,1 0 0 0 0,-2-1 0 0 0,-1 1 0 0 0,1 0-1 0 0,-1 0 0 0 0,1 0 0 0 0,-1 0 0 0 0,0 0 1 0 0,1 0-1 0 0,-1 1 0 0 0,1-1 0 0 0,-1 1 1 0 0,1-1-1 0 0,-1 1 0 0 0,-3 2 0 0 0,-4 3 19 0 0,0 0 0 0 0,1 1-1 0 0,0 0 1 0 0,0 1 0 0 0,1 0 0 0 0,0 0-1 0 0,0 1 1 0 0,1 0 0 0 0,0 0 0 0 0,1 1-1 0 0,0 0 1 0 0,0 0 0 0 0,1 0-1 0 0,0 1 1 0 0,1 0 0 0 0,0-1 0 0 0,1 2-1 0 0,0-1 1 0 0,1 0 0 0 0,-2 23 0 0 0,4-27-6 0 0,0-1 0 0 0,1 1 1 0 0,0-1-1 0 0,0 0 1 0 0,0 1-1 0 0,1-1 1 0 0,0 0-1 0 0,0 0 1 0 0,1 0-1 0 0,-1 0 1 0 0,1 0-1 0 0,0-1 1 0 0,1 1-1 0 0,0-1 1 0 0,0 0-1 0 0,0 0 1 0 0,0 0-1 0 0,1 0 0 0 0,-1-1 1 0 0,1 0-1 0 0,1 0 1 0 0,-1 0-1 0 0,0-1 1 0 0,7 4-1 0 0,-5-4-74 0 0,1 0-1 0 0,0 0 0 0 0,0 0 1 0 0,0-1-1 0 0,0 0 0 0 0,0-1 0 0 0,0 0 1 0 0,1 0-1 0 0,-1 0 0 0 0,0-1 1 0 0,1-1-1 0 0,-1 0 0 0 0,0 0 1 0 0,0 0-1 0 0,0-1 0 0 0,0 0 1 0 0,0 0-1 0 0,10-5 0 0 0,-9 2-153 0 0,0 0-1 0 0,-1 0 1 0 0,1 0 0 0 0,-1-1-1 0 0,0 0 1 0 0,-1-1-1 0 0,1 0 1 0 0,-1 0 0 0 0,-1-1-1 0 0,0 0 1 0 0,0 0-1 0 0,0 0 1 0 0,6-12 0 0 0,-5 5 50 0 0,-1 0 1 0 0,0 0 0 0 0,-1-1 0 0 0,0 0 0 0 0,-2 0-1 0 0,0 0 1 0 0,2-24 0 0 0,1-78 2175 0 0,-4-1 3827 0 0,0 180-5083 0 0,2 1 0 0 0,16 74 0 0 0,42 117-3976 0 0,-62-252 3175 0 0,20 58-2648 0 0,-18-55 1738 0 0,0 1 0 0 0,1-1 0 0 0,-1 0 0 0 0,1 0 0 0 0,7 8 0 0 0,0-4-3187 0 0</inkml:trace>
</inkml:ink>
</file>

<file path=ppt/ink/ink5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58:15.6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5 105 1352 0 0,'0'0'2404'0'0,"2"-1"-1905"0"0,30-1 4373 0 0,-2 0-3221 0 0,-27 1-1561 0 0,0-1 1 0 0,0 1-1 0 0,0 0 1 0 0,0-1 0 0 0,0 0-1 0 0,-1 1 1 0 0,1-1 0 0 0,0 0-1 0 0,-1 0 1 0 0,0-1-1 0 0,1 1 1 0 0,-1 0 0 0 0,0-1-1 0 0,0 0 1 0 0,0 1-1 0 0,-1-1 1 0 0,1 0 0 0 0,-1 0-1 0 0,3-6 1 0 0,-4 8-87 0 0,1 0 1 0 0,0 0 0 0 0,-1-1-1 0 0,1 1 1 0 0,-1 0-1 0 0,0-1 1 0 0,1 1 0 0 0,-1-1-1 0 0,0 1 1 0 0,0 0 0 0 0,0-1-1 0 0,0 1 1 0 0,0-1-1 0 0,0 1 1 0 0,-1 0 0 0 0,1-1-1 0 0,0 1 1 0 0,-1 0-1 0 0,1-1 1 0 0,-1 1 0 0 0,1 0-1 0 0,-1-1 1 0 0,1 1-1 0 0,-1 0 1 0 0,0 0 0 0 0,0 0-1 0 0,0 0 1 0 0,0 0-1 0 0,0 0 1 0 0,0 0 0 0 0,0 0-1 0 0,0 0 1 0 0,0 0 0 0 0,0 0-1 0 0,0 1 1 0 0,-3-2-1 0 0,1 1-7 0 0,0 0 0 0 0,0 0 0 0 0,0 0 0 0 0,0 0-1 0 0,0 1 1 0 0,-1-1 0 0 0,1 1 0 0 0,0 0 0 0 0,0 0 0 0 0,0 0-1 0 0,0 1 1 0 0,-6 0 0 0 0,0 3 6 0 0,-1-1-1 0 0,1 1 1 0 0,0 1-1 0 0,1 0 1 0 0,-1 0-1 0 0,1 1 1 0 0,0 0-1 0 0,0 0 1 0 0,1 1-1 0 0,0 0 1 0 0,0 0-1 0 0,-10 15 1 0 0,12-15 0 0 0,1 0 0 0 0,-1 0 1 0 0,1 0-1 0 0,1 1 0 0 0,-1-1 1 0 0,1 1-1 0 0,1 0 0 0 0,-1 0 1 0 0,1 0-1 0 0,1 0 0 0 0,-1 0 1 0 0,1 1-1 0 0,1-1 0 0 0,0 0 1 0 0,1 12-1 0 0,0-16-6 0 0,0-1 0 0 0,0 1 0 0 0,0-1 0 0 0,0 1 0 0 0,1-1 0 0 0,0 1-1 0 0,0-1 1 0 0,0 0 0 0 0,0 0 0 0 0,0 0 0 0 0,1 0 0 0 0,-1 0 0 0 0,1 0 0 0 0,0-1 0 0 0,0 1 0 0 0,0-1-1 0 0,0 0 1 0 0,0 0 0 0 0,0 0 0 0 0,1 0 0 0 0,-1 0 0 0 0,0-1 0 0 0,1 0 0 0 0,5 2 0 0 0,-1-1-208 0 0,1 0 0 0 0,0 0 0 0 0,0 0 1 0 0,0-2-1 0 0,0 1 0 0 0,0-1 0 0 0,-1 0 1 0 0,19-3-1 0 0,-10-1-778 0 0,-1 0 0 0 0,0-1 0 0 0,0-1 0 0 0,0 0 0 0 0,-1-1 0 0 0,19-12 0 0 0,-11 6-515 0 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1.9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252 0 0,'7'4'890'0'0,"0"1"0"0"0,0-1 0 0 0,-1 1 0 0 0,1 1 0 0 0,-1-1 0 0 0,0 1-1 0 0,-1 0 1 0 0,1 1 0 0 0,4 7 0 0 0,-4-4-131 0 0,1 1 0 0 0,-2 0 0 0 0,1 1-1 0 0,-2-1 1 0 0,6 19 0 0 0,-5-9-133 0 0,-1 0 0 0 0,-1 0 0 0 0,-1 0 1 0 0,-1 1-1 0 0,-1-1 0 0 0,-3 36 0 0 0,2-49-103 0 0,-1 4 524 0 0,4-15-693 0 0,-1-2-381 0 0,1 0 0 0 0,-1 0 0 0 0,1 0 0 0 0,1 1 0 0 0,2-6 0 0 0,0 3-11 0 0,1 0 0 0 0,0 0 0 0 0,1 1 0 0 0,-1 0 1 0 0,1 0-1 0 0,0 0 0 0 0,1 1 0 0 0,-1 0 0 0 0,1 0 0 0 0,0 1 0 0 0,0 0 0 0 0,1 1 0 0 0,-1-1 0 0 0,1 2 0 0 0,0-1 0 0 0,14-1 0 0 0,-19 3 36 0 0,0 1 1 0 0,1 0-1 0 0,-1 0 0 0 0,0 1 0 0 0,0-1 0 0 0,1 1 0 0 0,-1 0 0 0 0,0 0 0 0 0,0 1 0 0 0,0-1 0 0 0,0 1 0 0 0,0 0 0 0 0,-1 0 0 0 0,1 0 0 0 0,4 3 0 0 0,-1 0-38 0 0,-1 1-1 0 0,1-1 1 0 0,-1 2-1 0 0,0-1 1 0 0,8 13-1 0 0,-3-2-2222 0 0,14 31-1 0 0,-8-14-3213 0 0</inkml:trace>
</inkml:ink>
</file>

<file path=ppt/ink/ink5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58:16.0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2 170 564 0 0,'-10'-124'9257'0'0,"7"100"-7812"0"0,3 22-1380 0 0,-1 1 0 0 0,1 0 0 0 0,0-1-1 0 0,0 1 1 0 0,0-1 0 0 0,0 1 0 0 0,0 0-1 0 0,0-1 1 0 0,1 1 0 0 0,-1 0 0 0 0,0-1-1 0 0,1-1 1 0 0,0 3-51 0 0,-1-1 0 0 0,0 1 0 0 0,0 0 0 0 0,1 0 0 0 0,-1 0-1 0 0,0 0 1 0 0,0 0 0 0 0,1 0 0 0 0,-1 0 0 0 0,0 0 0 0 0,1 0 0 0 0,-1 0 0 0 0,0 0 0 0 0,0 0 0 0 0,1 0-1 0 0,-1 0 1 0 0,0 0 0 0 0,0 0 0 0 0,1 0 0 0 0,-1 1 0 0 0,0-1 0 0 0,0 0 0 0 0,1 0 0 0 0,-1 0-1 0 0,0 0 1 0 0,0 0 0 0 0,1 1 0 0 0,-1-1 0 0 0,0 0 0 0 0,0 0 0 0 0,0 0 0 0 0,0 1 0 0 0,1-1 0 0 0,-1 0-1 0 0,0 1 1 0 0,22 30 618 0 0,-19-26-471 0 0,5 9 53 0 0,0 1 1 0 0,0 1-1 0 0,-2 0 1 0 0,0 0 0 0 0,0 0-1 0 0,-2 1 1 0 0,0-1-1 0 0,3 28 1 0 0,-6-35-153 0 0,-1 1 0 0 0,1-1 0 0 0,-2 0 0 0 0,1 0 0 0 0,-1 1 0 0 0,-1-1 0 0 0,1 0-1 0 0,-2 0 1 0 0,1 0 0 0 0,-1-1 0 0 0,-1 1 0 0 0,1 0 0 0 0,-1-1 0 0 0,-1 0 0 0 0,0 0 0 0 0,0 0 0 0 0,-9 10 0 0 0,11-15-54 0 0,0-1 0 0 0,0 1 0 0 0,1-1 0 0 0,-2 1 1 0 0,1-1-1 0 0,0 0 0 0 0,0 0 0 0 0,-1-1 0 0 0,1 1 0 0 0,-1-1 0 0 0,1 1 0 0 0,-1-1 1 0 0,0 0-1 0 0,1-1 0 0 0,-1 1 0 0 0,0-1 0 0 0,0 1 0 0 0,0-1 0 0 0,1 0 1 0 0,-1-1-1 0 0,0 1 0 0 0,0-1 0 0 0,1 1 0 0 0,-1-1 0 0 0,0 0 0 0 0,1 0 0 0 0,-1-1 1 0 0,0 1-1 0 0,1-1 0 0 0,0 0 0 0 0,-1 0 0 0 0,1 0 0 0 0,0 0 0 0 0,0 0 1 0 0,0-1-1 0 0,1 0 0 0 0,-1 1 0 0 0,0-1 0 0 0,1 0 0 0 0,0 0 0 0 0,0 0 0 0 0,0-1 1 0 0,0 1-1 0 0,-2-5 0 0 0,1-11-115 0 0,3 18 102 0 0,0 1-1 0 0,0-1 1 0 0,0 0 0 0 0,0 0-1 0 0,1 1 1 0 0,-1-1-1 0 0,0 0 1 0 0,0 0-1 0 0,1 1 1 0 0,-1-1-1 0 0,1 0 1 0 0,-1 1-1 0 0,0-1 1 0 0,1 0-1 0 0,-1 1 1 0 0,1-1-1 0 0,0 1 1 0 0,-1-1 0 0 0,1 1-1 0 0,-1-1 1 0 0,1 1-1 0 0,0-1 1 0 0,-1 1-1 0 0,1 0 1 0 0,0-1-1 0 0,0 1 1 0 0,-1 0-1 0 0,1-1 1 0 0,0 1-1 0 0,0 0 1 0 0,0 0 0 0 0,10-1-160 0 0,-1 1 0 0 0,0 0 0 0 0,0 1 0 0 0,0 0 0 0 0,1 0 1 0 0,-1 1-1 0 0,0 0 0 0 0,-1 1 0 0 0,1 0 0 0 0,0 1 1 0 0,-1 0-1 0 0,0 1 0 0 0,10 5 0 0 0,14 10-2526 0 0,-1 2 1 0 0,33 27-1 0 0,-46-33-1057 0 0</inkml:trace>
</inkml:ink>
</file>

<file path=ppt/ink/ink5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58:17.2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9 45 1144 0 0,'0'-15'4924'0'0,"2"17"-4017"0"0,1 1-659 0 0,0 0 0 0 0,0 0-1 0 0,0 1 1 0 0,-1-1 0 0 0,1 1-1 0 0,-1 0 1 0 0,0 0 0 0 0,0 0-1 0 0,0 0 1 0 0,-1 0-1 0 0,2 7 1 0 0,12 59 1641 0 0,-9-37-1088 0 0,2 13-330 0 0,-1 0 1 0 0,-3 0-1 0 0,-1 1 0 0 0,-2-1 0 0 0,-3 1 0 0 0,-2-1 1 0 0,-9 50-1 0 0,10-81-401 0 0,-1 0 1 0 0,-1 0-1 0 0,0-1 1 0 0,-7 16-1 0 0,9-25-69 0 0,1 0-1 0 0,-1 0 0 0 0,0 0 1 0 0,0 0-1 0 0,-1-1 0 0 0,0 1 1 0 0,1-1-1 0 0,-1 0 0 0 0,-1 0 1 0 0,1 0-1 0 0,-1-1 1 0 0,1 0-1 0 0,-9 5 0 0 0,12-7-45 0 0,-1-1 0 0 0,0 1 0 0 0,1-1-1 0 0,-1 1 1 0 0,0-1 0 0 0,0 0 0 0 0,1 0 0 0 0,-1 0 0 0 0,0 0-1 0 0,0 0 1 0 0,1 0 0 0 0,-1 0 0 0 0,0 0 0 0 0,0-1-1 0 0,1 1 1 0 0,-1-1 0 0 0,0 1 0 0 0,1-1 0 0 0,-1 0-1 0 0,0 0 1 0 0,1 0 0 0 0,-1 0 0 0 0,1 0 0 0 0,0 0 0 0 0,-1 0-1 0 0,1 0 1 0 0,0 0 0 0 0,0 0 0 0 0,-1-1 0 0 0,1 1-1 0 0,-1-4 1 0 0,-2 1-93 0 0,2-1-1 0 0,-1 0 0 0 0,0 0 0 0 0,1 0 1 0 0,0 0-1 0 0,0 0 0 0 0,1-1 1 0 0,-2-7-1 0 0,2 8 74 0 0,1 1 1 0 0,-1 0-1 0 0,1-1 1 0 0,0 1-1 0 0,0 0 1 0 0,1-1-1 0 0,-1 1 1 0 0,1 0-1 0 0,0-1 0 0 0,0 1 1 0 0,0 0-1 0 0,1 0 1 0 0,-1 0-1 0 0,1 0 1 0 0,0 0-1 0 0,0 0 1 0 0,1 0-1 0 0,2-3 1 0 0,-1 3 22 0 0,1 0 0 0 0,-1 0-1 0 0,1 1 1 0 0,0-1 0 0 0,0 1 0 0 0,0 0 0 0 0,0 1 0 0 0,0-1 0 0 0,1 1 0 0 0,-1 0 0 0 0,12-3 0 0 0,9 1 0 0 0,1 1 0 0 0,-1 1 0 0 0,1 1 0 0 0,44 5 0 0 0,-69-4 37 0 0,31 2 3 0 0,112 5 171 0 0,-115-8 85 0 0,-1 0 0 0 0,55-10 0 0 0,-75 9-179 0 0,0-1 1 0 0,0 1-1 0 0,-1-2 1 0 0,1 1-1 0 0,-1-1 1 0 0,0 0-1 0 0,0-1 1 0 0,8-6-1 0 0,-13 9-35 0 0,1-1 0 0 0,-1 0 0 0 0,0 0 0 0 0,0 0 0 0 0,0 0 0 0 0,-1-1 0 0 0,1 1 0 0 0,-1-1 0 0 0,0 1 0 0 0,0-1 0 0 0,0 0 0 0 0,0 0 0 0 0,0 0 0 0 0,-1 0 1 0 0,0 0-1 0 0,0 0 0 0 0,0-1 0 0 0,-1 1 0 0 0,1-6 0 0 0,-1 8-33 0 0,0 0 0 0 0,0 0 0 0 0,0 0 0 0 0,0 1 0 0 0,0-1 0 0 0,-1 0 0 0 0,1 0 0 0 0,-1 1 0 0 0,1-1 0 0 0,-1 0 0 0 0,0 0 0 0 0,0 1 0 0 0,1-1 0 0 0,-1 1 0 0 0,0-1 0 0 0,-1 1 0 0 0,1-1 0 0 0,0 1 0 0 0,0 0 0 0 0,0-1 0 0 0,-1 1 0 0 0,1 0 0 0 0,-1 0 0 0 0,1 0 0 0 0,-1 0 0 0 0,1 0 0 0 0,-1 0 0 0 0,0 1 0 0 0,1-1 0 0 0,-1 0 0 0 0,0 1 0 0 0,0-1 0 0 0,0 1 0 0 0,1 0 0 0 0,-1 0 0 0 0,0-1 0 0 0,0 1 0 0 0,0 0 0 0 0,-3 1 0 0 0,-1-1-5 0 0,0 1 0 0 0,-1 0 0 0 0,1 0 1 0 0,-1 1-1 0 0,1 0 0 0 0,0 0 0 0 0,0 0 0 0 0,0 1 0 0 0,0 0 1 0 0,-5 3-1 0 0,2 1-3 0 0,1-1 0 0 0,0 1-1 0 0,0 1 1 0 0,0 0 0 0 0,1 0 0 0 0,1 0 0 0 0,-1 1 0 0 0,-8 15 0 0 0,14-20 1 0 0,-1-1 0 0 0,0 1 0 0 0,1 0 0 0 0,0 0 0 0 0,0 0 0 0 0,0 0 0 0 0,0 0 0 0 0,0 0 1 0 0,1 0-1 0 0,0 0 0 0 0,0 4 0 0 0,1-5 6 0 0,-1 0 0 0 0,1 0 1 0 0,-1-1-1 0 0,1 1 0 0 0,0-1 1 0 0,0 1-1 0 0,1-1 0 0 0,-1 1 1 0 0,0-1-1 0 0,1 0 0 0 0,-1 1 0 0 0,1-1 1 0 0,0 0-1 0 0,0 0 0 0 0,0 0 1 0 0,0 0-1 0 0,4 2 0 0 0,-1-1 49 0 0,22 8 84 0 0,-18-12-124 0 0,-4 0 4 0 0,2 0-34 0 0,0-1 1 0 0,0 1-1 0 0,0-2 1 0 0,-1 1 0 0 0,1-1-1 0 0,0 0 1 0 0,-1 0-1 0 0,0 0 1 0 0,9-7-1 0 0,6-6-89 0 0,22-21 0 0 0,-33 27 99 0 0,19-12-139 0 0,-27 21 140 0 0,7 4 48 0 0,-8-3-38 0 0,-1 0-1 0 0,1 0 0 0 0,0 0 1 0 0,-1 0-1 0 0,1 0 0 0 0,-1 0 1 0 0,1 1-1 0 0,-1-1 0 0 0,1 0 1 0 0,0 0-1 0 0,-1 0 0 0 0,1 1 1 0 0,-1-1-1 0 0,1 0 0 0 0,-1 1 1 0 0,0-1-1 0 0,1 0 0 0 0,-1 1 1 0 0,1-1-1 0 0,-1 1 0 0 0,0-1 1 0 0,1 0-1 0 0,-1 1 0 0 0,0-1 1 0 0,1 1-1 0 0,-1-1 0 0 0,0 1 1 0 0,0-1-1 0 0,1 1 0 0 0,-1 0 1 0 0,0 0-1 0 0,4 5 84 0 0,-1 0 0 0 0,1 0 0 0 0,1 0 0 0 0,-1 0 0 0 0,1-1 0 0 0,0 0 0 0 0,0 0 0 0 0,1 0 1 0 0,-1 0-1 0 0,1-1 0 0 0,0 0 0 0 0,0 0 0 0 0,9 3 0 0 0,-12-6-52 0 0,0 0-1 0 0,0 0 1 0 0,0 0 0 0 0,0-1-1 0 0,0 1 1 0 0,1-1 0 0 0,-1 0 0 0 0,0 0-1 0 0,0 0 1 0 0,0 0 0 0 0,0 0-1 0 0,1-1 1 0 0,3-1 0 0 0,2 0 9 0 0,0-1 0 0 0,0 0-1 0 0,11-6 1 0 0,-13 5-22 0 0,1 0 0 0 0,-1-1 0 0 0,0 0 0 0 0,0 0-1 0 0,0 0 1 0 0,-1-1 0 0 0,0 0 0 0 0,0-1 0 0 0,-1 1 0 0 0,1-1 0 0 0,-1 0-1 0 0,5-10 1 0 0,-5 5-63 0 0,0 0-1 0 0,0 0 1 0 0,-1-1-1 0 0,0 1 0 0 0,-1-1 1 0 0,-1 0-1 0 0,1-17 1 0 0,-2-12 172 0 0,-2 0 1 0 0,-2 0 0 0 0,-15-78-1 0 0,-6 3 1450 0 0,24 115-1334 0 0,0 2-232 0 0,-1 0 1 0 0,1 0 0 0 0,-1 1-1 0 0,1-1 1 0 0,-1 0-1 0 0,1 1 1 0 0,0-1-1 0 0,-1 0 1 0 0,1 1 0 0 0,0-1-1 0 0,-1 1 1 0 0,1-1-1 0 0,0 0 1 0 0,-1 1 0 0 0,1-1-1 0 0,0 1 1 0 0,0-1-1 0 0,0 1 1 0 0,-1-1-1 0 0,1 1 1 0 0,0-1 0 0 0,0 1-1 0 0,0-1 1 0 0,0 1-1 0 0,0-1 1 0 0,0 1 0 0 0,0-1-1 0 0,0 1 1 0 0,0-1-1 0 0,0 1 1 0 0,0 0-1 0 0,0-1 1 0 0,1 1 0 0 0,2 21 149 0 0,-2-20-123 0 0,120 414 745 0 0,-20-91-5698 0 0,-92-291 3521 0 0,4 17-1724 0 0,-5-18-1868 0 0,-6-21 993 0 0</inkml:trace>
</inkml:ink>
</file>

<file path=ppt/ink/ink5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58:18.3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729 1548 0 0,'0'-3'1095'0'0,"0"-1"-897"0"0,1 0 0 0 0,0 0 0 0 0,-1 0 1 0 0,2 0-1 0 0,-1 0 0 0 0,0 0 0 0 0,1 1 0 0 0,0-1 1 0 0,0 0-1 0 0,0 1 0 0 0,0-1 0 0 0,1 1 0 0 0,-1 0 1 0 0,1 0-1 0 0,0 0 0 0 0,0 0 0 0 0,0 0 0 0 0,0 1 1 0 0,4-3-1 0 0,11-8 282 0 0,1 2-1 0 0,28-14 1 0 0,-23 13-113 0 0,36-18 101 0 0,-32 17 66 0 0,0 0 0 0 0,-1-2 1 0 0,-1-1-1 0 0,-1-2 1 0 0,36-30-1 0 0,-60 48-481 0 0,0-1 0 0 0,0 0 0 0 0,0 0 0 0 0,0 0 0 0 0,0-1 0 0 0,0 1 0 0 0,-1 0 0 0 0,1 0 0 0 0,0 0 0 0 0,-1-1 0 0 0,1 1 0 0 0,0 0 0 0 0,-1-1 0 0 0,1-2-1 0 0,-1 4-37 0 0,0 0 0 0 0,0-1-1 0 0,0 1 1 0 0,0-1 0 0 0,-1 1-1 0 0,1 0 1 0 0,0-1-1 0 0,0 1 1 0 0,0 0 0 0 0,-1-1-1 0 0,1 1 1 0 0,0 0 0 0 0,-1 0-1 0 0,1-1 1 0 0,0 1-1 0 0,0 0 1 0 0,-1 0 0 0 0,1-1-1 0 0,0 1 1 0 0,-1 0-1 0 0,1 0 1 0 0,-1 0 0 0 0,1 0-1 0 0,0-1 1 0 0,-1 1 0 0 0,1 0-1 0 0,0 0 1 0 0,-1 0-1 0 0,1 0 1 0 0,-1 0 0 0 0,1 0-1 0 0,-1 0 1 0 0,-3 0 17 0 0,1 1 0 0 0,-1-1 0 0 0,1 0 1 0 0,-1 1-1 0 0,1 0 0 0 0,-1 0 0 0 0,1 0 0 0 0,0 0 1 0 0,-1 1-1 0 0,-5 3 0 0 0,-6 4 43 0 0,1 2 0 0 0,-1 0 1 0 0,-13 15-1 0 0,24-22-65 0 0,0 0-1 0 0,1-1 1 0 0,-1 1 0 0 0,1 1 0 0 0,0-1-1 0 0,0 0 1 0 0,1 1 0 0 0,0-1 0 0 0,-1 1 0 0 0,1 0-1 0 0,1 0 1 0 0,-1 0 0 0 0,1 0 0 0 0,0 0 0 0 0,-1 6-1 0 0,2-10 14 0 0,0 0 0 0 0,0 0 0 0 0,0 0 0 0 0,0 0 0 0 0,0 0 0 0 0,0 1-1 0 0,0-1 1 0 0,0 0 0 0 0,1 0 0 0 0,-1 0 0 0 0,0 0 0 0 0,1 0 0 0 0,-1 0 0 0 0,1 0 0 0 0,-1 0-1 0 0,1 0 1 0 0,0 0 0 0 0,-1 0 0 0 0,1-1 0 0 0,0 1 0 0 0,0 0 0 0 0,-1 0 0 0 0,1 0-1 0 0,0-1 1 0 0,0 1 0 0 0,0-1 0 0 0,0 1 0 0 0,0-1 0 0 0,0 1 0 0 0,0-1 0 0 0,0 1-1 0 0,0-1 1 0 0,0 0 0 0 0,0 1 0 0 0,0-1 0 0 0,0 0 0 0 0,0 0 0 0 0,1 0 0 0 0,0 0 0 0 0,3 0 7 0 0,0-1 0 0 0,1 0 1 0 0,-1 0-1 0 0,0 0 0 0 0,0 0 1 0 0,0-1-1 0 0,6-3 0 0 0,29-14 81 0 0,-13 6-95 0 0,40-14-1 0 0,-64 26 4 0 0,-1 1-1 0 0,1-1 1 0 0,-1 1 0 0 0,1-1 0 0 0,-1 1 0 0 0,1 0 0 0 0,-1 0-1 0 0,1 0 1 0 0,0 1 0 0 0,-1-1 0 0 0,1 0 0 0 0,-1 1-1 0 0,1 0 1 0 0,4 1 0 0 0,-1 1 30 0 0,-1 1-1 0 0,1-1 0 0 0,-1 1 1 0 0,7 5-1 0 0,-7-4-16 0 0,0-1 0 0 0,0 0 0 0 0,0-1-1 0 0,1 1 1 0 0,10 4 0 0 0,-8-6-17 0 0,-1 0 1 0 0,1 0-1 0 0,-1 0 0 0 0,1-1 1 0 0,0 0-1 0 0,0-1 0 0 0,0 0 1 0 0,-1 0-1 0 0,1-1 0 0 0,0 0 0 0 0,8-2 1 0 0,-5 0-2 0 0,0 0 1 0 0,0-1-1 0 0,0 0 1 0 0,0-1-1 0 0,-1-1 1 0 0,20-12-1 0 0,-17 8-22 0 0,0 0 0 0 0,0-2-1 0 0,-1 1 1 0 0,0-2 0 0 0,-1 1-1 0 0,0-2 1 0 0,-1 1 0 0 0,-1-1-1 0 0,0-1 1 0 0,10-24 0 0 0,-15 31-1 0 0,-1 0 1 0 0,0 1 0 0 0,-1-1-1 0 0,0-1 1 0 0,-1 1 0 0 0,2-15-1 0 0,-4 15-32 0 0,-1 7-18 0 0,2 16 67 0 0,24 64 92 0 0,-14-53 2 0 0,8 41 1 0 0,-16-57-61 0 0,-1-1 1 0 0,0 1 0 0 0,0-1 0 0 0,-1 1-1 0 0,0-1 1 0 0,-1 1 0 0 0,0-1 0 0 0,-3 14-1 0 0,3-18-15 0 0,-1 0 0 0 0,1 0 1 0 0,-1 0-1 0 0,1 0 0 0 0,-2 0 0 0 0,1-1 0 0 0,0 1 0 0 0,-1-1 0 0 0,0 1 0 0 0,0-1 0 0 0,0 0 0 0 0,0 0 1 0 0,-1 0-1 0 0,0 0 0 0 0,0-1 0 0 0,-7 6 0 0 0,9-8-17 0 0,-4-2-194 0 0,5 1 167 0 0,1 0-1 0 0,-1 0 0 0 0,1 1 1 0 0,-1-1-1 0 0,1 0 0 0 0,-1 0 1 0 0,1 0-1 0 0,-1 0 0 0 0,1 0 1 0 0,-1 0-1 0 0,1-1 0 0 0,0 1 1 0 0,-1 0-1 0 0,1 0 0 0 0,-1 0 1 0 0,1 0-1 0 0,-1-1 0 0 0,1 1 1 0 0,-1 0-1 0 0,1 0 0 0 0,0-1 1 0 0,-1 1-1 0 0,1 0 0 0 0,-1-1 1 0 0,1-2-56 0 0,0 1 0 0 0,0-1 0 0 0,1 1 0 0 0,-1-1 0 0 0,1 1 0 0 0,0-1 0 0 0,-1 1 0 0 0,1-1 0 0 0,0 1 0 0 0,0-1 0 0 0,1 1 0 0 0,-1 0 0 0 0,0 0 0 0 0,1 0 0 0 0,0-1 0 0 0,-1 2 0 0 0,1-1 0 0 0,0 0 0 0 0,0 0 0 0 0,3-2 0 0 0,9-8-132 0 0,29-17-1 0 0,-30 21 103 0 0,149-82-404 0 0,-31 20 344 0 0,-107 55 216 0 0,0-1 0 0 0,-1-1 0 0 0,24-23 0 0 0,-41 34 42 0 0,-1 0 1 0 0,0 0 0 0 0,0 0-1 0 0,0-1 1 0 0,-1 1 0 0 0,0-1-1 0 0,4-9 1 0 0,-7 14-69 0 0,0 0 1 0 0,0 0-1 0 0,0 0 1 0 0,-1-1-1 0 0,1 1 0 0 0,-1 0 1 0 0,1 0-1 0 0,-1-1 0 0 0,0 1 1 0 0,0 0-1 0 0,0-1 1 0 0,0 1-1 0 0,0 0 0 0 0,0-1 1 0 0,-1 1-1 0 0,1 0 1 0 0,-1 0-1 0 0,0-1 0 0 0,0 1 1 0 0,1 0-1 0 0,-1 0 0 0 0,-1 0 1 0 0,1 0-1 0 0,0 0 1 0 0,0 0-1 0 0,-1 0 0 0 0,-2-2 1 0 0,3 3-23 0 0,0 0 0 0 0,0 1-1 0 0,0-1 1 0 0,0 0 0 0 0,0 1 0 0 0,0-1 0 0 0,0 1 0 0 0,0 0 0 0 0,0-1 0 0 0,0 1 0 0 0,0 0-1 0 0,0 0 1 0 0,0 0 0 0 0,0-1 0 0 0,0 1 0 0 0,-2 1 0 0 0,1-2 6 0 0,0 1-8 0 0,1 0-1 0 0,-1 0 1 0 0,1-1 0 0 0,-1 1 0 0 0,1 0 0 0 0,-1 0-1 0 0,1 0 1 0 0,0 1 0 0 0,-1-1 0 0 0,1 0 0 0 0,-1 1-1 0 0,1-1 1 0 0,-1 0 0 0 0,1 1 0 0 0,0 0 0 0 0,-1-1 0 0 0,0 2-1 0 0,-3 0 7 0 0,-2 1 4 0 0,1 0 0 0 0,0 0 0 0 0,-1 1 0 0 0,2 0 0 0 0,-1 0 1 0 0,0 0-1 0 0,1 1 0 0 0,0-1 0 0 0,0 1 0 0 0,0 1 0 0 0,0-1 0 0 0,1 1 0 0 0,0-1 0 0 0,0 1 0 0 0,1 1 0 0 0,-1-1 0 0 0,-2 9 0 0 0,3-7 14 0 0,0-1-1 0 0,0 1 0 0 0,1-1 1 0 0,0 1-1 0 0,1 0 0 0 0,0 0 1 0 0,0 0-1 0 0,1 0 0 0 0,0 0 1 0 0,0 0-1 0 0,0 0 0 0 0,1-1 1 0 0,1 1-1 0 0,3 15 0 0 0,-3-18-2 0 0,0 0 0 0 0,1 0 0 0 0,-1-1 0 0 0,1 1 0 0 0,0 0 1 0 0,0-1-1 0 0,0 0 0 0 0,1 0 0 0 0,-1 0 0 0 0,1 0 0 0 0,0 0 0 0 0,0-1 0 0 0,1 0 0 0 0,-1 0 0 0 0,0 0 0 0 0,1 0 0 0 0,0-1 0 0 0,0 1 0 0 0,0-1 0 0 0,0 0 0 0 0,0-1 1 0 0,0 1-1 0 0,0-1 0 0 0,1 0 0 0 0,-1-1 0 0 0,0 1 0 0 0,11-1 0 0 0,-6-1-22 0 0,0 0 1 0 0,0-1-1 0 0,0 0 0 0 0,0 0 1 0 0,-1-1-1 0 0,1 0 0 0 0,-1-1 1 0 0,0 0-1 0 0,0-1 0 0 0,0 1 1 0 0,-1-2-1 0 0,1 1 0 0 0,-1-1 1 0 0,8-8-1 0 0,-7 4-71 0 0,1 0 1 0 0,-2-1 0 0 0,0 0-1 0 0,0 0 1 0 0,-1-1-1 0 0,0 0 1 0 0,-1 0-1 0 0,0 0 1 0 0,6-23 0 0 0,0-9 198 0 0,10-72 0 0 0,-3 9 1650 0 0,-15 80-1417 0 0,-4 25 366 0 0,1 5-419 0 0,2 23 160 0 0,0 0-1 0 0,-3 44 1 0 0,1 15-107 0 0,79 543 51 0 0,-65-524-1483 0 0,23 116-6580 0 0,-30-199 3224 0 0,-1-2-2259 0 0</inkml:trace>
</inkml:ink>
</file>

<file path=ppt/ink/ink5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10:58:18.6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340 3936 0 0,'-1'0'257'0'0,"0"-1"-1"0"0,0 1 0 0 0,0-1 0 0 0,1 0 1 0 0,-1 1-1 0 0,0-1 0 0 0,0 0 1 0 0,1 0-1 0 0,-1 1 0 0 0,1-1 0 0 0,-1 0 1 0 0,1 0-1 0 0,-1 0 0 0 0,1 0 1 0 0,-1 0-1 0 0,1 0 0 0 0,0 0 0 0 0,0 0 1 0 0,-1 0-1 0 0,1 0 0 0 0,0 0 0 0 0,0 0 1 0 0,0 0-1 0 0,0 0 0 0 0,0 0 1 0 0,0 0-1 0 0,0 1 0 0 0,1-1 0 0 0,-1 0 1 0 0,0 0-1 0 0,0 0 0 0 0,1 0 0 0 0,-1 0 1 0 0,1-1-1 0 0,2-1-53 0 0,-1 0 0 0 0,1 1 0 0 0,-1-1 0 0 0,1 1 0 0 0,0 0 0 0 0,0 0 0 0 0,0 0 0 0 0,1 0 0 0 0,4-2 0 0 0,264-107 2254 0 0,-218 92-2313 0 0,11-5-476 0 0,104-39-2021 0 0,-58 16-4464 0 0,-70 27 1186 0 0</inkml:trace>
</inkml:ink>
</file>

<file path=ppt/ink/ink5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3.7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50 248 168 0 0,'-8'-7'1410'0'0,"-10"-10"895"0"0,-2 1 0 0 0,-32-22 0 0 0,45 34-2226 0 0,0 0 0 0 0,-1 0-1 0 0,0 1 1 0 0,0 0 0 0 0,0 0 0 0 0,0 1 0 0 0,0 0 0 0 0,-1 0 0 0 0,1 1 0 0 0,-1 0 0 0 0,-13 0 0 0 0,-6 4 31 0 0,1 0 0 0 0,0 2 0 0 0,0 1 0 0 0,0 1 0 0 0,1 1 0 0 0,0 1 0 0 0,0 1 0 0 0,1 2 0 0 0,-37 23 0 0 0,26-12 50 0 0,1 2 0 0 0,1 2 0 0 0,2 1 0 0 0,0 1 0 0 0,-39 50 0 0 0,50-53-88 0 0,1 2 0 0 0,1 0 1 0 0,1 2-1 0 0,2 0 0 0 0,1 0 1 0 0,2 2-1 0 0,0 0 0 0 0,3 0 1 0 0,-11 50-1 0 0,17-50-4 0 0,1 1-1 0 0,2-1 1 0 0,1 1-1 0 0,2 0 1 0 0,1-1 0 0 0,1 0-1 0 0,2 0 1 0 0,1 0-1 0 0,22 59 1 0 0,-5-32-12 0 0,2-1 0 0 0,3-1-1 0 0,2-2 1 0 0,43 59 0 0 0,-18-39-34 0 0,126 131 0 0 0,-132-158 53 0 0,2-2 1 0 0,2-3 0 0 0,78 48 0 0 0,-106-75-18 0 0,1-1 0 0 0,0-2 1 0 0,1 0-1 0 0,0-2 0 0 0,1-1 0 0 0,0-1 1 0 0,1-2-1 0 0,0-1 0 0 0,0-1 1 0 0,1-2-1 0 0,-1 0 0 0 0,1-3 1 0 0,-1 0-1 0 0,1-2 0 0 0,-1-1 1 0 0,41-10-1 0 0,-18-1 144 0 0,0-3 0 0 0,0-3 0 0 0,-2-1 0 0 0,65-38-1 0 0,-48 18 101 0 0,-3-2-1 0 0,91-77 1 0 0,-117 86-76 0 0,-1-1 0 0 0,-2-2 1 0 0,-2-2-1 0 0,49-72 0 0 0,-69 91-161 0 0,-2-2 1 0 0,-1 1-1 0 0,0-2 0 0 0,-2 1 0 0 0,0-1 0 0 0,-2-1 0 0 0,-1 1 0 0 0,0-1 0 0 0,-2 0 0 0 0,-1-1 0 0 0,0 1 1 0 0,-2-25-1 0 0,-4 10-40 0 0,-1 1 0 0 0,-2 1 1 0 0,-2-1-1 0 0,-1 1 0 0 0,-2 0 1 0 0,-18-38-1 0 0,5 21 24 0 0,-2 2 0 0 0,-3 1 0 0 0,-45-63 0 0 0,43 75-44 0 0,-1 2-1 0 0,-2 1 0 0 0,-2 1 1 0 0,0 2-1 0 0,-3 2 1 0 0,-67-43-1 0 0,21 24 14 0 0,-2 4 0 0 0,-123-48 0 0 0,119 59-133 0 0,-2 4 0 0 0,-2 4 0 0 0,0 5-1 0 0,-190-21 1 0 0,215 39-684 0 0,0 3 0 0 0,0 3 0 0 0,0 2 0 0 0,0 4 0 0 0,1 3 0 0 0,0 3 0 0 0,-112 38 0 0 0,145-38-1153 0 0,1 1 0 0 0,-66 39-1 0 0,53-22-1684 0 0</inkml:trace>
</inkml:ink>
</file>

<file path=ppt/ink/ink5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4.3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1 2376 0 0,'0'1'265'0'0,"-1"0"1"0"0,1 0-1 0 0,0-1 0 0 0,0 1 0 0 0,0 0 0 0 0,0 0 1 0 0,0 0-1 0 0,0 0 0 0 0,0 0 0 0 0,0 0 0 0 0,0 0 0 0 0,0 0 1 0 0,1-1-1 0 0,-1 1 0 0 0,0 0 0 0 0,0 0 0 0 0,1 0 1 0 0,-1 0-1 0 0,1-1 0 0 0,-1 1 0 0 0,1 0 0 0 0,0 1 0 0 0,61 8 1309 0 0,0-3 0 0 0,115-2-1 0 0,0 1-951 0 0,-158-5-817 0 0,-6-1-501 0 0,0 1-1 0 0,0 0 1 0 0,0 1-1 0 0,-1 0 1 0 0,1 1 0 0 0,17 7-1 0 0</inkml:trace>
</inkml:ink>
</file>

<file path=ppt/ink/ink5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4.6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 13 1404 0 0,'4'-13'8565'0'0,"-9"59"-5353"0"0,4-34-3478 0 0,-2 38 303 0 0,3-1 0 0 0,11 98-1 0 0,-1-48-7088 0 0,-10-86 3483 0 0</inkml:trace>
</inkml:ink>
</file>

<file path=ppt/ink/ink5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4.9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7 105 2140 0 0,'-12'-14'1548'0'0,"4"-2"-320"0"0,0 7-311 0 0,0-2-181 0 0,0 0-152 0 0,0 2 108 0 0,-2-7-808 0 0,2 5-1168 0 0,2 4-1413 0 0</inkml:trace>
</inkml:ink>
</file>

<file path=ppt/ink/ink5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5.3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1316 0 0,'14'18'1194'0'0,"-1"1"-1"0"0,-1 1 0 0 0,0 0 1 0 0,-2 1-1 0 0,0 0 1 0 0,-1 0-1 0 0,7 29 1 0 0,-4-6 406 0 0,10 83 1 0 0,-14-78 1922 0 0,-6-73-3365 0 0,-1 14-180 0 0,1 0 0 0 0,0 0 1 0 0,0 0-1 0 0,1 0 0 0 0,0 0 0 0 0,1 1 0 0 0,0 0 0 0 0,0-1 0 0 0,10-13 0 0 0,-11 19 4 0 0,0-1-1 0 0,1 0 0 0 0,0 1 1 0 0,0 0-1 0 0,0 0 0 0 0,0 0 0 0 0,0 0 1 0 0,1 1-1 0 0,0 0 0 0 0,0 0 1 0 0,0 0-1 0 0,0 0 0 0 0,0 1 1 0 0,0 0-1 0 0,1 0 0 0 0,-1 0 1 0 0,11-2-1 0 0,-11 4 18 0 0,-1 0 0 0 0,1 0 0 0 0,0 0 0 0 0,-1 1 0 0 0,1 0 0 0 0,-1 0 0 0 0,1 0 0 0 0,-1 0 0 0 0,1 0 0 0 0,-1 1 0 0 0,0 0 0 0 0,0 0 0 0 0,0 0 0 0 0,0 1-1 0 0,0-1 1 0 0,0 1 0 0 0,-1 0 0 0 0,1 0 0 0 0,-1 0 0 0 0,0 0 0 0 0,0 1 0 0 0,5 7 0 0 0,3 5 44 0 0,-1 1 0 0 0,-1 0 0 0 0,14 35 0 0 0,-19-41-31 0 0,15 48-1256 0 0,-10-27-1547 0 0,2-2-4282 0 0</inkml:trace>
</inkml:ink>
</file>

<file path=ppt/ink/ink5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5.74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54 1608 0 0,'1'-2'231'0'0,"-1"1"0"0"0,1 0 0 0 0,0 0 0 0 0,0 0 0 0 0,0 0 0 0 0,-1 0 0 0 0,1 0 0 0 0,0 0 0 0 0,1 0-1 0 0,-1 0 1 0 0,0 0 0 0 0,0 0 0 0 0,0 0 0 0 0,0 1 0 0 0,1-1 0 0 0,-1 1 0 0 0,0-1 0 0 0,1 1 0 0 0,-1-1 0 0 0,0 1 0 0 0,1 0 0 0 0,-1-1 0 0 0,1 1 0 0 0,-1 0 0 0 0,0 0-1 0 0,1 0 1 0 0,1 1 0 0 0,0 0-56 0 0,-2 0-1 0 0,1 0 0 0 0,0 1 0 0 0,0-1 0 0 0,0 0 1 0 0,-1 1-1 0 0,1 0 0 0 0,0-1 0 0 0,-1 1 1 0 0,0 0-1 0 0,1 0 0 0 0,-1 0 0 0 0,0 0 0 0 0,0 0 1 0 0,0 0-1 0 0,0 0 0 0 0,1 4 0 0 0,25 78 2922 0 0,18 97-1 0 0,-45-180-3033 0 0,0 0 1 0 0,1 0-1 0 0,-1 0 0 0 0,0 0 0 0 0,0 0 1 0 0,0 0-1 0 0,0 0 0 0 0,0 0 1 0 0,0 1-1 0 0,0-1 0 0 0,0 0 0 0 0,0 0 1 0 0,-1 0-1 0 0,1 0 0 0 0,0 0 1 0 0,-1 1-1 0 0,0-2-42 0 0,1 1-1 0 0,0-1 1 0 0,-1 0 0 0 0,1 1-1 0 0,0-1 1 0 0,-1 0 0 0 0,1 0-1 0 0,0 0 1 0 0,-1 1 0 0 0,1-1-1 0 0,-1 0 1 0 0,1 0 0 0 0,0 0 0 0 0,-1 0-1 0 0,1 0 1 0 0,-1 1 0 0 0,1-1-1 0 0,-1 0 1 0 0,1 0 0 0 0,0 0-1 0 0,-1 0 1 0 0,1 0 0 0 0,-1-1-1 0 0,1 1 1 0 0,-1 0 0 0 0,-1-1-12 0 0,-1 1 0 0 0,1-1-1 0 0,0 0 1 0 0,0 0 0 0 0,0 0 0 0 0,0 0 0 0 0,1-1 0 0 0,-1 1 0 0 0,0 0 0 0 0,0-1 0 0 0,-1-2-1 0 0,-1-1-106 0 0,1-1-1 0 0,-1 0 0 0 0,1 0 0 0 0,1 0 1 0 0,-1 0-1 0 0,1-1 0 0 0,1 1 0 0 0,-1-1 1 0 0,1 1-1 0 0,0-1 0 0 0,0-9 0 0 0,0-9-368 0 0,5-41 0 0 0,-2 40 267 0 0,2 0 0 0 0,1 1 0 0 0,1-1 0 0 0,2 1 1 0 0,16-40-1 0 0,-18 52 121 0 0,1 0 0 0 0,0 1 0 0 0,0-1 1 0 0,1 1-1 0 0,1 1 0 0 0,0 0 0 0 0,0 0 0 0 0,1 1 0 0 0,1 0 1 0 0,-1 1-1 0 0,24-16 0 0 0,-27 21 46 0 0,1 1-1 0 0,-1 0 0 0 0,1 0 1 0 0,0 1-1 0 0,0-1 1 0 0,0 2-1 0 0,0-1 1 0 0,1 1-1 0 0,10 0 1 0 0,-16 1 36 0 0,-1 0 1 0 0,1 1-1 0 0,0-1 0 0 0,0 0 1 0 0,0 1-1 0 0,0 0 0 0 0,-1 0 1 0 0,1 0-1 0 0,0 0 0 0 0,-1 0 1 0 0,1 0-1 0 0,-1 1 1 0 0,3 1-1 0 0,-3-2 10 0 0,-1 1 0 0 0,0-1 0 0 0,1 1 0 0 0,-1-1 0 0 0,0 1 0 0 0,0 0 0 0 0,0-1 0 0 0,0 1 1 0 0,0 0-1 0 0,-1 0 0 0 0,1 0 0 0 0,0-1 0 0 0,-1 1 0 0 0,0 0 0 0 0,1 0 0 0 0,-1 0 0 0 0,0 0 0 0 0,0 0 0 0 0,0 0 0 0 0,0 4 0 0 0,-2 1 13 0 0,1-1-1 0 0,-1 1 0 0 0,0 0 0 0 0,0-1 1 0 0,-1 1-1 0 0,0-1 0 0 0,0 0 1 0 0,0 0-1 0 0,-1 0 0 0 0,0-1 0 0 0,0 1 1 0 0,-1-1-1 0 0,-5 6 0 0 0,-10 8 67 0 0,-40 30 1 0 0,60-48-91 0 0,-79 51-429 0 0,20-14-2223 0 0,55-35 1891 0 0,-7 5-595 0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2.2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07 2288 0 0,'7'-10'3802'0'0,"-6"9"-3599"0"0,-1 0-1 0 0,0 0 1 0 0,1 0 0 0 0,-1 0-1 0 0,0 1 1 0 0,1-1 0 0 0,-1 0-1 0 0,1 0 1 0 0,-1 1 0 0 0,1-1 0 0 0,0 0-1 0 0,-1 1 1 0 0,1-1 0 0 0,0 0-1 0 0,-1 1 1 0 0,1-1 0 0 0,0 1-1 0 0,0-1 1 0 0,0 1 0 0 0,-1 0-1 0 0,1-1 1 0 0,0 1 0 0 0,0 0-1 0 0,0 0 1 0 0,0-1 0 0 0,0 1-1 0 0,-1 0 1 0 0,1 0 0 0 0,0 0-1 0 0,0 0 1 0 0,2 0 0 0 0,-3 1-110 0 0,1 0 1 0 0,0 0-1 0 0,0 0 1 0 0,0-1 0 0 0,-1 1-1 0 0,1 0 1 0 0,0 0-1 0 0,-1 0 1 0 0,1 0-1 0 0,-1 1 1 0 0,1-1-1 0 0,-1 0 1 0 0,1 0 0 0 0,-1 0-1 0 0,0 0 1 0 0,0 0-1 0 0,0 1 1 0 0,1 0-1 0 0,1 28 658 0 0,-1-24-588 0 0,-1 93-302 0 0,-5-36-8602 0 0</inkml:trace>
  <inkml:trace contextRef="#ctx0" brushRef="#br0" timeOffset="1">30 171 1128 0 0,'2'-19'1744'0'0,"-2"3"-320"0"0,3-1-183 0 0,-1 3-301 0 0,0-3-64 0 0,0 5-132 0 0,-2-2-136 0 0,2 5-116 0 0,0-1-108 0 0,0-4 32 0 0,-2-1-576 0 0,5 1-984 0 0</inkml:trace>
</inkml:ink>
</file>

<file path=ppt/ink/ink5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6.1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42 1132 0 0,'3'-1'1352'0'0,"-2"1"-1276"0"0,19 0 2857 0 0,-19 0-2824 0 0,-1 1 1 0 0,1-1 0 0 0,0 0 0 0 0,-1 0 0 0 0,1 1-1 0 0,0-1 1 0 0,-1 0 0 0 0,1 1 0 0 0,0-1 0 0 0,-1 1-1 0 0,1-1 1 0 0,-1 0 0 0 0,1 1 0 0 0,0 0 0 0 0,-1-1-1 0 0,1 1 1 0 0,-1-1 0 0 0,0 1 0 0 0,1-1 0 0 0,-1 1-1 0 0,1 0 1 0 0,-1-1 0 0 0,0 1 0 0 0,0 0 0 0 0,1 0-1 0 0,-1-1 1 0 0,0 1 0 0 0,0 1 0 0 0,4 41 1934 0 0,-4-25-1408 0 0,2 1 0 0 0,0 0 1 0 0,10 33-1 0 0,-11-46-589 0 0,1-1-1 0 0,1 1 1 0 0,-1-1 0 0 0,1 0 0 0 0,0 0 0 0 0,0 0 0 0 0,0 0-1 0 0,1 0 1 0 0,0-1 0 0 0,0 0 0 0 0,0 0 0 0 0,0 0-1 0 0,0 0 1 0 0,1 0 0 0 0,0-1 0 0 0,0 0 0 0 0,6 3 0 0 0,-6-4-111 0 0,-1 0 0 0 0,1 0 1 0 0,0 0-1 0 0,-1-1 0 0 0,1 0 1 0 0,0 0-1 0 0,0 0 0 0 0,0 0 1 0 0,0-1-1 0 0,0 0 0 0 0,0 0 1 0 0,0 0-1 0 0,0-1 0 0 0,0 0 1 0 0,0 0-1 0 0,0 0 0 0 0,0 0 1 0 0,-1-1-1 0 0,7-2 0 0 0,3-4-380 0 0,-1 0-1 0 0,0-1 0 0 0,0 0 0 0 0,18-19 0 0 0,8-5-73 0 0,-37 31 431 0 0,5 25 652 0 0,-5-19-491 0 0,2 4 169 0 0,0-1 1 0 0,0 1 0 0 0,1-1 0 0 0,7 9 0 0 0,-10-13-163 0 0,1 0 1 0 0,0-1 0 0 0,0 1 0 0 0,0-1 0 0 0,0 0 0 0 0,0 0 0 0 0,1 0 0 0 0,-1 0 0 0 0,0-1-1 0 0,1 1 1 0 0,0-1 0 0 0,-1 0 0 0 0,1 0 0 0 0,5 1 0 0 0,-3-2-103 0 0,0 0 0 0 0,0 0 0 0 0,0 0 0 0 0,0-1 0 0 0,0 0 0 0 0,0 0 0 0 0,0 0 0 0 0,0-1 0 0 0,0 0 0 0 0,-1 0 0 0 0,1 0 0 0 0,-1-1 0 0 0,1 0-1 0 0,-1 0 1 0 0,0 0 0 0 0,0 0 0 0 0,-1-1 0 0 0,1 0 0 0 0,-1 0 0 0 0,1-1 0 0 0,-1 1 0 0 0,0-1 0 0 0,-1 0 0 0 0,1 0 0 0 0,-1 0 0 0 0,0 0 0 0 0,2-7 0 0 0,5-8-334 0 0,-2-2-1 0 0,0 1 0 0 0,8-41 1 0 0,4-69 23 0 0,-8 43 1067 0 0,-10 76-622 0 0,5-45 1101 0 0,-13 72-550 0 0,-1 4-452 0 0,2 0 0 0 0,0 0 0 0 0,1 0 0 0 0,1 0 0 0 0,0 22 0 0 0,2-32-170 0 0,-7 203 571 0 0,10-141-3048 0 0,2-1-3949 0 0,-4-55 2205 0 0</inkml:trace>
</inkml:ink>
</file>

<file path=ppt/ink/ink5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6.4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0 1 348 0 0,'-7'2'3649'0'0,"5"-1"-3273"0"0,0-1-1 0 0,0 0 1 0 0,1 1 0 0 0,-1-1 0 0 0,0 1-1 0 0,1 0 1 0 0,-1 0 0 0 0,0-1-1 0 0,1 1 1 0 0,-1 0 0 0 0,1 0-1 0 0,-1 1 1 0 0,1-1 0 0 0,0 0-1 0 0,-1 0 1 0 0,1 1 0 0 0,0-1-1 0 0,0 1 1 0 0,0-1 0 0 0,-2 3-1 0 0,3-3-289 0 0,0 0 0 0 0,0-1 0 0 0,0 1 0 0 0,0-1 0 0 0,1 1-1 0 0,-1 0 1 0 0,0-1 0 0 0,0 1 0 0 0,0-1 0 0 0,0 1 0 0 0,1-1-1 0 0,-1 1 1 0 0,0-1 0 0 0,1 1 0 0 0,-1-1 0 0 0,0 1 0 0 0,1-1-1 0 0,-1 1 1 0 0,1-1 0 0 0,-1 0 0 0 0,0 1 0 0 0,1-1 0 0 0,-1 0-1 0 0,1 1 1 0 0,-1-1 0 0 0,2 1 0 0 0,14 6 716 0 0,-14-7-750 0 0,20 8 420 0 0,1-2 0 0 0,0 0 1 0 0,0-2-1 0 0,0 0 0 0 0,43 0 0 0 0,-21-1-209 0 0,174 2-1589 0 0,-194-5-441 0 0,-21 0 87 0 0</inkml:trace>
</inkml:ink>
</file>

<file path=ppt/ink/ink5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7.5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6 0 1628 0 0,'-16'3'882'0'0,"0"0"-1"0"0,1 2 0 0 0,-1-1 1 0 0,1 2-1 0 0,0 0 1 0 0,0 0-1 0 0,-16 11 1 0 0,5-1 50 0 0,1 1 1 0 0,-43 37 0 0 0,55-42-620 0 0,0 0 1 0 0,2 1-1 0 0,-1 1 0 0 0,1-1 1 0 0,-16 28-1 0 0,22-31-201 0 0,1 0 0 0 0,0 0 0 0 0,0 0 0 0 0,0 0 0 0 0,2 1 0 0 0,-1-1 0 0 0,1 1 0 0 0,1 0 0 0 0,0 0 0 0 0,0 16 0 0 0,2-16-58 0 0,1-1 0 0 0,-1 1-1 0 0,2-1 1 0 0,-1 0 0 0 0,2 0 0 0 0,-1 0 0 0 0,1 0 0 0 0,1-1-1 0 0,-1 0 1 0 0,2 1 0 0 0,-1-2 0 0 0,1 1 0 0 0,1-1 0 0 0,-1 0-1 0 0,1 0 1 0 0,1 0 0 0 0,0-1 0 0 0,0 0 0 0 0,0-1 0 0 0,14 8-1 0 0,-14-9-35 0 0,0 0 0 0 0,1-1 0 0 0,-1 0 0 0 0,1-1 0 0 0,0 0 0 0 0,0 0 0 0 0,0-1 0 0 0,1 0 0 0 0,-1 0 0 0 0,0-1 0 0 0,1 0 0 0 0,-1-1 0 0 0,1 0-1 0 0,-1-1 1 0 0,1 0 0 0 0,-1 0 0 0 0,0-1 0 0 0,0 0 0 0 0,1-1 0 0 0,-1 0 0 0 0,-1 0 0 0 0,18-9 0 0 0,-17 6 18 0 0,-1 0 0 0 0,1 0 1 0 0,-1-1-1 0 0,-1 0 0 0 0,1-1 0 0 0,-1 1 0 0 0,0-1 1 0 0,-1-1-1 0 0,0 1 0 0 0,0-1 0 0 0,-1 0 1 0 0,0 0-1 0 0,0-1 0 0 0,4-14 0 0 0,-7 17-5 0 0,0-1-1 0 0,0 1 0 0 0,-1-1 0 0 0,1 0 1 0 0,-2 1-1 0 0,1-1 0 0 0,-1 0 0 0 0,-1 0 1 0 0,1 0-1 0 0,-1 1 0 0 0,0-1 0 0 0,-1 0 1 0 0,0 1-1 0 0,0-1 0 0 0,-1 1 0 0 0,0 0 1 0 0,0 0-1 0 0,-1 0 0 0 0,1 0 0 0 0,-7-7 1 0 0,1 2-59 0 0,-2-1 1 0 0,0 2-1 0 0,0-1 1 0 0,-1 2-1 0 0,0-1 1 0 0,-1 2 0 0 0,-15-9-1 0 0,6 5-1186 0 0,-1 2 0 0 0,1 1 0 0 0,-43-13 0 0 0,63 23 960 0 0,1 0 0 0 0,-1 0 0 0 0,1-1-1 0 0,-1 1 1 0 0,0 0 0 0 0,1 0-1 0 0,-1 0 1 0 0,0 1 0 0 0,1-1-1 0 0,-1 0 1 0 0,1 1 0 0 0,-1-1-1 0 0,0 1 1 0 0,1-1 0 0 0,-3 2-1 0 0,4 10-3886 0 0</inkml:trace>
</inkml:ink>
</file>

<file path=ppt/ink/ink5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8.1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83 1228 0 0,'4'0'1550'0'0,"-1"0"-1299"0"0,0 0-1 0 0,0 0 0 0 0,0 0 1 0 0,1 1-1 0 0,-1-1 0 0 0,0 1 1 0 0,0 0-1 0 0,0 0 0 0 0,0 0 1 0 0,0 0-1 0 0,0 0 0 0 0,0 1 1 0 0,-1-1-1 0 0,1 1 0 0 0,0 0 1 0 0,-1 0-1 0 0,1 0 0 0 0,-1 0 1 0 0,0 0-1 0 0,0 1 0 0 0,0-1 1 0 0,0 1-1 0 0,0-1 0 0 0,0 1 1 0 0,-1 0-1 0 0,1 0 0 0 0,-1-1 1 0 0,0 1-1 0 0,0 0 0 0 0,0 0 1 0 0,1 5-1 0 0,7 19 379 0 0,1-1 1 0 0,17 34-1 0 0,-22-52-569 0 0,0 1 0 0 0,0-1 0 0 0,1 1 0 0 0,0-1 0 0 0,0-1 0 0 0,1 0 0 0 0,0 0 0 0 0,0 0 0 0 0,1 0 0 0 0,8 4 0 0 0,-13-9-111 0 0,-1-1 0 0 0,1 0 0 0 0,0 1 0 0 0,0-1 0 0 0,0-1 0 0 0,0 1 0 0 0,0 0 0 0 0,0-1 0 0 0,0 1 0 0 0,0-1 0 0 0,0 0 0 0 0,0 0 0 0 0,0 0 0 0 0,0-1 0 0 0,0 1 0 0 0,0-1 0 0 0,0 1 0 0 0,-1-1 0 0 0,1 0 0 0 0,0 0 0 0 0,0 0 0 0 0,0-1 0 0 0,-1 1 0 0 0,1-1 0 0 0,-1 1 0 0 0,5-5 0 0 0,5-4-234 0 0,-1 0 1 0 0,0-1-1 0 0,-1 0 1 0 0,10-15 0 0 0,-3 5 245 0 0,-1 3-67 0 0,-14 16 73 0 0,8 13 56 0 0,-9-6 62 0 0,-1 0 0 0 0,1 1 0 0 0,0-1 0 0 0,1 0-1 0 0,0 0 1 0 0,-1 0 0 0 0,1-1 0 0 0,1 1 0 0 0,-1 0 0 0 0,1-1 0 0 0,3 5 0 0 0,-5-6-25 0 0,1-1 1 0 0,0 0 0 0 0,0 1-1 0 0,0-1 1 0 0,0 0-1 0 0,0 0 1 0 0,1 0 0 0 0,-1 0-1 0 0,0 0 1 0 0,1-1 0 0 0,-1 1-1 0 0,1-1 1 0 0,0 0-1 0 0,0 1 1 0 0,-1-1 0 0 0,1 0-1 0 0,0-1 1 0 0,0 1-1 0 0,0-1 1 0 0,0 1 0 0 0,0-1-1 0 0,6 0 1 0 0,-2-1-52 0 0,0-1-1 0 0,-1 1 1 0 0,1-2 0 0 0,0 1-1 0 0,-1-1 1 0 0,1 0 0 0 0,-1 0-1 0 0,0 0 1 0 0,0-1 0 0 0,0 0-1 0 0,-1-1 1 0 0,1 1 0 0 0,-1-1-1 0 0,0 0 1 0 0,0 0 0 0 0,-1 0-1 0 0,1-1 1 0 0,-1 0 0 0 0,-1 0-1 0 0,1 0 1 0 0,4-11 0 0 0,3-10-199 0 0,-1-1 1 0 0,-1 0 0 0 0,10-56 0 0 0,1-90 817 0 0,-18 158-397 0 0,9-60 579 0 0,-11 74-459 0 0,-2 24 378 0 0,43 253-299 0 0,-24-174-4162 0 0,-7-55-1275 0 0,-4-29 741 0 0</inkml:trace>
</inkml:ink>
</file>

<file path=ppt/ink/ink5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8.5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92 1056 0 0,'13'-11'3086'0'0,"1"4"-2155"0"0,0 0-1 0 0,1 1 0 0 0,0 1 0 0 0,0 0 0 0 0,0 1 0 0 0,28-3 1 0 0,-39 7-837 0 0,0 0 0 0 0,0 0 0 0 0,0 0 0 0 0,0 0 0 0 0,0 1 0 0 0,0-1 0 0 0,0 1 0 0 0,0 0 0 0 0,-1 0 0 0 0,1 1 0 0 0,0-1 0 0 0,0 1 0 0 0,-1 0 0 0 0,1 0 0 0 0,-1 0 0 0 0,0 0 0 0 0,0 1 0 0 0,0-1 0 0 0,0 1 0 0 0,0 0 0 0 0,0 0 0 0 0,-1 0 0 0 0,3 3 0 0 0,3 6 195 0 0,0 0-1 0 0,-1 0 0 0 0,0 1 1 0 0,9 24-1 0 0,1 16 261 0 0,-2-1-1 0 0,-2 2 1 0 0,-3 0 0 0 0,7 103 0 0 0,-17-150-520 0 0,1 6 527 0 0,0 0 1 0 0,-3 18-1 0 0,2-28-75 0 0,-1-4-481 0 0,0 0 0 0 0,0 0 1 0 0,0 0-1 0 0,0-1 0 0 0,0 1 0 0 0,0 0 0 0 0,0-1 1 0 0,0 1-1 0 0,0 0 0 0 0,1-1 0 0 0,-1 1 0 0 0,1-1 1 0 0,-1 1-1 0 0,1-1 0 0 0,-1 1 0 0 0,1-1 0 0 0,0-1 0 0 0,-3-34-227 0 0,1 0 0 0 0,2 0-1 0 0,2 0 1 0 0,1 0 0 0 0,2 0-1 0 0,2 1 1 0 0,1 0 0 0 0,2 0-1 0 0,1 1 1 0 0,2 0 0 0 0,1 1-1 0 0,35-60 1 0 0,-40 79 130 0 0,1 1-1 0 0,0 0 1 0 0,1 1 0 0 0,1 0-1 0 0,18-17 1 0 0,-23 25 29 0 0,0-1-1 0 0,0 1 1 0 0,0 0-1 0 0,1 1 0 0 0,0 0 1 0 0,0 0-1 0 0,0 1 1 0 0,1 0-1 0 0,-1 0 1 0 0,1 1-1 0 0,16-3 1 0 0,-23 5 62 0 0,0 0 0 0 0,1 0 1 0 0,-1 0-1 0 0,0 0 0 0 0,0 0 1 0 0,0 0-1 0 0,0 1 0 0 0,0-1 1 0 0,0 1-1 0 0,1 0 0 0 0,-1-1 1 0 0,0 1-1 0 0,0 0 0 0 0,-1 0 1 0 0,1 0-1 0 0,0 0 0 0 0,0 1 1 0 0,0-1-1 0 0,-1 0 0 0 0,1 1 1 0 0,-1-1-1 0 0,1 1 0 0 0,-1 0 1 0 0,0-1-1 0 0,1 1 1 0 0,-1 0-1 0 0,0 0 0 0 0,0 0 1 0 0,0 0-1 0 0,0 0 0 0 0,-1 0 1 0 0,1 0-1 0 0,-1 0 0 0 0,1 0 1 0 0,-1 0-1 0 0,0 1 0 0 0,1-1 1 0 0,-1 0-1 0 0,0 0 0 0 0,0 0 1 0 0,-1 0-1 0 0,1 1 0 0 0,0-1 1 0 0,-1 0-1 0 0,0 0 0 0 0,1 0 1 0 0,-1 0-1 0 0,0 0 0 0 0,0 0 1 0 0,0 0-1 0 0,0 0 0 0 0,-2 2 1 0 0,-7 9 13 0 0,-1 0 1 0 0,0-1 0 0 0,-1 0 0 0 0,-1 0-1 0 0,0-1 1 0 0,0-1 0 0 0,-27 15 0 0 0,9-8-2043 0 0,0-2 0 0 0,-56 20 0 0 0,64-35-4147 0 0</inkml:trace>
</inkml:ink>
</file>

<file path=ppt/ink/ink5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9.0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94 1752 0 0,'2'2'1327'0'0,"2"4"-638"0"0,0 0-1 0 0,-1 0 1 0 0,0 0-1 0 0,0 1 1 0 0,-1-1 0 0 0,1 1-1 0 0,0 8 1 0 0,-1-9-423 0 0,-1 0 0 0 0,1 1 0 0 0,0-1 1 0 0,0 0-1 0 0,1 0 0 0 0,0-1 0 0 0,0 1 0 0 0,0 0 1 0 0,1-1-1 0 0,0 0 0 0 0,0 0 0 0 0,8 9 0 0 0,-9-13-254 0 0,0 1 0 0 0,0-1 0 0 0,0 0-1 0 0,0 0 1 0 0,0 0 0 0 0,0 0 0 0 0,0-1 0 0 0,0 1-1 0 0,0-1 1 0 0,0 0 0 0 0,0 1 0 0 0,1-2-1 0 0,-1 1 1 0 0,0 0 0 0 0,0 0 0 0 0,0-1-1 0 0,0 0 1 0 0,0 0 0 0 0,0 0 0 0 0,0 0-1 0 0,0 0 1 0 0,0 0 0 0 0,3-3 0 0 0,10-5-255 0 0,0 0-1 0 0,25-20 1 0 0,-36 25 182 0 0,-5 4 55 0 0,1-1-1 0 0,-1 1 1 0 0,0 0-1 0 0,1 0 1 0 0,-1-1-1 0 0,0 1 1 0 0,1 0-1 0 0,-1 0 1 0 0,0-1-1 0 0,1 1 1 0 0,-1 0-1 0 0,1 0 1 0 0,-1 0-1 0 0,1 0 0 0 0,-1-1 1 0 0,0 1-1 0 0,1 0 1 0 0,-1 0-1 0 0,1 0 1 0 0,-1 0-1 0 0,1 0 1 0 0,-1 0-1 0 0,1 0 1 0 0,-1 0-1 0 0,0 1 1 0 0,1-1-1 0 0,-1 0 1 0 0,1 0-1 0 0,-1 0 1 0 0,1 0-1 0 0,-1 0 1 0 0,0 1-1 0 0,1-1 0 0 0,-1 0 1 0 0,0 0-1 0 0,1 1 1 0 0,-1-1-1 0 0,0 0 1 0 0,1 1-1 0 0,-1-1 1 0 0,0 0-1 0 0,1 1 1 0 0,6 21 99 0 0,-4-12-22 0 0,-2-6-32 0 0,1 0-1 0 0,0 0 1 0 0,0 0-1 0 0,0-1 0 0 0,0 1 1 0 0,0-1-1 0 0,1 1 1 0 0,-1-1-1 0 0,1 0 0 0 0,0 0 1 0 0,0 0-1 0 0,0 0 1 0 0,1-1-1 0 0,-1 1 0 0 0,0-1 1 0 0,1 0-1 0 0,0 0 1 0 0,-1 0-1 0 0,1 0 0 0 0,0-1 1 0 0,5 2-1 0 0,-6-2-24 0 0,0-1-1 0 0,1 1 1 0 0,-1-1 0 0 0,1 0-1 0 0,-1 0 1 0 0,1 0 0 0 0,-1 0-1 0 0,1-1 1 0 0,-1 1 0 0 0,1-1-1 0 0,-1 0 1 0 0,0 0-1 0 0,1 0 1 0 0,-1 0 0 0 0,0-1-1 0 0,0 1 1 0 0,0-1 0 0 0,0 0-1 0 0,0 0 1 0 0,0 0 0 0 0,-1 0-1 0 0,1 0 1 0 0,0-1 0 0 0,2-3-1 0 0,2-3-77 0 0,0 1 0 0 0,-1-1 0 0 0,0-1 0 0 0,-1 1 0 0 0,0-1 0 0 0,4-11 0 0 0,2-17-35 0 0,0 0 0 0 0,-3 0 0 0 0,-1-1 0 0 0,1-41 0 0 0,-1 22 888 0 0,1-29 1458 0 0,-14 97-1357 0 0,3 4-638 0 0,-1 0 0 0 0,2 0 0 0 0,0 0 1 0 0,0 0-1 0 0,1 1 0 0 0,2 14 0 0 0,-2-1-18 0 0,4 167 634 0 0,0 7-3439 0 0,-4-181 1604 0 0,-2 38-2329 0 0,-3-23-1951 0 0,2-22 1272 0 0</inkml:trace>
</inkml:ink>
</file>

<file path=ppt/ink/ink5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9.4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77 1036 0 0,'14'-13'1014'0'0,"0"1"0"0"0,1 0 0 0 0,0 1 0 0 0,1 1 0 0 0,0 0 0 0 0,1 1 0 0 0,24-9 0 0 0,126-35 170 0 0,-118 43-1623 0 0,14-4-4997 0 0,-48 9 3383 0 0</inkml:trace>
</inkml:ink>
</file>

<file path=ppt/ink/ink5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8:59.8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64 0 0,'0'0'2752'0'0,"0"16"819"0"0,5 60 334 0 0,17 39-2716 0 0,-10-50-1863 0 0,-10-45-2131 0 0,9 32-1 0 0,-7-39 14 0 0</inkml:trace>
</inkml:ink>
</file>

<file path=ppt/ink/ink5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49:00.2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7 504 0 0,'0'0'4304'0'0,"10"-5"-2339"0"0,10 3-481 0 0,6 2-540 0 0,10 0-600 0 0,-18 2-84 0 0,0 0-148 0 0,-2-2-268 0 0,6 3-304 0 0,-2-1-368 0 0,0-2-500 0 0,-2 0-901 0 0</inkml:trace>
</inkml:ink>
</file>

<file path=ppt/ink/ink5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47.56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1 568 0 0,'9'17'7275'0'0,"-4"4"-3833"0"0,-4 26-1923 0 0,-1-18-88 0 0,0 180 888 0 0,-8-70-5750 0 0,3-78-813 0 0,5-45 1411 0 0,0-4-809 0 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2.9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51 584 0 0,'2'1'3338'0'0,"3"2"-2830"0"0,-1 0 1 0 0,0 0 0 0 0,0 1-1 0 0,0-1 1 0 0,0 1-1 0 0,-1 0 1 0 0,0 0 0 0 0,1 0-1 0 0,-1 1 1 0 0,-1-1-1 0 0,1 1 1 0 0,-1 0 0 0 0,0 0-1 0 0,4 9 1 0 0,1 11 551 0 0,9 47 1 0 0,-11-41-364 0 0,11 82 3029 0 0,-16-113-3726 0 0,-1 0 0 0 0,1 0 1 0 0,-1-1-1 0 0,1 1 0 0 0,-1 0 0 0 0,1-1 0 0 0,0 1 0 0 0,-1 0 1 0 0,1-1-1 0 0,0 1 0 0 0,0-1 0 0 0,-1 1 0 0 0,1-1 1 0 0,0 1-1 0 0,0 0 0 0 0,-1-1 0 0 0,1 1 0 0 0,0-1 1 0 0,0 1-1 0 0,0-1 0 0 0,0 1 0 0 0,0-1 0 0 0,0 1 0 0 0,0-1 1 0 0,0 1-1 0 0,0-1 0 0 0,0 1 0 0 0,0-1 0 0 0,0 1 1 0 0,0-1-1 0 0,0 1 0 0 0,0-1 0 0 0,1 1 0 0 0,-1-2 0 0 0,6-19-202 0 0,-3 13 54 0 0,0 0-1 0 0,0 0 1 0 0,1 1-1 0 0,0-1 1 0 0,1 1-1 0 0,0 0 1 0 0,0 0-1 0 0,0 0 1 0 0,1 0 0 0 0,0 1-1 0 0,0 0 1 0 0,1 1-1 0 0,0-1 1 0 0,0 1-1 0 0,0 0 1 0 0,15-7-1 0 0,-19 12 125 0 0,0-1-1 0 0,0 0 0 0 0,-1 1 0 0 0,1-1 0 0 0,0 1 0 0 0,0 0 1 0 0,0 0-1 0 0,-1 0 0 0 0,1 0 0 0 0,0 1 0 0 0,0-1 0 0 0,-1 1 1 0 0,1-1-1 0 0,0 1 0 0 0,-1 0 0 0 0,1 0 0 0 0,0 1 0 0 0,-1-1 1 0 0,1 0-1 0 0,-1 1 0 0 0,4 2 0 0 0,2 3 15 0 0,0 1 0 0 0,0 0 0 0 0,13 17 0 0 0,-12-14-1 0 0,26 38 21 0 0,-28-38 6 0 0,0 1 1 0 0,1-1 0 0 0,1-1 0 0 0,13 13 0 0 0,-19-20-14 0 0,1 0 0 0 0,0 0 0 0 0,-1-1-1 0 0,1 1 1 0 0,1-1 0 0 0,-1 0 0 0 0,0 0 0 0 0,0-1 0 0 0,1 1-1 0 0,-1-1 1 0 0,1 0 0 0 0,-1 0 0 0 0,1-1 0 0 0,-1 1 0 0 0,1-1-1 0 0,0 0 1 0 0,-1 0 0 0 0,1-1 0 0 0,-1 1 0 0 0,1-1 0 0 0,-1 0-1 0 0,1 0 1 0 0,-1-1 0 0 0,1 1 0 0 0,6-4 0 0 0,1-1-69 0 0,-1 0 0 0 0,-1-1 0 0 0,1 0 0 0 0,-1 0-1 0 0,0-1 1 0 0,-1-1 0 0 0,0 1 0 0 0,10-13 0 0 0,-3-1-66 0 0,28-48-1 0 0,-17 25-2 0 0,-26 43 85 0 0,-2-8 11 0 0,-10 23 58 0 0,1 2 0 0 0,0 0 0 0 0,1 0 0 0 0,1 0 0 0 0,1 1 0 0 0,0 0 0 0 0,-6 21 0 0 0,-26 124 948 0 0,18 2 7 0 0,3-18-216 0 0,12-116-518 0 0,0-1 0 0 0,-2 0 0 0 0,-12 29 0 0 0,18-51-174 0 0,-1-1 0 0 0,0 1-1 0 0,0-1 1 0 0,0 0 0 0 0,-1 0 0 0 0,-7 8 0 0 0,10-12-60 0 0,1 0 1 0 0,-1-1-1 0 0,0 1 0 0 0,1-1 1 0 0,-1 1-1 0 0,0-1 1 0 0,0 1-1 0 0,0-1 1 0 0,0 1-1 0 0,0-1 1 0 0,1 0-1 0 0,-1 0 1 0 0,0 1-1 0 0,0-1 1 0 0,0 0-1 0 0,0 0 0 0 0,0 0 1 0 0,0 0-1 0 0,0 0 1 0 0,0 0-1 0 0,0 0 1 0 0,0 0-1 0 0,0-1 1 0 0,0 1-1 0 0,1 0 1 0 0,-1 0-1 0 0,0-1 1 0 0,0 1-1 0 0,0-1 0 0 0,0 1 1 0 0,1-1-1 0 0,-2 0 1 0 0,0 0-6 0 0,0-1 1 0 0,1 1-1 0 0,-1-1 0 0 0,1 0 1 0 0,-1 0-1 0 0,1 1 0 0 0,-1-1 1 0 0,1 0-1 0 0,0 0 0 0 0,0 0 1 0 0,-1-3-1 0 0,-1-5-65 0 0,1 0 0 0 0,0 0-1 0 0,1-1 1 0 0,0 1 0 0 0,1 0 0 0 0,0-1 0 0 0,1-12-1 0 0,15-74-323 0 0,-15 88 345 0 0,27-103-267 0 0,4 3 0 0 0,49-114 0 0 0,-6 23 19 0 0,-70 185 263 0 0,-2 6-4 0 0,0 1 0 0 0,0-1-1 0 0,-1 0 1 0 0,0 0 0 0 0,0 0-1 0 0,-1-9 1 0 0,-1 16 18 0 0,0 1 1 0 0,-1 0 0 0 0,1-1 0 0 0,-1 1-1 0 0,1 0 1 0 0,-1 0 0 0 0,0 0-1 0 0,1-1 1 0 0,-1 1 0 0 0,0 0-1 0 0,0 0 1 0 0,0 0 0 0 0,0 0-1 0 0,0 0 1 0 0,0 1 0 0 0,0-1-1 0 0,0 0 1 0 0,0 0 0 0 0,0 1-1 0 0,-1-1 1 0 0,1 0 0 0 0,0 1-1 0 0,0-1 1 0 0,-1 1 0 0 0,1 0-1 0 0,0-1 1 0 0,-1 1 0 0 0,1 0 0 0 0,0 0-1 0 0,-1 0 1 0 0,1 0 0 0 0,0 0-1 0 0,-1 0 1 0 0,1 0 0 0 0,0 1-1 0 0,-1-1 1 0 0,1 0 0 0 0,0 1-1 0 0,0-1 1 0 0,-1 1 0 0 0,1-1-1 0 0,0 1 1 0 0,0 0 0 0 0,-2 1-1 0 0,0 0-134 0 0,1 0-1 0 0,0 0 0 0 0,-1 1 0 0 0,1-1 1 0 0,0 1-1 0 0,1-1 0 0 0,-1 1 1 0 0,0 0-1 0 0,1 0 0 0 0,-1 0 0 0 0,1 0 1 0 0,0 0-1 0 0,0 0 0 0 0,0 0 1 0 0,1 0-1 0 0,-1 0 0 0 0,1 0 0 0 0,-1 0 1 0 0,1 1-1 0 0,0-1 0 0 0,1 4 0 0 0,-1-3-398 0 0,1 0-1 0 0,0 0 0 0 0,-1 0 0 0 0,2 0 1 0 0,-1 0-1 0 0,0 0 0 0 0,1 0 0 0 0,0-1 0 0 0,0 1 1 0 0,4 6-1 0 0,3 1-3094 0 0</inkml:trace>
</inkml:ink>
</file>

<file path=ppt/ink/ink5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47.96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53 1052 0 0,'5'-5'367'0'0,"0"0"0"0"0,1 0-1 0 0,-1 1 1 0 0,1 0 0 0 0,0 0 0 0 0,0 0-1 0 0,0 1 1 0 0,0 0 0 0 0,0 0 0 0 0,1 0 0 0 0,0 1-1 0 0,-1 0 1 0 0,1 0 0 0 0,0 1 0 0 0,0 0-1 0 0,0 0 1 0 0,0 1 0 0 0,8 0 0 0 0,-9 0-304 0 0,0 1 0 0 0,0 0-1 0 0,0 0 1 0 0,0 0 0 0 0,0 1 0 0 0,0 0 0 0 0,-1 0 0 0 0,1 1 0 0 0,-1 0 0 0 0,1 0 0 0 0,-1 0 0 0 0,0 0 0 0 0,0 1 0 0 0,0 0-1 0 0,-1 0 1 0 0,0 0 0 0 0,1 0 0 0 0,-1 1 0 0 0,-1 0 0 0 0,1 0 0 0 0,3 5 0 0 0,-3-3-15 0 0,-1 1 0 0 0,0-1 0 0 0,0 1 0 0 0,0 0 1 0 0,-1-1-1 0 0,0 1 0 0 0,0 0 0 0 0,-1 0 0 0 0,0 1 0 0 0,0 7 0 0 0,-2-3 50 0 0,0 1 0 0 0,0-1-1 0 0,-2 0 1 0 0,1 0-1 0 0,-7 19 1 0 0,-5 2 416 0 0,0-1 1 0 0,-3-1 0 0 0,-29 47-1 0 0,41-72-397 0 0,-7 11 535 0 0,1 0 0 0 0,-12 30 0 0 0,22-46-568 0 0,1-1-1 0 0,-1 0 0 0 0,1 0 1 0 0,-1 0-1 0 0,1 1 1 0 0,0-1-1 0 0,0 0 0 0 0,0 0 1 0 0,0 1-1 0 0,0-1 0 0 0,0 0 1 0 0,0 0-1 0 0,0 1 1 0 0,0-1-1 0 0,1 0 0 0 0,-1 0 1 0 0,0 1-1 0 0,1-1 0 0 0,-1 0 1 0 0,1 0-1 0 0,-1 0 1 0 0,2 2-1 0 0,0-2-3 0 0,-1 1 0 0 0,1 0 0 0 0,0-1 0 0 0,0 0-1 0 0,0 1 1 0 0,0-1 0 0 0,0 0 0 0 0,0 0 0 0 0,0 0 0 0 0,0 0 0 0 0,4 1 0 0 0,6 1 27 0 0,1 0-1 0 0,1-1 1 0 0,20 0 0 0 0,-21-1-58 0 0,38 2-1894 0 0,72-5 1 0 0,-88-2-2278 0 0,45-9 0 0 0,-54 7 455 0 0</inkml:trace>
  <inkml:trace contextRef="#ctx0" brushRef="#br0" timeOffset="1">816 466 228 0 0,'0'0'1892'0'0,"3"0"-531"0"0,-2 0-1113 0 0,1 0 0 0 0,-1-1 1 0 0,1 1-1 0 0,-1 0 0 0 0,0 0 0 0 0,1 1 0 0 0,-1-1 0 0 0,0 0 1 0 0,1 0-1 0 0,-1 1 0 0 0,0-1 0 0 0,1 0 0 0 0,-1 1 1 0 0,2 0-1 0 0,-3 0-99 0 0,1 0 0 0 0,0 0 0 0 0,-1 0 1 0 0,1 0-1 0 0,0-1 0 0 0,-1 1 0 0 0,1 0 1 0 0,-1 0-1 0 0,0 0 0 0 0,1 0 0 0 0,-1 1 1 0 0,0-1-1 0 0,0 0 0 0 0,0 0 0 0 0,1 0 1 0 0,-1 0-1 0 0,0 0 0 0 0,0 0 0 0 0,-1 0 1 0 0,1 0-1 0 0,0 0 0 0 0,0 0 0 0 0,-1 2 1 0 0,-3 19 517 0 0,-1-1 1 0 0,-15 37-1 0 0,14-45-1911 0 0,0 1-1 0 0,-12 18 0 0 0</inkml:trace>
</inkml:ink>
</file>

<file path=ppt/ink/ink5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48.62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55 280 716 0 0,'0'-11'7503'0'0,"0"9"-7184"0"0,1 2-255 0 0,-1-1-1 0 0,1 1 0 0 0,0 0 1 0 0,-1-1-1 0 0,1 1 0 0 0,0 0 1 0 0,0 0-1 0 0,-1 0 1 0 0,1-1-1 0 0,0 1 0 0 0,0 0 1 0 0,-1 0-1 0 0,1 0 1 0 0,0 0-1 0 0,0 0 0 0 0,0 0 1 0 0,-1 0-1 0 0,1 1 1 0 0,0-1-1 0 0,0 0 0 0 0,-1 0 1 0 0,1 0-1 0 0,0 1 1 0 0,-1-1-1 0 0,1 0 0 0 0,1 2 1 0 0,1 0 62 0 0,-1 0 1 0 0,1 0-1 0 0,-1 0 1 0 0,1 1-1 0 0,-1-1 1 0 0,3 6-1 0 0,1 0 74 0 0,-1 1-1 0 0,0-1 1 0 0,-1 1 0 0 0,4 11-1 0 0,-3-5-64 0 0,-1 0 1 0 0,-1 0-1 0 0,0 1 1 0 0,-1 0-1 0 0,0-1 0 0 0,-1 1 1 0 0,-3 25-1 0 0,1-32-110 0 0,0 0 0 0 0,-1 0-1 0 0,-1 0 1 0 0,1 0 0 0 0,-1-1 0 0 0,-1 1 0 0 0,0-1 0 0 0,0 1 0 0 0,0-1-1 0 0,-1-1 1 0 0,0 1 0 0 0,-1-1 0 0 0,0 1 0 0 0,-9 7 0 0 0,8-8-2 0 0,-1-1 0 0 0,0 0 0 0 0,0 0 0 0 0,0-1 0 0 0,0 0 0 0 0,-1-1 0 0 0,0 0 0 0 0,-13 5 0 0 0,19-8-15 0 0,0 0-1 0 0,1-1 1 0 0,-1 1 0 0 0,0 0 0 0 0,0-1 0 0 0,1 0 0 0 0,-1 1 0 0 0,0-1 0 0 0,0 0 0 0 0,0-1 0 0 0,0 1 0 0 0,1 0-1 0 0,-1-1 1 0 0,0 0 0 0 0,0 1 0 0 0,1-1 0 0 0,-1 0 0 0 0,0-1 0 0 0,1 1 0 0 0,-1 0 0 0 0,1-1 0 0 0,-1 1 0 0 0,1-1 0 0 0,0 0-1 0 0,0 0 1 0 0,0 0 0 0 0,0 0 0 0 0,0 0 0 0 0,0 0 0 0 0,0 0 0 0 0,1-1 0 0 0,-1 1 0 0 0,-1-5 0 0 0,2 3-7 0 0,0 1-1 0 0,0 0 1 0 0,1-1 0 0 0,-1 1 0 0 0,1-1 0 0 0,0 1 0 0 0,0-1 0 0 0,0 1 0 0 0,1-1 0 0 0,-1 1 0 0 0,1-1-1 0 0,0 1 1 0 0,0-1 0 0 0,0 1 0 0 0,0 0 0 0 0,0 0 0 0 0,4-6 0 0 0,3-6-34 0 0,0 2 0 0 0,16-20 0 0 0,22-22 18 0 0,57-51 0 0 0,33-40 354 0 0,-111 117-277 0 0,22-29 420 0 0,-44 53-413 0 0,0 0 0 0 0,0 0 1 0 0,0 0-1 0 0,-1-1 0 0 0,1 1 1 0 0,-1-1-1 0 0,-1 1 0 0 0,1-1 1 0 0,1-10-1 0 0,-3 14-58 0 0,0 1 0 0 0,0-1 0 0 0,0 0-1 0 0,0 0 1 0 0,0 0 0 0 0,0 0 0 0 0,-1 0 0 0 0,1 0-1 0 0,-1 0 1 0 0,1 0 0 0 0,-1 1 0 0 0,0-1 0 0 0,0 0-1 0 0,0 0 1 0 0,0 1 0 0 0,0-1 0 0 0,0 1 0 0 0,0-1 0 0 0,-3-2-1 0 0,2 2-1 0 0,-1 0-1 0 0,1 1 1 0 0,-1-1-1 0 0,0 1 0 0 0,1 0 1 0 0,-1-1-1 0 0,0 1 1 0 0,0 0-1 0 0,0 1 1 0 0,0-1-1 0 0,-5 0 0 0 0,1 0 9 0 0,0 1-1 0 0,0 0 0 0 0,0 0 0 0 0,0 0 0 0 0,0 1 0 0 0,0 0 0 0 0,0 1 0 0 0,0 0 1 0 0,1 0-1 0 0,-10 4 0 0 0,10-2-23 0 0,0 0-1 0 0,0 0 1 0 0,0 0 0 0 0,1 1-1 0 0,0 0 1 0 0,0 0 0 0 0,0 1-1 0 0,1-1 1 0 0,-1 1 0 0 0,1 0 0 0 0,1 0-1 0 0,-1 0 1 0 0,1 1 0 0 0,-3 6-1 0 0,3-4-552 0 0,0-1 0 0 0,0 1 0 0 0,1 0 0 0 0,1-1-1 0 0,-1 1 1 0 0,1 0 0 0 0,1 0 0 0 0,-1 0-1 0 0,2 0 1 0 0,1 17 0 0 0,7-11-3712 0 0</inkml:trace>
</inkml:ink>
</file>

<file path=ppt/ink/ink5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48.95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 19 1524 0 0,'8'-4'762'0'0,"0"1"0"0"0,0 0 0 0 0,1 1 0 0 0,-1 0 0 0 0,1 0 0 0 0,0 1 0 0 0,17 0 0 0 0,-21 1-509 0 0,-1 0 0 0 0,1 1 0 0 0,0 0-1 0 0,0 0 1 0 0,-1 1 0 0 0,1-1 0 0 0,-1 1-1 0 0,1 0 1 0 0,-1 0 0 0 0,0 1 0 0 0,0-1-1 0 0,0 1 1 0 0,0 0 0 0 0,0 0 0 0 0,-1 0-1 0 0,4 4 1 0 0,10 13 387 0 0,0 1-1 0 0,-2 1 1 0 0,-1 0-1 0 0,-1 1 1 0 0,0 0-1 0 0,-2 1 1 0 0,-1 0-1 0 0,9 31 1 0 0,-15-40-639 0 0,0 1-1 0 0,-2-1 1 0 0,1 1 0 0 0,-2 0-1 0 0,0-1 1 0 0,-1 1 0 0 0,-1 0-1 0 0,0 0 1 0 0,-1 0 0 0 0,-1-1-1 0 0,0 1 1 0 0,-1-1 0 0 0,-1 0-1 0 0,0 0 1 0 0,-1 0 0 0 0,-13 24-1 0 0,7-20-680 0 0,0 0 0 0 0,-1 0-1 0 0,-1-1 1 0 0,-25 25 0 0 0,21-26-681 0 0,-1-1 0 0 0,0 0 0 0 0,-1-2 0 0 0,-22 12 1 0 0,-13 3-3715 0 0</inkml:trace>
</inkml:ink>
</file>

<file path=ppt/ink/ink5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49.32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84 1 1956 0 0,'-20'20'1071'0'0,"1"1"-1"0"0,1 2 0 0 0,1 0 1 0 0,0 0-1 0 0,2 2 1 0 0,1 0-1 0 0,1 1 0 0 0,-18 50 1 0 0,26-61-997 0 0,1 1 1 0 0,0-1-1 0 0,2 0 0 0 0,-1 1 1 0 0,2 0-1 0 0,0-1 1 0 0,1 1-1 0 0,1 0 0 0 0,0-1 1 0 0,1 1-1 0 0,0-1 1 0 0,2 1-1 0 0,0-1 1 0 0,0 0-1 0 0,2 0 0 0 0,0-1 1 0 0,14 26-1 0 0,-11-25-757 0 0,1-1-1 0 0,25 27 1 0 0,9-1-3609 0 0,-16-20 109 0 0</inkml:trace>
</inkml:ink>
</file>

<file path=ppt/ink/ink5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49.73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82 0 2640 0 0,'0'0'10673'0'0,"9"10"-9937"0"0,-16 0-132 0 0,1-1-148 0 0,-5 5-40 0 0,-4 1-256 0 0,0 7-468 0 0,-7 1-380 0 0,1 2-548 0 0,-9 4-876 0 0,-1 2-1452 0 0,-1 1-1809 0 0</inkml:trace>
</inkml:ink>
</file>

<file path=ppt/ink/ink5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2.63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0 128 392 0 0,'-5'-29'2437'0'0,"0"7"-948"0"0,1-1-1 0 0,-1-29 0 0 0,5 50-1168 0 0,11 196 1173 0 0,-7-89-1264 0 0,6 288 468 0 0,-9-225-2819 0 0,-1-163 1490 0 0,1 1 0 0 0,0-1 0 0 0,0 0 1 0 0,0 1-1 0 0,1-1 0 0 0,4 10 0 0 0</inkml:trace>
</inkml:ink>
</file>

<file path=ppt/ink/ink5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3.00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46 748 0 0,'5'-11'391'0'0,"1"-1"0"0"0,0 1 1 0 0,1 1-1 0 0,0-1 0 0 0,1 1 0 0 0,0 0 0 0 0,0 1 0 0 0,1-1 0 0 0,1 2 1 0 0,14-12-1 0 0,-20 17-294 0 0,1 0 1 0 0,0 1 0 0 0,-1-1 0 0 0,1 1-1 0 0,0 0 1 0 0,0 0 0 0 0,0 0-1 0 0,1 1 1 0 0,-1 0 0 0 0,0 0-1 0 0,10-1 1 0 0,-10 3-56 0 0,-1-1 0 0 0,0 1 1 0 0,0 0-1 0 0,0-1 0 0 0,0 2 0 0 0,0-1 0 0 0,-1 0 0 0 0,1 1 1 0 0,0 0-1 0 0,0 0 0 0 0,-1 0 0 0 0,1 0 0 0 0,-1 1 0 0 0,0-1 1 0 0,0 1-1 0 0,0 0 0 0 0,4 4 0 0 0,-2-1 7 0 0,0 1-1 0 0,0 1 1 0 0,-1-1 0 0 0,0 1-1 0 0,0 0 1 0 0,-1-1 0 0 0,1 2-1 0 0,-2-1 1 0 0,1 0 0 0 0,-1 0 0 0 0,-1 1-1 0 0,0-1 1 0 0,0 1 0 0 0,0 0-1 0 0,-1-1 1 0 0,0 1 0 0 0,-1 0-1 0 0,-3 14 1 0 0,-2 9 360 0 0,-2-1 0 0 0,-1 0 0 0 0,-21 46 0 0 0,1-14 239 0 0,18-39 127 0 0,0-1-1 0 0,-8 29 1 0 0,19-51-758 0 0,0-1 0 0 0,0 1 0 0 0,0-1 0 0 0,1 1 0 0 0,-1 0 0 0 0,0-1 0 0 0,0 1 0 0 0,1-1 0 0 0,-1 1 0 0 0,0-1 0 0 0,1 1 0 0 0,-1-1 0 0 0,0 1 0 0 0,1-1 0 0 0,-1 1 0 0 0,1-1 0 0 0,-1 1 0 0 0,1-1 0 0 0,-1 0 0 0 0,1 1 0 0 0,-1-1 0 0 0,1 0 0 0 0,-1 1 0 0 0,1-1 0 0 0,-1 0 0 0 0,1 0 0 0 0,0 0 0 0 0,-1 1 0 0 0,1-1 0 0 0,-1 0 0 0 0,1 0 0 0 0,0 0 0 0 0,-1 0 0 0 0,2 0 0 0 0,16 2 103 0 0,-18-2-119 0 0,31 0 110 0 0,-1-2 0 0 0,44-7 0 0 0,-11 0-367 0 0,4 3-559 0 0,44-5-1894 0 0,-39-1-2441 0 0,-54 8 2920 0 0</inkml:trace>
</inkml:ink>
</file>

<file path=ppt/ink/ink5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3.35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72 279 228 0 0,'3'-1'127'0'0,"-1"0"1"0"0,0 0-1 0 0,0 0 0 0 0,0 1 0 0 0,1-1 1 0 0,-1 1-1 0 0,0-1 0 0 0,1 1 0 0 0,-1 0 1 0 0,0 0-1 0 0,1 0 0 0 0,-1 0 0 0 0,0 1 1 0 0,1-1-1 0 0,-1 1 0 0 0,0-1 0 0 0,0 1 1 0 0,1 0-1 0 0,-1 0 0 0 0,0 0 0 0 0,0 0 1 0 0,0 0-1 0 0,0 0 0 0 0,0 0 0 0 0,0 1 1 0 0,0-1-1 0 0,-1 1 0 0 0,1 0 1 0 0,-1-1-1 0 0,1 1 0 0 0,-1 0 0 0 0,1 0 1 0 0,-1 0-1 0 0,0 0 0 0 0,0 0 0 0 0,0 0 1 0 0,0 0-1 0 0,0 0 0 0 0,0 1 0 0 0,-1-1 1 0 0,1 0-1 0 0,-1 0 0 0 0,0 1 0 0 0,1-1 1 0 0,-1 4-1 0 0,0 1-24 0 0,-1 0 0 0 0,1 0 0 0 0,-2 0-1 0 0,1-1 1 0 0,0 1 0 0 0,-1 0 0 0 0,-1-1 0 0 0,1 1 0 0 0,-1-1 0 0 0,0 0 0 0 0,0 0 0 0 0,-1 0-1 0 0,1 0 1 0 0,-6 5 0 0 0,-2 3 135 0 0,0-1-1 0 0,-2 0 0 0 0,1-1 0 0 0,-20 14 0 0 0,25-21-149 0 0,1 0 0 0 0,-1 0 0 0 0,0-1 0 0 0,0 0 0 0 0,0 0 0 0 0,-1 0 0 0 0,1-1 0 0 0,-1-1 0 0 0,0 1 0 0 0,0-1-1 0 0,0-1 1 0 0,-14 2 0 0 0,21-3-90 0 0,0 0 1 0 0,0 0-1 0 0,-1 0 0 0 0,1 0 0 0 0,0-1 1 0 0,0 1-1 0 0,0 0 0 0 0,0-1 0 0 0,1 1 0 0 0,-1 0 1 0 0,0-1-1 0 0,0 0 0 0 0,0 1 0 0 0,0-1 1 0 0,0 1-1 0 0,1-1 0 0 0,-1 0 0 0 0,0 0 0 0 0,0 1 1 0 0,0-3-1 0 0,-1 1-7 0 0,-1 0-4 0 0,1-1 0 0 0,0 0 0 0 0,1 1 1 0 0,-1-1-1 0 0,0 0 0 0 0,1 0 1 0 0,-1 0-1 0 0,1 0 0 0 0,0 0 0 0 0,0 0 1 0 0,0-1-1 0 0,1 1 0 0 0,-1 0 1 0 0,1 0-1 0 0,0-1 0 0 0,0 1 0 0 0,0-4 1 0 0,1-10-48 0 0,1 1-1 0 0,4-20 1 0 0,-3 20 33 0 0,2-15 6 0 0,18-116-169 0 0,-20 116 241 0 0,-2 1 0 0 0,-3-57 0 0 0,1 84-43 0 0,1-1 0 0 0,-1 1-1 0 0,1 0 1 0 0,-1 0 0 0 0,0 0 0 0 0,0 0 0 0 0,0 0-1 0 0,-1 0 1 0 0,1 0 0 0 0,-1 0 0 0 0,1 1 0 0 0,-1-1 0 0 0,0 0-1 0 0,0 1 1 0 0,0-1 0 0 0,-1 1 0 0 0,1 0 0 0 0,-5-4-1 0 0,3 4 1 0 0,0 0-1 0 0,0 0 0 0 0,0 0 0 0 0,-1 1 0 0 0,1-1 0 0 0,0 1 0 0 0,0 0 0 0 0,-1 1 0 0 0,1-1 0 0 0,-1 1 0 0 0,1-1 0 0 0,-8 2 0 0 0,6-1-2 0 0,-1 1 0 0 0,1 0 0 0 0,-1 0-1 0 0,1 1 1 0 0,-1-1 0 0 0,1 1 0 0 0,0 1 0 0 0,0-1 0 0 0,0 1 0 0 0,0 1 0 0 0,0-1 0 0 0,1 1 0 0 0,-1-1 0 0 0,1 2 0 0 0,0-1 0 0 0,0 0 0 0 0,1 1 0 0 0,-7 9 0 0 0,9-11 5 0 0,0-1 0 0 0,1 1 0 0 0,-1 0-1 0 0,1 0 1 0 0,0 0 0 0 0,0 0 0 0 0,0 1 0 0 0,0-1 0 0 0,1 0 0 0 0,-1 0 0 0 0,1 0 0 0 0,0 1 0 0 0,0-1-1 0 0,0 0 1 0 0,1 1 0 0 0,-1-1 0 0 0,2 5 0 0 0,-1-4-21 0 0,1 1 1 0 0,0-1-1 0 0,0 0 0 0 0,0 0 1 0 0,1 0-1 0 0,0-1 0 0 0,-1 1 0 0 0,1 0 1 0 0,0-1-1 0 0,1 0 0 0 0,4 4 1 0 0,0 0-458 0 0,1-1 0 0 0,0-1 1 0 0,0 1-1 0 0,1-1 0 0 0,-1-1 1 0 0,1 0-1 0 0,0 0 0 0 0,0-1 1 0 0,0-1-1 0 0,15 3 0 0 0,3-3-1780 0 0</inkml:trace>
</inkml:ink>
</file>

<file path=ppt/ink/ink5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3.70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7 10 1444 0 0,'36'-9'3621'0'0,"-35"9"-3518"0"0,0 0 0 0 0,0 0-1 0 0,0 0 1 0 0,0 0 0 0 0,0 0-1 0 0,0 0 1 0 0,0 0 0 0 0,0 1-1 0 0,0-1 1 0 0,0 0 0 0 0,0 1 0 0 0,0-1-1 0 0,0 1 1 0 0,0-1 0 0 0,0 1-1 0 0,0 0 1 0 0,0-1 0 0 0,0 1-1 0 0,0 0 1 0 0,-1-1 0 0 0,1 1 0 0 0,0 0-1 0 0,0 0 1 0 0,-1 0 0 0 0,1 0-1 0 0,-1 0 1 0 0,1 0 0 0 0,-1 0-1 0 0,1 0 1 0 0,-1 0 0 0 0,1 1 0 0 0,0 2 102 0 0,1 0 1 0 0,-1 0-1 0 0,0 0 1 0 0,-1 0 0 0 0,1 0-1 0 0,-1 5 1 0 0,-1 15 170 0 0,-1 0 1 0 0,-1 0-1 0 0,-1 0 1 0 0,-1-1-1 0 0,-9 27 1 0 0,-3-5-835 0 0,-34 69-1 0 0,44-101-984 0 0,0-1 0 0 0,0 0 0 0 0,-19 22 0 0 0,17-24-1514 0 0</inkml:trace>
  <inkml:trace contextRef="#ctx0" brushRef="#br0" timeOffset="1">1 154 1072 0 0,'1'2'2283'0'0,"20"42"1155"0"0,44 94 720 0 0,-4 1-9950 0 0,-54-121 3037 0 0</inkml:trace>
</inkml:ink>
</file>

<file path=ppt/ink/ink5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4.06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40 1744 0 0,'11'-10'1407'0'0,"-8"6"-765"0"0,1 1 1 0 0,0-1-1 0 0,-1 1 0 0 0,1 0 1 0 0,0 1-1 0 0,1-1 0 0 0,6-3 0 0 0,-10 6-557 0 0,0 0-1 0 0,0-1 0 0 0,0 1 0 0 0,0 0 0 0 0,0 0 0 0 0,0 0 0 0 0,0 0 0 0 0,-1 0 0 0 0,1 0 1 0 0,0 0-1 0 0,0 0 0 0 0,0 0 0 0 0,0 1 0 0 0,0-1 0 0 0,0 0 0 0 0,0 1 0 0 0,0-1 0 0 0,-1 0 1 0 0,1 1-1 0 0,0-1 0 0 0,0 1 0 0 0,0 0 0 0 0,-1-1 0 0 0,1 1 0 0 0,0-1 0 0 0,-1 1 0 0 0,1 0 1 0 0,-1 0-1 0 0,1-1 0 0 0,0 2 0 0 0,12 24 1335 0 0,-12-24-1258 0 0,4 12 304 0 0,-1 1-1 0 0,-1-1 1 0 0,0 1-1 0 0,2 27 0 0 0,-4 65 341 0 0,-1-65-546 0 0,-2 112-2103 0 0,-1-51-5126 0 0,1-79 2325 0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4.9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2 160 912 0 0,'2'-6'562'0'0,"-1"0"0"0"0,0 0 0 0 0,0 0 1 0 0,0 0-1 0 0,-1 0 0 0 0,0 0 0 0 0,0-1 0 0 0,0 1 0 0 0,-1 0 0 0 0,0 0 1 0 0,-3-10-1 0 0,2 10-299 0 0,0 0 1 0 0,0 0 0 0 0,-1 0 0 0 0,0 0 0 0 0,0 0 0 0 0,0 1-1 0 0,-1-1 1 0 0,0 1 0 0 0,0 0 0 0 0,-7-6 0 0 0,9 9-239 0 0,1 1 0 0 0,-1 1 1 0 0,0-1-1 0 0,0 0 1 0 0,0 0-1 0 0,1 1 1 0 0,-1-1-1 0 0,0 1 0 0 0,0-1 1 0 0,0 1-1 0 0,0 0 1 0 0,0 0-1 0 0,0 0 0 0 0,0 0 1 0 0,-3 0-1 0 0,-26 6 73 0 0,28-5-70 0 0,-1 0 0 0 0,1 0 0 0 0,0 0 1 0 0,-1 0-1 0 0,1 1 0 0 0,0 0 0 0 0,0 0 0 0 0,0 0 1 0 0,0 0-1 0 0,0 0 0 0 0,0 0 0 0 0,0 1 1 0 0,1-1-1 0 0,-1 1 0 0 0,1 0 0 0 0,0 0 1 0 0,0 0-1 0 0,0 0 0 0 0,0 0 0 0 0,1 0 0 0 0,-1 0 1 0 0,1 1-1 0 0,-1-1 0 0 0,1 1 0 0 0,1-1 1 0 0,-1 1-1 0 0,0-1 0 0 0,1 1 0 0 0,-1-1 0 0 0,1 5 1 0 0,1 0 27 0 0,-1 0 1 0 0,1 1-1 0 0,1-1 0 0 0,-1 0 1 0 0,1 0-1 0 0,1 0 1 0 0,-1 0-1 0 0,2 0 1 0 0,-1 0-1 0 0,1-1 0 0 0,8 13 1 0 0,40 49 127 0 0,-31-44-145 0 0,-2 1 0 0 0,0 1 0 0 0,23 45 0 0 0,-42-70-34 0 0,1-1 0 0 0,-1 0 0 0 0,1 0 0 0 0,-1 0 0 0 0,0 0 0 0 0,1 0 0 0 0,-1 0 0 0 0,0 0 0 0 0,0 1 1 0 0,1-1-1 0 0,-1 0 0 0 0,0 0 0 0 0,0 0 0 0 0,0 1 0 0 0,-1-1 0 0 0,1 0 0 0 0,0 0 0 0 0,0 0 0 0 0,-1 0 0 0 0,1 0 0 0 0,0 1 0 0 0,-1-1 0 0 0,0 0 1 0 0,1 0-1 0 0,-1 0 0 0 0,1 0 0 0 0,-1 0 0 0 0,0 0 0 0 0,0-1 0 0 0,1 1 0 0 0,-1 0 0 0 0,0 0 0 0 0,0 0 0 0 0,0-1 0 0 0,0 1 0 0 0,0 0 0 0 0,0-1 1 0 0,0 1-1 0 0,0-1 0 0 0,0 1 0 0 0,-1-1 0 0 0,0 1 0 0 0,-4-1-2 0 0,0 0 0 0 0,0 0 0 0 0,0 0 0 0 0,0 0 0 0 0,0-1 0 0 0,0 0 0 0 0,0 0 0 0 0,1-1 0 0 0,-1 0 0 0 0,0 0 0 0 0,1 0 0 0 0,-1 0 0 0 0,1-1 0 0 0,0 0 0 0 0,0 0 0 0 0,0-1 0 0 0,0 1 0 0 0,1-1 0 0 0,-1 0 0 0 0,1 0 0 0 0,0-1 0 0 0,0 1 0 0 0,0-1 0 0 0,-5-9 0 0 0,4 5-73 0 0,1-1 1 0 0,0 1-1 0 0,1-1 0 0 0,0 1 1 0 0,0-1-1 0 0,1 0 1 0 0,1 0-1 0 0,-1-1 1 0 0,1 1-1 0 0,1 0 1 0 0,0 0-1 0 0,1 0 1 0 0,0 0-1 0 0,3-15 1 0 0,0-17-253 0 0,-3 39 271 0 0,-3 4 89 0 0,0-1 2 0 0,1 1 0 0 0,-1 0-1 0 0,0-1 1 0 0,1 1 0 0 0,-1 0-1 0 0,1 0 1 0 0,-1 0-1 0 0,1 0 1 0 0,-1 0 0 0 0,1 1-1 0 0,0-1 1 0 0,-2 2 0 0 0,-20 23 355 0 0,15-16-206 0 0,-122 152 1427 0 0,23-28-4008 0 0,94-116 379 0 0,8-6-2697 0 0</inkml:trace>
</inkml:ink>
</file>

<file path=ppt/ink/ink5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4.44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1 0 596 0 0,'0'0'2536'0'0,"15"2"-1064"0"0,2 2-611 0 0,9 0-745 0 0,0 4-561 0 0,-11-4-255 0 0,0 0-700 0 0,-4 1 768 0 0</inkml:trace>
  <inkml:trace contextRef="#ctx0" brushRef="#br0" timeOffset="1">35 280 524 0 0,'-19'15'5237'0'0,"4"-5"-1469"0"0,45-12-3820 0 0,-13-2-124 0 0,3-2-232 0 0,1 3-192 0 0,3-5-356 0 0,0 0-308 0 0,-1-2-649 0 0,1 3 157 0 0</inkml:trace>
</inkml:ink>
</file>

<file path=ppt/ink/ink5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4.83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8 18 680 0 0,'-8'-17'8380'0'0,"10"29"-6718"0"0,7 29-1043 0 0,8 76 0 0 0,-17-101-1442 0 0,0 0 0 0 0,0 1 0 0 0,-2-1 0 0 0,0 0 0 0 0,-1 0 0 0 0,0 0 0 0 0,-12 30 0 0 0,3-16-2149 0 0</inkml:trace>
</inkml:ink>
</file>

<file path=ppt/ink/ink5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5.22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09 33 1488 0 0,'-4'-4'344'0'0,"0"1"-1"0"0,0 0 0 0 0,0 0 1 0 0,0 0-1 0 0,0 1 1 0 0,0 0-1 0 0,-1 0 1 0 0,1 0-1 0 0,-1 0 0 0 0,0 0 1 0 0,1 1-1 0 0,-1 0 1 0 0,0 0-1 0 0,0 0 1 0 0,-6 1-1 0 0,4 0-104 0 0,-1 1 0 0 0,1 0 1 0 0,-1 0-1 0 0,1 1 0 0 0,-1 0 0 0 0,1 1 0 0 0,0-1 1 0 0,0 1-1 0 0,-8 5 0 0 0,-8 4 148 0 0,1 1-1 0 0,0 2 1 0 0,1 0 0 0 0,-30 28 0 0 0,39-31-253 0 0,0 1 1 0 0,1 0-1 0 0,0 0 1 0 0,1 1-1 0 0,0 0 1 0 0,2 1-1 0 0,-15 30 0 0 0,20-36-88 0 0,0 1 0 0 0,1-1-1 0 0,0 1 1 0 0,0-1-1 0 0,1 1 1 0 0,0-1 0 0 0,1 1-1 0 0,0 0 1 0 0,0-1-1 0 0,1 1 1 0 0,1 0-1 0 0,2 9 1 0 0,-1-6-19 0 0,2 0 0 0 0,0 0 0 0 0,0 0 0 0 0,1-1 1 0 0,1 0-1 0 0,0 0 0 0 0,16 21 0 0 0,-11-19-436 0 0,0-1 1 0 0,0 0-1 0 0,1-1 1 0 0,1 0-1 0 0,0-1 1 0 0,0-1-1 0 0,1 0 0 0 0,1-1 1 0 0,-1-1-1 0 0,1 0 1 0 0,1-1-1 0 0,-1-1 1 0 0,25 6-1 0 0,-8-8-1913 0 0,-1-2-426 0 0</inkml:trace>
</inkml:ink>
</file>

<file path=ppt/ink/ink5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55.85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1 90 892 0 0,'-5'-12'2382'0'0,"0"-25"567"0"0,1 14 568 0 0,0 56-2289 0 0,3-17-1080 0 0,-41 414 1619 0 0,41-419-1726 0 0,-2 0 0 0 0,1 0 0 0 0,-1 0 0 0 0,-1 0 0 0 0,0 0 0 0 0,-10 17 1 0 0,14-27-38 0 0,-1-1 0 0 0,1 1 0 0 0,-1 0 0 0 0,1 0 0 0 0,-1-1 0 0 0,0 1 0 0 0,1-1 1 0 0,-1 1-1 0 0,1 0 0 0 0,-1-1 0 0 0,0 0 0 0 0,0 1 0 0 0,1-1 0 0 0,-1 1 1 0 0,0-1-1 0 0,0 0 0 0 0,0 1 0 0 0,1-1 0 0 0,-1 0 0 0 0,0 0 0 0 0,0 0 1 0 0,0 0-1 0 0,0 0 0 0 0,0 0 0 0 0,0 0 0 0 0,1 0 0 0 0,-1 0 0 0 0,0 0 0 0 0,0 0 1 0 0,0 0-1 0 0,0 0 0 0 0,1-1 0 0 0,-1 1 0 0 0,0 0 0 0 0,0-1 0 0 0,0 1 1 0 0,1-1-1 0 0,-2 0 0 0 0,0-1 5 0 0,0 1 0 0 0,0-1 0 0 0,0 0 0 0 0,0 0 0 0 0,0 0 0 0 0,0 0 0 0 0,1 0 0 0 0,-1 0 0 0 0,1 0 0 0 0,0-1 0 0 0,-2-3 1 0 0,-2-10-11 0 0,2 1-1 0 0,0-1 1 0 0,0 0 0 0 0,2 0 0 0 0,0 0 0 0 0,1 0 0 0 0,2-19 0 0 0,2-7-96 0 0,16-63-1 0 0,-10 62 279 0 0,2 1 0 0 0,2 0-1 0 0,32-67 1 0 0,-45 107-161 0 0,1-1 1 0 0,-1 1-1 0 0,1-1 1 0 0,-1 1 0 0 0,1-1-1 0 0,0 1 1 0 0,0 0-1 0 0,0 0 1 0 0,0 0-1 0 0,0 0 1 0 0,0 0-1 0 0,1 1 1 0 0,-1-1-1 0 0,1 1 1 0 0,-1-1-1 0 0,1 1 1 0 0,0 0-1 0 0,-1 0 1 0 0,1 0-1 0 0,0 0 1 0 0,0 1-1 0 0,0-1 1 0 0,-1 1-1 0 0,1-1 1 0 0,0 1-1 0 0,0 0 1 0 0,0 0-1 0 0,0 1 1 0 0,0-1-1 0 0,0 0 1 0 0,-1 1-1 0 0,1 0 1 0 0,0 0-1 0 0,0 0 1 0 0,-1 0-1 0 0,4 2 1 0 0,6 2 87 0 0,0 2-1 0 0,-1-1 1 0 0,0 2 0 0 0,0-1-1 0 0,-1 2 1 0 0,16 15 0 0 0,1 3 52 0 0,-2 2 1 0 0,-1 1 0 0 0,29 47-1 0 0,-39-54-961 0 0,-1 1-1 0 0,-2 0 0 0 0,0 0 1 0 0,-1 2-1 0 0,10 45 1 0 0,-17-46-3998 0 0</inkml:trace>
</inkml:ink>
</file>

<file path=ppt/ink/ink5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56.24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8 53 932 0 0,'-37'-23'7803'0'0,"38"19"-6949"0"0,-1 4-835 0 0,0-1 0 0 0,-1 1 0 0 0,1-1 1 0 0,0 1-1 0 0,0 0 0 0 0,0-1 0 0 0,0 1 0 0 0,0 0 0 0 0,0-1 0 0 0,0 1 1 0 0,0-1-1 0 0,1 1 0 0 0,-1 0 0 0 0,0-1 0 0 0,0 1 0 0 0,0 0 0 0 0,0-1 1 0 0,0 1-1 0 0,1 0 0 0 0,-1-1 0 0 0,0 1 0 0 0,0 0 0 0 0,0-1 0 0 0,1 1 1 0 0,-1 0-1 0 0,0 0 0 0 0,0-1 0 0 0,1 1 0 0 0,-1 0 0 0 0,0 0 0 0 0,1-1 1 0 0,15-3-105 0 0,0 1 0 0 0,0 1 0 0 0,18-1 0 0 0,53 1-4846 0 0,-82 2 4536 0 0,17 0-1737 0 0</inkml:trace>
</inkml:ink>
</file>

<file path=ppt/ink/ink5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56.69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436 1536 0 0,'10'25'15510'0'0,"-8"-21"-16180"0"0,-1-2 859 0 0,4 4-2735 0 0</inkml:trace>
  <inkml:trace contextRef="#ctx0" brushRef="#br0" timeOffset="1">396 47 1080 0 0,'-1'-2'291'0'0,"1"0"-1"0"0,-1-1 1 0 0,0 1 0 0 0,0 0-1 0 0,0-1 1 0 0,0 1-1 0 0,0 0 1 0 0,-1 0 0 0 0,1 0-1 0 0,-1 0 1 0 0,1 0 0 0 0,-1 0-1 0 0,0 0 1 0 0,1 1-1 0 0,-1-1 1 0 0,0 0 0 0 0,-3-1-1 0 0,0 1-110 0 0,1 1-1 0 0,0-1 0 0 0,-1 1 0 0 0,1 0 0 0 0,-1 1 1 0 0,1-1-1 0 0,-1 1 0 0 0,1-1 0 0 0,-1 1 1 0 0,-4 1-1 0 0,5-1-142 0 0,0 0 0 0 0,0 1 0 0 0,-1-1 0 0 0,1 1 0 0 0,0 0 0 0 0,0 0 0 0 0,0 0 0 0 0,0 0 0 0 0,0 1 0 0 0,0 0 0 0 0,1-1 0 0 0,-1 1 0 0 0,0 1 0 0 0,1-1 0 0 0,0 1 0 0 0,-1-1 0 0 0,1 1 0 0 0,0 0 0 0 0,0 0 0 0 0,1 0 0 0 0,-1 1 0 0 0,1-1 0 0 0,-1 0 0 0 0,1 1 0 0 0,0 0 0 0 0,0 0 0 0 0,1-1 0 0 0,-1 1 0 0 0,1 0 0 0 0,0 0 0 0 0,0 0 0 0 0,0 1 0 0 0,0-1 0 0 0,1 0 0 0 0,0 0 0 0 0,0 0 0 0 0,0 1 0 0 0,1 6 0 0 0,6 18 15 0 0,1 0 1 0 0,1-1-1 0 0,2 0 0 0 0,1-1 0 0 0,26 45 1 0 0,-20-40-20 0 0,-2 2 0 0 0,0-1 1 0 0,10 39-1 0 0,-25-69 14 0 0,0 1 0 0 0,-1 0 1 0 0,1 0-1 0 0,-1-1 0 0 0,0 1 0 0 0,0 0 0 0 0,0 0 1 0 0,0 0-1 0 0,-1-1 0 0 0,0 6 0 0 0,0-7-25 0 0,1 0 0 0 0,-1-1 0 0 0,0 1 0 0 0,0 0 0 0 0,1 0 0 0 0,-1-1 0 0 0,0 1 0 0 0,-1-1 0 0 0,1 1 0 0 0,0-1 0 0 0,0 1 0 0 0,-1-1 0 0 0,1 0 0 0 0,-1 1 0 0 0,1-1 0 0 0,-1 0 0 0 0,1 0 0 0 0,-1 0 0 0 0,0 0 0 0 0,1 0 0 0 0,-5 0 0 0 0,-2 2 25 0 0,0-2-1 0 0,-1 1 1 0 0,0-1 0 0 0,1-1-1 0 0,-1 1 1 0 0,1-1-1 0 0,-1-1 1 0 0,0 0-1 0 0,-13-3 1 0 0,7 0-844 0 0,0 0-1 0 0,0-1 1 0 0,1-1 0 0 0,-19-10 0 0 0,24 9-1560 0 0,2-1-538 0 0</inkml:trace>
</inkml:ink>
</file>

<file path=ppt/ink/ink5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57.75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82 2120 0 0,'3'-5'1178'0'0,"1"1"0"0"0,0 1 0 0 0,0-1-1 0 0,8-5 1 0 0,6-5 2255 0 0,-14 14-2869 0 0,-3 1-495 0 0,1-1 0 0 0,-1 1 1 0 0,1-1-1 0 0,-1 1 0 0 0,1-1 1 0 0,-1 1-1 0 0,1 0 0 0 0,-1 0 1 0 0,1-1-1 0 0,-1 1 0 0 0,0 0 1 0 0,0 0-1 0 0,1 1 0 0 0,-1-1 1 0 0,0 0-1 0 0,0 0 0 0 0,0 0 0 0 0,0 1 1 0 0,0-1-1 0 0,-1 1 0 0 0,1-1 1 0 0,0 0-1 0 0,-1 1 0 0 0,1 0 1 0 0,-1-1-1 0 0,1 1 0 0 0,0 2 1 0 0,11 46 889 0 0,14 100 0 0 0,-17-32 589 0 0,-9-116-1227 0 0,11-32-114 0 0,25-39-508 0 0,-33 63 269 0 0,1 1 0 0 0,0-1 0 0 0,0 1 0 0 0,0-1 0 0 0,1 1 0 0 0,-1 1 0 0 0,1-1 0 0 0,0 1 0 0 0,7-5 0 0 0,-8 7 18 0 0,-1 1 0 0 0,0-1 0 0 0,1 1 0 0 0,-1 0 0 0 0,1 0 1 0 0,-1 0-1 0 0,1 1 0 0 0,-1-1 0 0 0,1 1 0 0 0,0 0 0 0 0,-1 0 1 0 0,1 0-1 0 0,0 0 0 0 0,-1 1 0 0 0,1 0 0 0 0,-1-1 0 0 0,1 1 1 0 0,-1 0-1 0 0,1 1 0 0 0,-1-1 0 0 0,0 1 0 0 0,0-1 0 0 0,6 5 1 0 0,4 4-1 0 0,0 0 1 0 0,-1 1 0 0 0,0 0 0 0 0,11 15 0 0 0,3 2 20 0 0,-17-19 1 0 0,0-1-1 0 0,1 1 1 0 0,0-2 0 0 0,15 10 0 0 0,-20-14-45 0 0,-1-1 1 0 0,1 0-1 0 0,0 0 0 0 0,0-1 1 0 0,0 0-1 0 0,0 1 1 0 0,0-2-1 0 0,0 1 0 0 0,0 0 1 0 0,1-1-1 0 0,-1 0 1 0 0,0 0-1 0 0,7-2 0 0 0,-1 0-122 0 0,0-1 0 0 0,1-1-1 0 0,-2 0 1 0 0,1 0 0 0 0,0-1-1 0 0,-1-1 1 0 0,0 0-1 0 0,0 0 1 0 0,-1 0 0 0 0,0-2-1 0 0,0 1 1 0 0,0-1 0 0 0,-1 0-1 0 0,0-1 1 0 0,-1 0-1 0 0,0 0 1 0 0,0 0 0 0 0,-1-1-1 0 0,6-11 1 0 0,-11 19 120 0 0,0-1 0 0 0,0 1 0 0 0,0-1 0 0 0,-1 1 0 0 0,1-1 0 0 0,0 0 0 0 0,-1 1 0 0 0,0-1 0 0 0,0 0 0 0 0,1 1 0 0 0,-2-1 0 0 0,1 0 0 0 0,0 0 0 0 0,0 1 0 0 0,-1-1 0 0 0,0 1 0 0 0,1-1 0 0 0,-1 0 0 0 0,0 1 0 0 0,0-1 0 0 0,0 1 0 0 0,-1 0 0 0 0,1-1 0 0 0,-1 1 0 0 0,-1-3 0 0 0,0 2 13 0 0,-1 1 0 0 0,1-1 1 0 0,-1 0-1 0 0,1 1 0 0 0,-1 0 1 0 0,0-1-1 0 0,0 2 0 0 0,0-1 1 0 0,0 0-1 0 0,0 1 0 0 0,0 0 0 0 0,0-1 1 0 0,0 2-1 0 0,-6-2 0 0 0,4 1-9 0 0,-1 1-1 0 0,0-1 0 0 0,0 1 0 0 0,0 0 0 0 0,0 1 0 0 0,0 0 0 0 0,0 0 1 0 0,0 0-1 0 0,1 1 0 0 0,-1 0 0 0 0,0 0 0 0 0,-12 6 0 0 0,19-8 30 0 0,0 1 0 0 0,-1-1-1 0 0,1 0 1 0 0,-1 0-1 0 0,1 1 1 0 0,0-1 0 0 0,-1 0-1 0 0,1 1 1 0 0,0-1 0 0 0,-1 0-1 0 0,1 1 1 0 0,0-1-1 0 0,0 0 1 0 0,-1 1 0 0 0,1-1-1 0 0,0 1 1 0 0,0-1 0 0 0,0 0-1 0 0,-1 1 1 0 0,1-1-1 0 0,0 1 1 0 0,0-1 0 0 0,0 1-1 0 0,0-1 1 0 0,0 0 0 0 0,0 1-1 0 0,0-1 1 0 0,0 1-1 0 0,0-1 1 0 0,0 1 0 0 0,0-1-1 0 0,0 1 1 0 0,0-1 0 0 0,1 1-1 0 0,-1-1 1 0 0,0 0-1 0 0,0 1 1 0 0,0-1 0 0 0,1 1-1 0 0,-1-1 1 0 0,0 0 0 0 0,0 1-1 0 0,1-1 1 0 0,-1 0-1 0 0,0 1 1 0 0,1-1 0 0 0,-1 0-1 0 0,0 1 1 0 0,1-1 0 0 0,-1 0-1 0 0,0 0 1 0 0,1 0-1 0 0,-1 1 1 0 0,1-1 0 0 0,13-4-130 0 0,0-1 0 0 0,-1 0 0 0 0,0-1 1 0 0,16-11-1 0 0,-27 16 75 0 0,3 2 35 0 0,8 3 287 0 0,-12-3-235 0 0,-1 0 0 0 0,1 0 0 0 0,-1 0 0 0 0,0 0 0 0 0,0 0 0 0 0,1 0 0 0 0,-1 0 0 0 0,0 0 0 0 0,0 1 0 0 0,0-1 0 0 0,0 0 0 0 0,0 0 0 0 0,-1 0 0 0 0,1 0 0 0 0,-1 2 0 0 0,0 4 118 0 0,1 0-1 0 0,-1 0 1 0 0,1 0-1 0 0,2 14 1 0 0,-2-19-100 0 0,0-1 1 0 0,0 1-1 0 0,0-1 1 0 0,0 1-1 0 0,1 0 1 0 0,-1-1-1 0 0,1 0 1 0 0,-1 1-1 0 0,1-1 1 0 0,0 1 0 0 0,-1-1-1 0 0,1 0 1 0 0,0 1-1 0 0,0-1 1 0 0,0 0-1 0 0,0 0 1 0 0,0 0-1 0 0,0 1 1 0 0,0-1 0 0 0,0 0-1 0 0,1-1 1 0 0,-1 1-1 0 0,0 0 1 0 0,1 0-1 0 0,-1 0 1 0 0,1-1-1 0 0,-1 1 1 0 0,0-1-1 0 0,1 1 1 0 0,-1-1 0 0 0,1 0-1 0 0,-1 1 1 0 0,3-1-1 0 0,2 0 4 0 0,-1-1-1 0 0,1 0 1 0 0,0 0-1 0 0,-1-1 1 0 0,1 1-1 0 0,-1-1 0 0 0,1 0 1 0 0,-1 0-1 0 0,0-1 1 0 0,9-6-1 0 0,6-5-54 0 0,24-22 0 0 0,-3 2-219 0 0,-40 34 219 0 0,0-1 1 0 0,-1 0 0 0 0,1 1-1 0 0,0-1 1 0 0,0 1 0 0 0,0-1 0 0 0,0 1-1 0 0,-1-1 1 0 0,1 1 0 0 0,0-1-1 0 0,0 1 1 0 0,0 0 0 0 0,0-1 0 0 0,0 1-1 0 0,0 0 1 0 0,0 0 0 0 0,0 0 0 0 0,0 0-1 0 0,0 0 1 0 0,0 0 0 0 0,0 0-1 0 0,0 0 1 0 0,0 0 0 0 0,0 1 0 0 0,0-1-1 0 0,0 0 1 0 0,0 1 0 0 0,0-1-1 0 0,0 0 1 0 0,0 1 0 0 0,0-1 0 0 0,0 1-1 0 0,-1 0 1 0 0,1-1 0 0 0,0 1-1 0 0,0-1 1 0 0,-1 1 0 0 0,1 0 0 0 0,0 0-1 0 0,-1 0 1 0 0,1-1 0 0 0,-1 1 0 0 0,1 0-1 0 0,-1 0 1 0 0,1 0 0 0 0,-1 0-1 0 0,1 0 1 0 0,-1 0 0 0 0,0 0 0 0 0,0 1-1 0 0,3 6 17 0 0,-1 1 1 0 0,0-1-1 0 0,-1 1 0 0 0,1 11 0 0 0,-2-20-7 0 0,6 73 260 0 0,-1-39-188 0 0,-3 0-1 0 0,0 0 0 0 0,-3 0 1 0 0,-7 60-1 0 0,5-75-105 0 0,3-15 113 0 0,0-1 0 0 0,0 1 1 0 0,-1 0-1 0 0,1-1 0 0 0,-1 1 0 0 0,0-1 0 0 0,0 0 0 0 0,0 1 1 0 0,-1-1-1 0 0,1 0 0 0 0,-1 1 0 0 0,0-1 0 0 0,0 0 0 0 0,0 0 1 0 0,-3 3-1 0 0,3-4 103 0 0,-14-8 80 0 0,14 4-248 0 0,-1 0-1 0 0,1 0 0 0 0,0 0 1 0 0,-1 0-1 0 0,1 0 0 0 0,0-1 1 0 0,1 1-1 0 0,-1 0 0 0 0,0-1 1 0 0,1 0-1 0 0,-1 1 0 0 0,1-1 1 0 0,0 0-1 0 0,-1 0 0 0 0,2 1 1 0 0,-3-7-1 0 0,1-2 10 0 0,0-1 0 0 0,-1-22 0 0 0,4 9-28 0 0,0 0 1 0 0,1-1-1 0 0,1 1 1 0 0,2 0-1 0 0,1 1 1 0 0,0-1-1 0 0,2 1 1 0 0,1 0-1 0 0,1 1 1 0 0,0 0-1 0 0,2 0 1 0 0,1 1-1 0 0,1 1 1 0 0,0 0-1 0 0,2 1 0 0 0,0 1 1 0 0,23-21-1 0 0,-31 33-8 0 0,1 0 0 0 0,0 0 0 0 0,0 1 0 0 0,0 0 0 0 0,0 1-1 0 0,1 0 1 0 0,0 1 0 0 0,0-1 0 0 0,0 2 0 0 0,1 0-1 0 0,-1 0 1 0 0,1 1 0 0 0,19-2 0 0 0,-28 4 12 0 0,0 0 1 0 0,0 0 0 0 0,0 0-1 0 0,0 1 1 0 0,-1-1-1 0 0,1 0 1 0 0,0 1 0 0 0,0-1-1 0 0,0 1 1 0 0,-1 0-1 0 0,1 0 1 0 0,0-1 0 0 0,-1 1-1 0 0,1 0 1 0 0,-1 0-1 0 0,1 1 1 0 0,-1-1 0 0 0,1 0-1 0 0,1 3 1 0 0,-3-4 1 0 0,1 1 1 0 0,-1 0-1 0 0,1 0 1 0 0,-1 0-1 0 0,0 0 0 0 0,0 0 1 0 0,1 0-1 0 0,-1-1 1 0 0,0 1-1 0 0,0 0 1 0 0,0 0-1 0 0,0 0 1 0 0,0 0-1 0 0,0 0 0 0 0,0 0 1 0 0,0 0-1 0 0,-1 0 1 0 0,1 0-1 0 0,0 0 1 0 0,0 0-1 0 0,-1-1 1 0 0,1 1-1 0 0,0 0 0 0 0,-1 0 1 0 0,1 0-1 0 0,-1-1 1 0 0,0 1-1 0 0,1 0 1 0 0,-1 0-1 0 0,1-1 1 0 0,-2 2-1 0 0,-20 18 84 0 0,-8-2-384 0 0,0-2 0 0 0,-2-2 0 0 0,0 0 0 0 0,0-2 0 0 0,-38 8 0 0 0,55-15-370 0 0,9-4-589 0 0,-4 2 1547 0 0</inkml:trace>
</inkml:ink>
</file>

<file path=ppt/ink/ink5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58.14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48 1552 0 0,'5'0'1399'0'0,"42"2"2151"0"0,-17-1-1191 0 0,48-4 0 0 0,-24-2-1282 0 0,59-14 0 0 0,-96 15-1050 0 0,-1 0 0 0 0,1-1-1 0 0,-1-1 1 0 0,0-1 0 0 0,-1-1 0 0 0,0 0-1 0 0,25-17 1 0 0,-37 23-19 0 0,0 0-1 0 0,0-1 1 0 0,-1 1 0 0 0,0-1-1 0 0,1 1 1 0 0,-1-1-1 0 0,0 0 1 0 0,0 0 0 0 0,2-4-1 0 0,-4 7-5 0 0,0-1 1 0 0,0 1-1 0 0,0-1 0 0 0,0 0 0 0 0,-1 1 0 0 0,1-1 1 0 0,0 1-1 0 0,0-1 0 0 0,0 1 0 0 0,0-1 0 0 0,-1 0 1 0 0,1 1-1 0 0,0-1 0 0 0,0 1 0 0 0,-1-1 0 0 0,1 1 1 0 0,0-1-1 0 0,-1 1 0 0 0,1-1 0 0 0,-1 1 0 0 0,1 0 1 0 0,0-1-1 0 0,-1 1 0 0 0,1 0 0 0 0,-1-1 1 0 0,0 1-1 0 0,-13-9 30 0 0,7 8-4 0 0,0 0 0 0 0,0 0 0 0 0,0 0 0 0 0,0 1 0 0 0,0 0 0 0 0,0 0-1 0 0,-1 0 1 0 0,1 1 0 0 0,0 1 0 0 0,-8 1 0 0 0,1 1 147 0 0,-1 1 0 0 0,1 0 0 0 0,-25 14 0 0 0,32-15-71 0 0,-1 1 0 0 0,1 0 0 0 0,0 0 0 0 0,0 1 0 0 0,0 0 0 0 0,1 0 0 0 0,0 1 0 0 0,0-1 0 0 0,-6 10 0 0 0,9-12-57 0 0,1 1 0 0 0,0-1 0 0 0,0 1 0 0 0,0-1 0 0 0,0 1 0 0 0,0 0 0 0 0,1 0 0 0 0,0 0 0 0 0,0 0 0 0 0,1 0 0 0 0,-1 0 0 0 0,1 0 0 0 0,0 0 0 0 0,0 0 0 0 0,1 0 0 0 0,-1 0 0 0 0,3 7 0 0 0,1 0-87 0 0,0-1 1 0 0,1 0-1 0 0,0 0 1 0 0,1 0 0 0 0,0-1-1 0 0,0 0 1 0 0,1 0 0 0 0,1 0-1 0 0,0-1 1 0 0,10 9 0 0 0,-6-6-897 0 0,1-2 0 0 0,21 15 0 0 0,-21-17-1243 0 0,-1-1-1 0 0,27 10 1 0 0,-23-11-2286 0 0</inkml:trace>
</inkml:ink>
</file>

<file path=ppt/ink/ink5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00.01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3 18 536 0 0,'-3'0'2297'0'0,"-35"-4"4494"0"0,35 4-5589 0 0,3 0-1115 0 0,0 0-1 0 0,0 0 0 0 0,-1 0 0 0 0,1 0 0 0 0,0 0 1 0 0,0 0-1 0 0,-1 1 0 0 0,1-1 0 0 0,0 0 0 0 0,-1 0 1 0 0,1 0-1 0 0,0 0 0 0 0,0 0 0 0 0,-1 0 0 0 0,1-1 1 0 0,0 1-1 0 0,-1 0 0 0 0,1 0 0 0 0,0 0 0 0 0,0 0 1 0 0,-1 0-1 0 0,1 0 0 0 0,0 0 0 0 0,0 0 0 0 0,-1-1 1 0 0,1 1-1 0 0,0 0 0 0 0,0 0 0 0 0,0 0 0 0 0,-1-1 1 0 0,1 1-1 0 0,0 0 0 0 0,0 0 0 0 0,0 0 0 0 0,0-1 1 0 0,-1 1-1 0 0,1 0 0 0 0,0-1 0 0 0,13-3 739 0 0,29-2-586 0 0,203 8-653 0 0,-80 10-5747 0 0,-141-8 3375 0 0,-7 2-701 0 0</inkml:trace>
</inkml:ink>
</file>

<file path=ppt/ink/ink5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00.41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1 325 184 0 0,'-7'5'1050'0'0,"2"-1"181"0"0,0-1 1 0 0,0 0-1 0 0,0 0 0 0 0,-9 4 1 0 0,18-4-83 0 0,-4-2-1124 0 0,0-1-1 0 0,0 0 1 0 0,0 1 0 0 0,0-1 0 0 0,0 0-1 0 0,1 1 1 0 0,-1-1 0 0 0,0 0-1 0 0,0 1 1 0 0,0-1 0 0 0,0 0 0 0 0,1 0-1 0 0,-1 1 1 0 0,0-1 0 0 0,0 0 0 0 0,1 0-1 0 0,-1 0 1 0 0,0 1 0 0 0,0-1 0 0 0,1 0-1 0 0,-1 0 1 0 0,0 0 0 0 0,1 0 0 0 0,-1 1-1 0 0,0-1 1 0 0,1 0 0 0 0,-1 0-1 0 0,0 0 1 0 0,1 0 0 0 0,-1 0 0 0 0,0 0-1 0 0,1 0 1 0 0,-1 0 0 0 0,52 1 21 0 0,-1-2-1 0 0,81-12 1 0 0,-75 6-1021 0 0,40-8-2520 0 0,-47 5 851 0 0</inkml:trace>
  <inkml:trace contextRef="#ctx0" brushRef="#br0" timeOffset="1">1046 2 416 0 0,'-2'0'3072'0'0,"-1"-1"-2801"0"0,0 1 0 0 0,1 0 0 0 0,-1 0-1 0 0,1 0 1 0 0,-1 0 0 0 0,0 0 0 0 0,1 1 0 0 0,-1-1-1 0 0,1 1 1 0 0,-1-1 0 0 0,1 1 0 0 0,-1 0 0 0 0,-3 2-1 0 0,0 1 73 0 0,0 0 0 0 0,0-1 0 0 0,0 2-1 0 0,1-1 1 0 0,-6 6 0 0 0,1 1 61 0 0,0 0 0 0 0,1 0 0 0 0,0 1 0 0 0,-10 20 0 0 0,12-18-262 0 0,2-1 0 0 0,0 1-1 0 0,0 1 1 0 0,1-1-1 0 0,1 0 1 0 0,1 1-1 0 0,0 0 1 0 0,0-1 0 0 0,2 1-1 0 0,0 0 1 0 0,0 0-1 0 0,2 0 1 0 0,0-1-1 0 0,6 25 1 0 0,-5-30-248 0 0,0 0 0 0 0,0 0 1 0 0,1 0-1 0 0,0-1 0 0 0,1 1 0 0 0,0-1 0 0 0,0 0 0 0 0,0 0 1 0 0,1-1-1 0 0,11 11 0 0 0,-11-13-221 0 0,0-1-1 0 0,0 1 1 0 0,0-1-1 0 0,1 0 1 0 0,0 0-1 0 0,-1-1 1 0 0,2 0 0 0 0,-1 0-1 0 0,0-1 1 0 0,0 0-1 0 0,1 0 1 0 0,-1 0 0 0 0,1-1-1 0 0,10 0 1 0 0,5-1-1945 0 0,-1-4-457 0 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6.6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9 6 728 0 0,'-4'-1'1448'0'0,"-5"-1"-980"0"0,-1 1 0 0 0,1 0 0 0 0,-1 1 0 0 0,0 0 0 0 0,1 0-1 0 0,-1 1 1 0 0,1 0 0 0 0,-1 1 0 0 0,1 0 0 0 0,0 0 0 0 0,0 1 0 0 0,-10 4 0 0 0,-5 3 200 0 0,0 1 0 0 0,0 2 0 0 0,-27 19 0 0 0,37-22-379 0 0,0 1 0 0 0,0 0-1 0 0,2 1 1 0 0,-1 0 0 0 0,-14 20 0 0 0,22-25-149 0 0,-1 0 0 0 0,2 1 0 0 0,-1-1-1 0 0,1 1 1 0 0,0 0 0 0 0,1 0 0 0 0,0 0 0 0 0,0 1 0 0 0,0-1-1 0 0,1 1 1 0 0,1-1 0 0 0,-2 15 0 0 0,3-17-73 0 0,1 0 1 0 0,-1-1-1 0 0,1 1 0 0 0,0-1 1 0 0,1 1-1 0 0,-1-1 0 0 0,1 1 1 0 0,0-1-1 0 0,1 0 0 0 0,-1 0 1 0 0,1 0-1 0 0,0 0 0 0 0,0 0 1 0 0,0-1-1 0 0,1 1 0 0 0,0-1 1 0 0,0 0-1 0 0,0 0 0 0 0,0 0 1 0 0,1-1-1 0 0,-1 1 0 0 0,1-1 1 0 0,0 0-1 0 0,0 0 0 0 0,0-1 1 0 0,0 0-1 0 0,6 2 0 0 0,-7-3-75 0 0,1 0 0 0 0,-1-1 0 0 0,1 0 0 0 0,-1 0 0 0 0,1 0-1 0 0,-1 0 1 0 0,0-1 0 0 0,1 1 0 0 0,-1-1 0 0 0,0 0 0 0 0,1-1-1 0 0,-1 1 1 0 0,0-1 0 0 0,0 0 0 0 0,0 0 0 0 0,0 0 0 0 0,0 0-1 0 0,-1-1 1 0 0,1 1 0 0 0,-1-1 0 0 0,1 0 0 0 0,5-6 0 0 0,3-6-96 0 0,0 0 1 0 0,0-1 0 0 0,16-29 0 0 0,-26 40 127 0 0,17-30 310 0 0,-12 21-79 0 0,0 1 0 0 0,1 0 0 0 0,15-18-1 0 0,-22 29-229 0 0,0 3-17 0 0,0 0 0 0 0,0-1 1 0 0,0 1-1 0 0,0 0 0 0 0,0 0 1 0 0,0 0-1 0 0,0 0 0 0 0,0 0 0 0 0,-1 0 1 0 0,1 0-1 0 0,0 1 0 0 0,-1-1 1 0 0,1 0-1 0 0,-1 0 0 0 0,1 0 0 0 0,-1 1 1 0 0,0-1-1 0 0,0 0 0 0 0,1 1 1 0 0,-1 1-1 0 0,8 40 182 0 0,13 58-2007 0 0,0-39-3423 0 0,-13-47 849 0 0</inkml:trace>
</inkml:ink>
</file>

<file path=ppt/ink/ink5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00.75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 15 2128 0 0,'2'-1'1602'0'0,"7"-9"695"0"0,-4 8-1012 0 0,0 0-296 0 0,-2 12 318 0 0,-6 31-133 0 0,-10 59-1 0 0,-1 21-2222 0 0,9-50-4503 0 0,5-59 2602 0 0</inkml:trace>
</inkml:ink>
</file>

<file path=ppt/ink/ink5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01.10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 50 2380 0 0,'5'-5'714'0'0,"0"0"0"0"0,0 0 0 0 0,0 1 0 0 0,0 0 0 0 0,1 0 0 0 0,-1 1 0 0 0,1-1 0 0 0,0 1 0 0 0,0 0 0 0 0,13-3 0 0 0,-16 5-649 0 0,0 0 0 0 0,1 0 0 0 0,-1 1 0 0 0,0-1 0 0 0,0 1 0 0 0,0 0 0 0 0,1 0 0 0 0,-1 0-1 0 0,0 1 1 0 0,0-1 0 0 0,1 1 0 0 0,-1 0 0 0 0,0-1 0 0 0,0 1 0 0 0,0 1 0 0 0,0-1 0 0 0,0 0 0 0 0,0 1-1 0 0,-1 0 1 0 0,1-1 0 0 0,0 1 0 0 0,-1 0 0 0 0,1 0 0 0 0,-1 1 0 0 0,3 2 0 0 0,-3-2-43 0 0,0 1 0 0 0,0-1 1 0 0,0 1-1 0 0,0 0 0 0 0,0 0 0 0 0,-1 0 0 0 0,1 0 1 0 0,-1 0-1 0 0,0 0 0 0 0,-1 0 0 0 0,1 0 1 0 0,-1 1-1 0 0,0-1 0 0 0,0 0 0 0 0,0 0 1 0 0,0 1-1 0 0,-1-1 0 0 0,0 0 0 0 0,1 0 1 0 0,-2 0-1 0 0,0 5 0 0 0,-4 7-1 0 0,-1 1 1 0 0,0-1-1 0 0,-14 23 0 0 0,3-12 127 0 0,-30 37-1 0 0,29-42 866 0 0,-28 47 1 0 0,47-69-984 0 0,0 1 1 0 0,0-1-1 0 0,-1 0 0 0 0,1 1 1 0 0,0-1-1 0 0,0 1 0 0 0,0-1 0 0 0,-1 0 1 0 0,1 1-1 0 0,0-1 0 0 0,0 1 1 0 0,0-1-1 0 0,0 0 0 0 0,0 1 0 0 0,0-1 1 0 0,0 1-1 0 0,0-1 0 0 0,0 1 1 0 0,0-1-1 0 0,0 0 0 0 0,0 1 1 0 0,0-1-1 0 0,1 1 0 0 0,-1-1 0 0 0,0 1 1 0 0,0-1-1 0 0,0 0 0 0 0,1 1 1 0 0,-1-1-1 0 0,0 0 0 0 0,0 1 1 0 0,1-1-1 0 0,-1 0 0 0 0,1 1 0 0 0,17 5 283 0 0,23-7-703 0 0,-38 1 331 0 0,24-3-1291 0 0,0-1 1 0 0,33-9-1 0 0,12-8-4444 0 0,-46 13 2299 0 0</inkml:trace>
</inkml:ink>
</file>

<file path=ppt/ink/ink5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01.45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19 222 520 0 0,'31'-18'5709'0'0,"15"-7"-988"0"0,-45 25-4664 0 0,0-1-1 0 0,1 1 1 0 0,-1 0 0 0 0,1 0 0 0 0,-1 0 0 0 0,0 0 0 0 0,1 0 0 0 0,-1 0 0 0 0,1 0 0 0 0,-1 0 0 0 0,0 1 0 0 0,1-1-1 0 0,-1 1 1 0 0,1-1 0 0 0,-1 1 0 0 0,0-1 0 0 0,0 1 0 0 0,1-1 0 0 0,-1 1 0 0 0,0 0 0 0 0,0 0 0 0 0,0 0-1 0 0,0 0 1 0 0,0 0 0 0 0,0 0 0 0 0,1 1 0 0 0,1 1 39 0 0,0 0 0 0 0,-1 0 0 0 0,0 0 0 0 0,1 1 0 0 0,-1-1 0 0 0,0 1 0 0 0,-1-1 0 0 0,2 5 1 0 0,-1 0-42 0 0,0 0 1 0 0,-1 0 0 0 0,0 0 0 0 0,0 0-1 0 0,-1 0 1 0 0,0 1 0 0 0,-1-1 0 0 0,0 0 0 0 0,0 0-1 0 0,-1 0 1 0 0,1 0 0 0 0,-2 0 0 0 0,1 0-1 0 0,-1-1 1 0 0,-6 12 0 0 0,1-4-14 0 0,-1-1 0 0 0,-1 1 0 0 0,0-2-1 0 0,-1 1 1 0 0,0-1 0 0 0,-19 16 0 0 0,26-26-32 0 0,0 0-1 0 0,0 0 1 0 0,-1 0-1 0 0,1 0 1 0 0,-1-1 0 0 0,1 0-1 0 0,-1 0 1 0 0,0 0 0 0 0,0 0-1 0 0,0-1 1 0 0,-6 1-1 0 0,10-1-19 0 0,-1-1 0 0 0,0 0 0 0 0,1 0 0 0 0,-1 0 0 0 0,0 0 0 0 0,0 0 0 0 0,1 0-1 0 0,-1-1 1 0 0,0 1 0 0 0,1 0 0 0 0,-1-1 0 0 0,0 1 0 0 0,1-1 0 0 0,-1 0-1 0 0,1 1 1 0 0,-1-1 0 0 0,1 0 0 0 0,-1 0 0 0 0,1 0 0 0 0,0 0 0 0 0,-1 0 0 0 0,1-1-1 0 0,0 1 1 0 0,0 0 0 0 0,0-1 0 0 0,0 1 0 0 0,0 0 0 0 0,0-1 0 0 0,0 1-1 0 0,0-1 1 0 0,1 0 0 0 0,-1 1 0 0 0,0-1 0 0 0,1 1 0 0 0,-1-3 0 0 0,0-5-78 0 0,0 0 1 0 0,0 0-1 0 0,0 1 1 0 0,1-1-1 0 0,1 0 1 0 0,0 0 0 0 0,3-17-1 0 0,22-63-221 0 0,-15 58 238 0 0,1-5-33 0 0,14-49 344 0 0,-24 76-168 0 0,-1 0 0 0 0,0 0-1 0 0,0 0 1 0 0,-1 0 0 0 0,0 0-1 0 0,0 0 1 0 0,-3-14 0 0 0,3 20-66 0 0,-1 1 1 0 0,0-1-1 0 0,0 1 1 0 0,0-1-1 0 0,0 1 0 0 0,0-1 1 0 0,-1 1-1 0 0,1-1 1 0 0,-1 1-1 0 0,1 0 1 0 0,-1 0-1 0 0,0 0 1 0 0,0 0-1 0 0,0 0 1 0 0,0 0-1 0 0,-4-2 1 0 0,2 1 5 0 0,0 1 1 0 0,-1 0-1 0 0,1 0 1 0 0,-1 1-1 0 0,1-1 1 0 0,-1 1-1 0 0,0 0 1 0 0,1 0-1 0 0,-7 0 1 0 0,4 1-3 0 0,-1 0 0 0 0,0 0 0 0 0,1 0 1 0 0,-1 1-1 0 0,0 1 0 0 0,1-1 0 0 0,0 1 0 0 0,-1 0 1 0 0,1 1-1 0 0,0-1 0 0 0,0 1 0 0 0,-7 5 1 0 0,11-7-78 0 0,1 1 1 0 0,-1 0-1 0 0,1 0 1 0 0,-1 0-1 0 0,1 0 1 0 0,0 1 0 0 0,0-1-1 0 0,0 1 1 0 0,0-1-1 0 0,1 1 1 0 0,-1-1-1 0 0,0 1 1 0 0,1 0-1 0 0,0 0 1 0 0,0 0 0 0 0,0 0-1 0 0,0 0 1 0 0,0 0-1 0 0,1 0 1 0 0,-1 0-1 0 0,1 0 1 0 0,0 0 0 0 0,0 0-1 0 0,0 4 1 0 0,1-3-299 0 0,0 0 0 0 0,0-1 0 0 0,0 1 1 0 0,0-1-1 0 0,1 1 0 0 0,-1-1 1 0 0,1 1-1 0 0,0-1 0 0 0,0 0 0 0 0,0 0 1 0 0,0 0-1 0 0,1 0 0 0 0,0 0 0 0 0,-1-1 1 0 0,1 1-1 0 0,0-1 0 0 0,0 0 1 0 0,0 0-1 0 0,7 4 0 0 0,9 2-2560 0 0</inkml:trace>
  <inkml:trace contextRef="#ctx0" brushRef="#br0" timeOffset="1">529 290 2068 0 0,'5'4'807'0'0,"0"-1"1"0"0,0 0-1 0 0,-1 1 0 0 0,1 0 1 0 0,-1 0-1 0 0,0 0 0 0 0,0 1 1 0 0,0-1-1 0 0,4 8 0 0 0,-5-6-224 0 0,0 0-1 0 0,0 0 1 0 0,-1 0-1 0 0,0 0 1 0 0,0 0-1 0 0,-1 1 0 0 0,2 9 1 0 0,-2-5-442 0 0,0 0 0 0 0,-1 1 0 0 0,-3 19 0 0 0,-11 33-4354 0 0,11-54 624 0 0</inkml:trace>
</inkml:ink>
</file>

<file path=ppt/ink/ink5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01.96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11 96 0 0,'7'-9'9240'0'0,"-5"8"-8950"0"0,3 1 52 0 0,1 0 0 0 0,-1 1 1 0 0,1 0-1 0 0,-1 0 0 0 0,0 0 1 0 0,1 1-1 0 0,-1-1 1 0 0,0 1-1 0 0,0 1 0 0 0,0-1 1 0 0,0 1-1 0 0,-1-1 1 0 0,1 2-1 0 0,-1-1 0 0 0,0 0 1 0 0,1 1-1 0 0,-1 0 1 0 0,3 4-1 0 0,4 4-10 0 0,0 0 0 0 0,-1 1 1 0 0,-1 0-1 0 0,0 0 0 0 0,8 17 0 0 0,-12-20-280 0 0,-1-1-1 0 0,0 1 1 0 0,-1 0-1 0 0,0 0 1 0 0,0 0-1 0 0,-1 0 1 0 0,0 0-1 0 0,-1 1 1 0 0,0-1-1 0 0,-1 1 1 0 0,0-1-1 0 0,0 0 1 0 0,-3 14-1 0 0,0-13-302 0 0,0-1 0 0 0,0 1-1 0 0,-1-1 1 0 0,0 0 0 0 0,-1 0-1 0 0,0-1 1 0 0,0 0 0 0 0,-8 10 0 0 0,-3 2-1787 0 0,-1-1 1 0 0,-1-1-1 0 0,-33 28 1 0 0,11-18-3993 0 0</inkml:trace>
</inkml:ink>
</file>

<file path=ppt/ink/ink5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8.83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587 7 276 0 0,'6'-6'7917'0'0,"-10"11"-7893"0"0,0 0-1 0 0,-1 1 0 0 0,1-1 0 0 0,-1-1 1 0 0,0 1-1 0 0,-1-1 0 0 0,1 0 0 0 0,-8 5 1 0 0,-51 27 49 0 0,62-35-70 0 0,-98 46 97 0 0,-200 66-1 0 0,-118 0 100 0 0,-250 30-216 0 0,-8-25-276 0 0,477-85 48 0 0,-1383 217-1019 0 0,783-126 1083 0 0,433-67 151 0 0,-798 132 398 0 0,-475 43-168 0 0,347-201-1586 0 0,901-37 1129 0 0,3 37 156 0 0,-455 136-71 0 0,360-64 142 0 0,-3-21 47 0 0,250-57-606 0 0,-452-10 1 0 0,421-24 520 0 0,-221-11-76 0 0,3-31 662 0 0,28-46 253 0 0,305 60-615 0 0,-262-57-145 0 0,325 78-39 0 0,0 4-1 0 0,-111 0 1 0 0,17 1 6 0 0,-349-44-49 0 0,285 13 62 0 0,221 37 8 0 0,14 4 4 0 0,1 0 0 0 0,0 0 0 0 0,-1 1 0 0 0,-15 3 0 0 0,22-3-182 0 0,0 1 0 0 0,0-1 0 0 0,0 0 0 0 0,0 0-1 0 0,-8-1 1 0 0,12 1 100 0 0,0-1 0 0 0,0 1-1 0 0,0 0 1 0 0,0-1 0 0 0,0 1-1 0 0,0-1 1 0 0,0 1 0 0 0,1-1 0 0 0,-1 1-1 0 0,0-1 1 0 0,0 0 0 0 0,1 1 0 0 0,-1-1-1 0 0,0 0 1 0 0,1 0 0 0 0,-1 1 0 0 0,1-1-1 0 0,-1 0 1 0 0,1 0 0 0 0,-1 0 0 0 0,1 0-1 0 0,-1 0 1 0 0,1 0 0 0 0,0 1 0 0 0,0-1-1 0 0,-1 0 1 0 0,1 0 0 0 0,0 0 0 0 0,0 0-1 0 0,0 0 1 0 0,0 0 0 0 0,0-1-1 0 0,0-1-497 0 0</inkml:trace>
</inkml:ink>
</file>

<file path=ppt/ink/ink5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9.24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84 52 140 0 0,'0'-3'413'0'0,"0"-35"1146"0"0,0 36-1437 0 0,0 2-114 0 0,0-1-1 0 0,0 1 0 0 0,0 0 1 0 0,0-1-1 0 0,0 1 1 0 0,0 0-1 0 0,0-1 0 0 0,0 1 1 0 0,0 0-1 0 0,0-1 1 0 0,0 1-1 0 0,0 0 1 0 0,-1-1-1 0 0,1 1 0 0 0,0 0 1 0 0,0-1-1 0 0,0 1 1 0 0,-1 0-1 0 0,1-1 0 0 0,0 1 1 0 0,0 0-1 0 0,0 0 1 0 0,-1-1-1 0 0,1 1 0 0 0,0 0 1 0 0,-1-1-1 0 0,-5 5 49 0 0,1 0 1 0 0,-1 1-1 0 0,1-1 0 0 0,0 1 0 0 0,1 0 0 0 0,-9 11 0 0 0,-26 41 531 0 0,31-44-457 0 0,-29 46 1032 0 0,-41 87 0 0 0,63-112-768 0 0,1 2 0 0 0,2-1 0 0 0,1 2 0 0 0,-7 44-1 0 0,17-75-306 0 0,0 0 0 0 0,0 0-1 0 0,1 0 1 0 0,0 0-1 0 0,0 0 1 0 0,0 0 0 0 0,1 1-1 0 0,0-1 1 0 0,0 0-1 0 0,1 0 1 0 0,2 5 0 0 0,-3-8-37 0 0,1 0 1 0 0,-1 0 0 0 0,1 0-1 0 0,0-1 1 0 0,0 1 0 0 0,1 0 0 0 0,-1-1-1 0 0,0 0 1 0 0,1 0 0 0 0,0 1-1 0 0,-1-1 1 0 0,1-1 0 0 0,0 1 0 0 0,0 0-1 0 0,0-1 1 0 0,0 1 0 0 0,0-1-1 0 0,0 0 1 0 0,1 0 0 0 0,-1-1 0 0 0,5 2-1 0 0,11 0 24 0 0,1-2 1 0 0,-1 0-1 0 0,0 0 0 0 0,0-2 0 0 0,1-1 0 0 0,28-7 1 0 0,5 0-12 0 0,165-33-1790 0 0,-126 23-2389 0 0,-65 15 1788 0 0</inkml:trace>
</inkml:ink>
</file>

<file path=ppt/ink/ink5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5.61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25 580 0 0,'1'-2'416'0'0,"0"0"-1"0"0,0-1 1 0 0,1 1 0 0 0,-1 0-1 0 0,0 0 1 0 0,1 0 0 0 0,-1 0 0 0 0,1 0-1 0 0,2-2 1 0 0,-4 4-335 0 0,1-1 0 0 0,-1 1 1 0 0,0 0-1 0 0,1 0 0 0 0,-1 0 0 0 0,0 0 1 0 0,1-1-1 0 0,-1 1 0 0 0,0 0 1 0 0,1 0-1 0 0,-1 0 0 0 0,0 0 0 0 0,1 0 1 0 0,-1 0-1 0 0,0 0 0 0 0,1 0 0 0 0,-1 0 1 0 0,1 0-1 0 0,-1 0 0 0 0,0 0 0 0 0,1 1 1 0 0,-1-1-1 0 0,0 0 0 0 0,1 0 0 0 0,-1 0 1 0 0,10 13 882 0 0,-2 7-368 0 0,0 0-1 0 0,-2 1 1 0 0,-1-1-1 0 0,6 42 1 0 0,-3-15-259 0 0,1 12-205 0 0,4 94 1 0 0,-14-13-3440 0 0,0-100-121 0 0,0-20 1173 0 0</inkml:trace>
</inkml:ink>
</file>

<file path=ppt/ink/ink5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5.97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152 1036 0 0,'6'-13'768'0'0,"1"0"1"0"0,1 1-1 0 0,0 0 0 0 0,1 0 1 0 0,0 0-1 0 0,0 1 0 0 0,1 1 1 0 0,22-18-1 0 0,-27 24-688 0 0,0 1 0 0 0,-1 0 1 0 0,1 0-1 0 0,1 1 0 0 0,-1-1 0 0 0,0 1 0 0 0,0 0 0 0 0,1 1 0 0 0,-1-1 1 0 0,1 1-1 0 0,0 0 0 0 0,-1 0 0 0 0,1 1 0 0 0,0 0 0 0 0,-1 0 0 0 0,1 0 1 0 0,0 1-1 0 0,-1-1 0 0 0,1 1 0 0 0,-1 1 0 0 0,1-1 0 0 0,-1 1 0 0 0,1 0 1 0 0,-1 0-1 0 0,7 5 0 0 0,-7-5-52 0 0,0 1 1 0 0,0 1-1 0 0,0-1 1 0 0,-1 1-1 0 0,1 0 1 0 0,-1 0-1 0 0,0 0 1 0 0,0 1-1 0 0,0-1 0 0 0,-1 1 1 0 0,0 0-1 0 0,0 0 1 0 0,3 6-1 0 0,-3-3 6 0 0,0 0-1 0 0,-1 0 0 0 0,0 0 1 0 0,0 0-1 0 0,-1 0 0 0 0,0 0 0 0 0,0 0 1 0 0,-2 13-1 0 0,-1 2 99 0 0,-2 1 0 0 0,0-1 0 0 0,-2 0 1 0 0,-1-1-1 0 0,-14 34 0 0 0,-82 150 3851 0 0,102-205-3876 0 0,1 1-1 0 0,-1-1 1 0 0,1 0-1 0 0,-1 0 1 0 0,1 0-1 0 0,-1 1 1 0 0,1-1-1 0 0,0 0 1 0 0,-1 0-1 0 0,1 1 1 0 0,0-1-1 0 0,0 2 1 0 0,0-3-75 0 0,0 1 1 0 0,0-1 0 0 0,0 0 0 0 0,0 1-1 0 0,1-1 1 0 0,-1 0 0 0 0,0 1-1 0 0,0-1 1 0 0,0 0 0 0 0,1 1-1 0 0,-1-1 1 0 0,0 0 0 0 0,0 1 0 0 0,1-1-1 0 0,-1 0 1 0 0,0 0 0 0 0,0 1-1 0 0,1-1 1 0 0,-1 0 0 0 0,0 0-1 0 0,1 0 1 0 0,-1 1 0 0 0,0-1 0 0 0,1 0-1 0 0,0 0 1 0 0,2 1 51 0 0,1-1 1 0 0,0 0-1 0 0,-1 0 0 0 0,1 0 1 0 0,-1 0-1 0 0,7-2 0 0 0,-7 2-78 0 0,134-31 676 0 0,8 0-1469 0 0,-123 28-1185 0 0,0 1 0 0 0,38 3 0 0 0,-1 6-5663 0 0</inkml:trace>
</inkml:ink>
</file>

<file path=ppt/ink/ink5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6.33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20 259 1156 0 0,'10'-3'531'0'0,"-1"2"0"0"0,1-1 0 0 0,0 1 0 0 0,-1 0 0 0 0,1 1 0 0 0,0 0 0 0 0,-1 1 1 0 0,1 0-1 0 0,0 0 0 0 0,16 5 0 0 0,-22-4-406 0 0,-1-1-1 0 0,1 0 1 0 0,0 1 0 0 0,0 0 0 0 0,-1 0 0 0 0,1 0 0 0 0,-1 0-1 0 0,0 0 1 0 0,0 1 0 0 0,0-1 0 0 0,0 1 0 0 0,0 0 0 0 0,0 0 0 0 0,-1 0-1 0 0,1 0 1 0 0,-1 1 0 0 0,0-1 0 0 0,0 1 0 0 0,0-1 0 0 0,-1 1 0 0 0,1 0-1 0 0,-1 0 1 0 0,0-1 0 0 0,0 1 0 0 0,0 0 0 0 0,0 0 0 0 0,-1 0-1 0 0,0 8 1 0 0,0-2 18 0 0,-1 0 0 0 0,-1 0-1 0 0,0-1 1 0 0,0 1-1 0 0,-1 0 1 0 0,0-1 0 0 0,-1 1-1 0 0,0-1 1 0 0,0 0 0 0 0,-1 0-1 0 0,-9 12 1 0 0,1-4 79 0 0,0 0-1 0 0,-1 0 1 0 0,-1-2 0 0 0,-22 19 0 0 0,33-31-181 0 0,-1 0 0 0 0,1 0 0 0 0,-1 0 0 0 0,1 0 0 0 0,-1-1 0 0 0,0 0 0 0 0,0 0 1 0 0,0 0-1 0 0,-6 1 0 0 0,10-3-48 0 0,0 0 0 0 0,0 0 0 0 0,0 1 0 0 0,-1-1 1 0 0,1 0-1 0 0,0 0 0 0 0,0 0 0 0 0,-1 0 0 0 0,1 0 0 0 0,0-1 0 0 0,0 1 1 0 0,0 0-1 0 0,-1-1 0 0 0,1 1 0 0 0,0 0 0 0 0,0-1 0 0 0,0 1 1 0 0,0-1-1 0 0,0 0 0 0 0,0 1 0 0 0,0-1 0 0 0,0 0 0 0 0,0 0 0 0 0,0 0 1 0 0,0 0-1 0 0,0 1 0 0 0,1-1 0 0 0,-1 0 0 0 0,0 0 0 0 0,1-1 1 0 0,-1 1-1 0 0,0 0 0 0 0,1 0 0 0 0,0 0 0 0 0,-1 0 0 0 0,1 0 0 0 0,0-1 1 0 0,-1 1-1 0 0,1 0 0 0 0,0 0 0 0 0,0 0 0 0 0,0-1 0 0 0,0 0 1 0 0,1-16-115 0 0,0 0 1 0 0,1 0-1 0 0,1 1 1 0 0,1-1 0 0 0,1 1-1 0 0,8-22 1 0 0,0-6-40 0 0,-2 3 76 0 0,-3 0 1 0 0,-2-1-1 0 0,-1 1 1 0 0,-2-59-1 0 0,-3 97 96 0 0,0-1 0 0 0,0 0 0 0 0,-1 1 0 0 0,0-1 0 0 0,0 0 0 0 0,0 1 0 0 0,-1-1 0 0 0,1 1 0 0 0,-1-1 0 0 0,0 1 0 0 0,0 0 0 0 0,-1 0 0 0 0,1 0-1 0 0,-1 0 1 0 0,0 0 0 0 0,0 0 0 0 0,0 1 0 0 0,0-1 0 0 0,-1 1 0 0 0,0 0 0 0 0,1 0 0 0 0,-1 0 0 0 0,0 1 0 0 0,0 0 0 0 0,-1-1 0 0 0,1 1 0 0 0,-8-2-1 0 0,5 2 2 0 0,1 0-1 0 0,-1 1 1 0 0,0-1-1 0 0,0 1 1 0 0,1 1-1 0 0,-1 0 0 0 0,0 0 1 0 0,0 0-1 0 0,0 1 1 0 0,0 0-1 0 0,1 0 1 0 0,-1 0-1 0 0,0 1 1 0 0,1 0-1 0 0,0 1 0 0 0,-1-1 1 0 0,1 1-1 0 0,0 0 1 0 0,-7 5-1 0 0,10-5-5 0 0,-1 0-1 0 0,1-1 1 0 0,-1 2-1 0 0,1-1 1 0 0,0 0-1 0 0,0 1 1 0 0,0-1-1 0 0,1 1 1 0 0,-1 0-1 0 0,1 0 1 0 0,0 0-1 0 0,0 0 1 0 0,1 0-1 0 0,-1 0 1 0 0,1 1-1 0 0,-2 7 1 0 0,2-8-79 0 0,1 0 1 0 0,0 0-1 0 0,0-1 0 0 0,1 1 1 0 0,-1 0-1 0 0,1 0 1 0 0,-1 0-1 0 0,1-1 1 0 0,1 1-1 0 0,-1-1 1 0 0,0 1-1 0 0,1-1 0 0 0,-1 1 1 0 0,1-1-1 0 0,0 0 1 0 0,0 0-1 0 0,1 1 1 0 0,-1-2-1 0 0,1 1 1 0 0,4 5-1 0 0,5 0-505 0 0,-1 0 1 0 0,1-1-1 0 0,1 0 0 0 0,-1-1 0 0 0,1 0 1 0 0,0-1-1 0 0,0 0 0 0 0,1-1 1 0 0,-1-1-1 0 0,1 0 0 0 0,24 2 0 0 0,-3-3-1417 0 0</inkml:trace>
  <inkml:trace contextRef="#ctx0" brushRef="#br0" timeOffset="1">555 239 392 0 0,'15'-1'1477'0'0,"0"0"0"0"0,1 1 0 0 0,-1 1 0 0 0,0 0 0 0 0,28 6 0 0 0,-42-6-1388 0 0,0-1 0 0 0,0 1 0 0 0,0-1 0 0 0,0 1 0 0 0,0 0 0 0 0,0-1 0 0 0,0 1 0 0 0,0 0 0 0 0,0 0 0 0 0,0 0 0 0 0,-1-1 0 0 0,1 1 0 0 0,0 0 0 0 0,-1 0 0 0 0,1 0 0 0 0,-1 0 0 0 0,1 0 0 0 0,-1 0 0 0 0,1 1 0 0 0,-1-1-1 0 0,0 0 1 0 0,0 0 0 0 0,1 1 0 0 0,1 28 794 0 0,-2-26-767 0 0,-1 15 148 0 0,-1-1 0 0 0,-6 26-1 0 0,-3 24-1622 0 0,11-61 515 0 0,-1 1 1 0 0,2-1-1 0 0,-1 0 1 0 0,1 1-1 0 0,0-1 1 0 0,0 0-1 0 0,3 8 1 0 0,0-5-1825 0 0</inkml:trace>
</inkml:ink>
</file>

<file path=ppt/ink/ink5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6.72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43 2176 0 0,'36'-42'9164'0'0,"-33"42"-8490"0"0,-1 1-540 0 0,0 0 0 0 0,1 0 0 0 0,-1 0 0 0 0,0 0-1 0 0,0 0 1 0 0,0 0 0 0 0,0 1 0 0 0,0-1-1 0 0,-1 1 1 0 0,1-1 0 0 0,0 1 0 0 0,-1 0-1 0 0,1 0 1 0 0,1 3 0 0 0,1 0 13 0 0,-1 1-1 0 0,0 0 1 0 0,0 0-1 0 0,-1 0 1 0 0,2 7-1 0 0,2 8-6 0 0,-2 0 0 0 0,2 28 0 0 0,-2 77-3206 0 0,-11-41-3816 0 0,5-67 3914 0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7.12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0 1336 0 0,'13'-17'3207'0'0,"-12"15"-2824"0"0,1 0-1 0 0,-1 0 1 0 0,1 0 0 0 0,-1 0-1 0 0,1 0 1 0 0,-1 1 0 0 0,1-1-1 0 0,0 1 1 0 0,0-1 0 0 0,0 1-1 0 0,0-1 1 0 0,2 0 0 0 0,-3 2-299 0 0,-1 0 0 0 0,1 0 0 0 0,0 1 1 0 0,-1-1-1 0 0,1 0 0 0 0,-1 0 1 0 0,1 1-1 0 0,0-1 0 0 0,-1 0 1 0 0,1 1-1 0 0,-1-1 0 0 0,1 1 0 0 0,-1-1 1 0 0,1 1-1 0 0,-1-1 0 0 0,0 1 1 0 0,1-1-1 0 0,-1 1 0 0 0,1-1 1 0 0,-1 1-1 0 0,0-1 0 0 0,0 1 0 0 0,1 0 1 0 0,-1-1-1 0 0,0 2 0 0 0,7 16 1036 0 0,-3 2-271 0 0,-2 0 0 0 0,0-1 0 0 0,-2 1 0 0 0,0 0-1 0 0,-1-1 1 0 0,-8 42 1256 0 0,8-63-1980 0 0,1 1-124 0 0,-1 1 0 0 0,1-1 0 0 0,-1 0 1 0 0,1 1-1 0 0,-1-1 0 0 0,1 0 0 0 0,-1 1 0 0 0,1-1 0 0 0,0 0 0 0 0,0 0 1 0 0,-1 0-1 0 0,1 1 0 0 0,0-1 0 0 0,0 0 0 0 0,0 0 0 0 0,0 0 1 0 0,0 0-1 0 0,0 0 0 0 0,0 1 0 0 0,0-1 0 0 0,0 0 0 0 0,0 0 1 0 0,1 0-1 0 0,-1 1 0 0 0,0-1 0 0 0,0 0 0 0 0,1 0 0 0 0,-1 0 1 0 0,1 0-1 0 0,0-1-5 0 0,1-4-32 0 0,0 0 0 0 0,1 0 1 0 0,-1 0-1 0 0,1 0 0 0 0,1 1 1 0 0,-1-1-1 0 0,1 1 1 0 0,0 0-1 0 0,0 0 0 0 0,0 0 1 0 0,1 1-1 0 0,-1-1 0 0 0,1 1 1 0 0,1 0-1 0 0,-1 0 1 0 0,0 1-1 0 0,1 0 0 0 0,0 0 1 0 0,-1 0-1 0 0,10-3 0 0 0,-11 5 25 0 0,0 0 0 0 0,0 1-1 0 0,-1-1 1 0 0,1 1-1 0 0,0 0 1 0 0,0 0-1 0 0,0 0 1 0 0,0 0-1 0 0,-1 1 1 0 0,1-1-1 0 0,0 1 1 0 0,0 0 0 0 0,-1 0-1 0 0,1 1 1 0 0,0-1-1 0 0,-1 1 1 0 0,1 0-1 0 0,3 2 1 0 0,-1 0 21 0 0,-1 0-1 0 0,0 1 1 0 0,0-1 0 0 0,0 1 0 0 0,-1 0 0 0 0,1 0 0 0 0,-1 0-1 0 0,7 12 1 0 0,-10-12 8 0 0,0-1 0 0 0,0 1 0 0 0,-1 0-1 0 0,1 0 1 0 0,-1-1 0 0 0,0 1 0 0 0,-1 9 0 0 0,1-11 50 0 0,-3 1 24 0 0,3-3-76 0 0,0-1-1 0 0,0 0 0 0 0,0 0 1 0 0,0 1-1 0 0,0-1 1 0 0,0 0-1 0 0,0 0 1 0 0,0 1-1 0 0,0-1 1 0 0,-1 0-1 0 0,1 0 0 0 0,0 1 1 0 0,0-1-1 0 0,0 0 1 0 0,0 0-1 0 0,0 1 1 0 0,-1-1-1 0 0,1 0 0 0 0,0 0 1 0 0,0 0-1 0 0,0 0 1 0 0,0 1-1 0 0,-1-1 1 0 0,1 0-1 0 0,0 0 1 0 0,0 0-1 0 0,-1 0 0 0 0,1 0 1 0 0,0 0-1 0 0,0 1 1 0 0,-1-1-1 0 0,1 0 1 0 0,0 0-1 0 0,0 0 0 0 0,-1 0 1 0 0,0-1-7 0 0,1 1-1 0 0,-1 0 1 0 0,1 0 0 0 0,-1-1-1 0 0,1 1 1 0 0,-1-1 0 0 0,1 1-1 0 0,-1 0 1 0 0,1-1 0 0 0,0 1-1 0 0,-1-1 1 0 0,1 1 0 0 0,-1-1-1 0 0,1 1 1 0 0,0-1 0 0 0,0 1-1 0 0,-1-1 1 0 0,1 0 0 0 0,0 1-1 0 0,0-1 1 0 0,0 1 0 0 0,0-1-1 0 0,-1 1 1 0 0,1-1 0 0 0,0 0-1 0 0,0 1 1 0 0,0-1 0 0 0,0 0-1 0 0,0 1 1 0 0,1-1 0 0 0,-1 0-1 0 0,1-3 6 0 0,0 1-1 0 0,0 0 1 0 0,0 0-1 0 0,1 0 1 0 0,-1 1-1 0 0,4-6 1 0 0,1 0-14 0 0,0 0 0 0 0,1 0 0 0 0,0 1 0 0 0,8-7 0 0 0,-8 9-3 0 0,-1 1-1 0 0,1 0 1 0 0,0 0 0 0 0,1 0-1 0 0,-1 1 1 0 0,0 0 0 0 0,1 0-1 0 0,0 1 1 0 0,0 0 0 0 0,-1 0 0 0 0,1 1-1 0 0,0 0 1 0 0,0 1 0 0 0,1 0-1 0 0,7 0 1 0 0,-10 1-101 0 0,0 0 0 0 0,0 0 0 0 0,-1 0 0 0 0,1 1 0 0 0,0 0 0 0 0,-1 0 0 0 0,0 0 0 0 0,1 1 1 0 0,-1 0-1 0 0,0 0 0 0 0,0 0 0 0 0,0 0 0 0 0,-1 1 0 0 0,1 0 0 0 0,-1 0 0 0 0,0 0 0 0 0,0 0 0 0 0,0 1 0 0 0,-1 0 0 0 0,1 0 0 0 0,3 8 0 0 0,-3-2-1238 0 0,0 1-1 0 0,0 0 1 0 0,-1 0-1 0 0,1 16 0 0 0,-1-12-1763 0 0</inkml:trace>
</inkml:ink>
</file>

<file path=ppt/ink/ink5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17.11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42 23 372 0 0,'2'-2'458'0'0,"1"0"0"0"0,-1 0 0 0 0,0 0 0 0 0,1 0 0 0 0,-1 0 0 0 0,0 1 0 0 0,1-1 0 0 0,0 1 0 0 0,-1 0-1 0 0,1 0 1 0 0,0 0 0 0 0,0 0 0 0 0,0 0 0 0 0,0 1 0 0 0,0-1 0 0 0,-1 1 0 0 0,1 0 0 0 0,0-1 0 0 0,5 2 0 0 0,-6 0-296 0 0,0 1 1 0 0,0-1-1 0 0,0 1 0 0 0,0-1 0 0 0,0 1 1 0 0,-1 0-1 0 0,1 0 0 0 0,-1 0 1 0 0,1 0-1 0 0,-1 0 0 0 0,0 0 1 0 0,0 0-1 0 0,0 0 0 0 0,0 0 1 0 0,0 1-1 0 0,0-1 0 0 0,-1 0 1 0 0,1 1-1 0 0,0 2 0 0 0,1 19 344 0 0,-1 0 0 0 0,-1 1-1 0 0,-1-1 1 0 0,-1 0 0 0 0,-9 42-1 0 0,-2-12-600 0 0,-28 73 0 0 0,24-84-1484 0 0,-42 77-1 0 0,46-98-685 0 0,-1-1 0 0 0,-27 32 0 0 0,23-34-998 0 0</inkml:trace>
</inkml:ink>
</file>

<file path=ppt/ink/ink5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22.04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85 592 0 0,'0'0'663'0'0,"17"-17"2371"0"0,14-36-429 0 0,-11 19-1246 0 0,-12 7-309 0 0,-3 9-377 0 0,-4 16-620 0 0,0 3-63 0 0,0 1 12 0 0,0-1 0 0 0,0 1 0 0 0,0-1 1 0 0,-1 1-1 0 0,1-1 0 0 0,0 1 1 0 0,-1 0-1 0 0,1-1 0 0 0,-1 1 1 0 0,0 0-1 0 0,1-1 0 0 0,-1 1 1 0 0,0 2-1 0 0,2 32 198 0 0,9 54 1 0 0,-3-41 20 0 0,16 163 587 0 0,-21-177 755 0 0,-4-30-401 0 0,-3-22-915 0 0,-2-34-219 0 0,3 0 0 0 0,4-74 0 0 0,0 41-100 0 0,3 45-120 0 0,-3 36 155 0 0,-1 4-3 0 0,1-1 39 0 0,-1 0-1 0 0,1 0 1 0 0,-1 1-1 0 0,0-1 1 0 0,1 0 0 0 0,-1 1-1 0 0,1-1 1 0 0,-1 1-1 0 0,0-1 1 0 0,1 0 0 0 0,-1 1-1 0 0,0-1 1 0 0,1 1-1 0 0,-1-1 1 0 0,0 1 0 0 0,0-1-1 0 0,0 1 1 0 0,1-1-1 0 0,-1 1 1 0 0,0 0 0 0 0,17 87 175 0 0,23 147 780 0 0,-42-223-203 0 0,-6-13-255 0 0,6 0-471 0 0,0 0 1 0 0,0 0-1 0 0,1-1 0 0 0,-1 1 1 0 0,0-1-1 0 0,1 1 0 0 0,-1-1 0 0 0,1 1 1 0 0,-2-3-1 0 0,-8-18-90 0 0,2-1 1 0 0,0 1 0 0 0,2-2-1 0 0,0 1 1 0 0,1-1-1 0 0,-3-33 1 0 0,-3-12-56 0 0,-16-111-366 0 0,28 306 463 0 0,9 19 186 0 0,1 57 345 0 0,-12-187-175 0 0,-2-19-110 0 0,-3-24-164 0 0,7-13-274 0 0,11-79-1 0 0,-3 45 64 0 0,-1 3 10 0 0,3-62-3460 0 0,-9 121-100 0 0,-4 23 150 0 0,-1 2 536 0 0</inkml:trace>
</inkml:ink>
</file>

<file path=ppt/ink/ink5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22.64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0 328 0 0,'0'0'1880'0'0,"1"3"-1429"0"0,19 42 1956 0 0,4 12-594 0 0,-9-3-299 0 0,9 30 2986 0 0,-36-127-4004 0 0,3-68-532 0 0,9 108 0 0 0,-1-5-76 0 0,4 21 83 0 0,10 181 131 0 0,-13-191-257 0 0,-2 6-625 0 0</inkml:trace>
</inkml:ink>
</file>

<file path=ppt/ink/ink5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50.45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1 2240 0 0,'4'10'2840'0'0,"16"-5"-1115"0"0,12-1-1093 0 0,-8-4-444 0 0,8 2-660 0 0,0-2-468 0 0,3 0-1013 0 0,10 0 97 0 0</inkml:trace>
</inkml:ink>
</file>

<file path=ppt/ink/ink5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8:50.87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99 288 792 0 0,'-13'5'1495'0'0,"1"0"51"0"0,-1 0-1 0 0,1 1 1 0 0,0 0-1 0 0,-17 12 1 0 0,28-17-1484 0 0,1-1 1 0 0,0 0-1 0 0,-1 0 1 0 0,1 0-1 0 0,0 0 1 0 0,-1 1-1 0 0,1-1 1 0 0,-1 0-1 0 0,1 0 1 0 0,0 1-1 0 0,-1-1 1 0 0,1 0-1 0 0,0 1 1 0 0,0-1-1 0 0,-1 0 1 0 0,1 1-1 0 0,0-1 1 0 0,0 0-1 0 0,0 1 1 0 0,-1-1-1 0 0,1 1 1 0 0,0-1-1 0 0,0 0 1 0 0,0 1-1 0 0,0-1 1 0 0,0 1-1 0 0,0-1 1 0 0,0 1-1 0 0,0-1 1 0 0,0 0-1 0 0,0 1 1 0 0,0-1-1 0 0,0 1 1 0 0,0-1-1 0 0,0 1 1 0 0,0-1-1 0 0,0 0 1 0 0,0 1-1 0 0,0-1 1 0 0,1 1-1 0 0,-1-1 1 0 0,0 0-1 0 0,0 1 0 0 0,1-1 1 0 0,-1 0-1 0 0,0 1 1 0 0,0-1-1 0 0,1 0 1 0 0,-1 1-1 0 0,0-1 1 0 0,1 0-1 0 0,-1 0 1 0 0,0 1-1 0 0,1-1 1 0 0,-1 0-1 0 0,1 0 1 0 0,-1 0-1 0 0,0 0 1 0 0,1 1-1 0 0,-1-1 1 0 0,1 0-1 0 0,-1 0 1 0 0,1 0-1 0 0,-1 0 1 0 0,27 3 359 0 0,-27-3-351 0 0,34 1-150 0 0,0-2 1 0 0,0-1-1 0 0,0-2 1 0 0,0-1-1 0 0,-1-2 0 0 0,0-1 1 0 0,58-22-1 0 0,-76 23-574 0 0,-1 0-1 0 0,0-1 1 0 0,0-1-1 0 0,0 0 1 0 0,18-17-1 0 0,-24 19 272 0 0,0-1-1 0 0,0 0 1 0 0,-1 0-1 0 0,-1-1 0 0 0,1 1 1 0 0,-1-1-1 0 0,-1-1 1 0 0,0 1-1 0 0,5-14 1 0 0,11-38 808 0 0,-2 2 3897 0 0,-18 58-4265 0 0,-1 0 0 0 0,0 1 0 0 0,0-1 1 0 0,0 0-1 0 0,1 1 0 0 0,-1-1 0 0 0,0 0 1 0 0,1 1-1 0 0,-1-1 0 0 0,1 0 0 0 0,-1 1 1 0 0,0-1-1 0 0,1 1 0 0 0,-1-1 0 0 0,1 1 1 0 0,0-1-1 0 0,-1 1 0 0 0,1-1 0 0 0,-1 1 1 0 0,1 0-1 0 0,0-1 0 0 0,-1 1 0 0 0,1 0 1 0 0,0-1-1 0 0,-1 1 0 0 0,1 0 0 0 0,0 0 1 0 0,0 0-1 0 0,-1 0 0 0 0,1 0 0 0 0,0 0 1 0 0,0 0-1 0 0,-1 0 0 0 0,1 0 0 0 0,0 0 1 0 0,0 0-1 0 0,-1 0 0 0 0,1 0 1 0 0,0 0-1 0 0,-1 1 0 0 0,1-1 0 0 0,0 0 1 0 0,-1 1-1 0 0,1-1 0 0 0,0 0 0 0 0,-1 1 1 0 0,1-1-1 0 0,-1 1 0 0 0,1-1 0 0 0,0 2 1 0 0,3 1 96 0 0,1 0 0 0 0,-2 1 0 0 0,1 0 0 0 0,0-1 0 0 0,4 7 0 0 0,-1 0-7 0 0,-1 0 0 0 0,1 1 1 0 0,-2-1-1 0 0,1 1 0 0 0,-2 1 0 0 0,1-1 0 0 0,-2 1 0 0 0,1 0 0 0 0,-2-1 0 0 0,1 2 0 0 0,0 17 0 0 0,-3-21-263 0 0,0-1 0 0 0,-1 0 1 0 0,0 0-1 0 0,0 1 0 0 0,-1-1 0 0 0,0 0 0 0 0,-1 0 0 0 0,1 0 1 0 0,-1 0-1 0 0,-1-1 0 0 0,0 1 0 0 0,0-1 0 0 0,0 0 1 0 0,-1 0-1 0 0,0 0 0 0 0,0-1 0 0 0,-12 11 0 0 0,4-5-1684 0 0,-2 0 1 0 0,1 0-1 0 0,-23 12 0 0 0,7-7-3157 0 0</inkml:trace>
</inkml:ink>
</file>

<file path=ppt/ink/ink5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24.4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49 52 120 0 0,'-2'-1'1461'0'0,"-44"-25"4373"0"0,45 26-5398 0 0,0-3 34 0 0,0 3-457 0 0,1 0 0 0 0,0-1-1 0 0,0 1 1 0 0,0 0 0 0 0,-1 0-1 0 0,1 0 1 0 0,0-1 0 0 0,0 1-1 0 0,0 0 1 0 0,0 0 0 0 0,0 0-1 0 0,0-1 1 0 0,-1 1 0 0 0,1 0-1 0 0,0 0 1 0 0,0-1 0 0 0,0 1-1 0 0,0 0 1 0 0,0-1 0 0 0,0 1-1 0 0,0 0 1 0 0,0 0 0 0 0,0-1-1 0 0,0 1 1 0 0,0 0 0 0 0,0 0-1 0 0,0-1 1 0 0,1 1 0 0 0,-1 0-1 0 0,0 0 1 0 0,0-1 0 0 0,0 1-1 0 0,0 0 1 0 0,1-1 0 0 0,2-1 24 0 0,0 1 1 0 0,0-1-1 0 0,1 1 1 0 0,-1-1-1 0 0,1 1 1 0 0,-1 0-1 0 0,1 0 1 0 0,0 1 0 0 0,-1-1-1 0 0,1 1 1 0 0,0 0-1 0 0,5 0 1 0 0,3 0-13 0 0,0 2-1 0 0,-1-1 1 0 0,15 4 0 0 0,-14-2-25 0 0,0 1 0 0 0,0 0-1 0 0,-1 0 1 0 0,1 1 0 0 0,-1 0-1 0 0,0 1 1 0 0,-1 1 0 0 0,1-1-1 0 0,-1 2 1 0 0,-1-1 0 0 0,1 2-1 0 0,-1-1 1 0 0,0 1 0 0 0,-1 0-1 0 0,0 1 1 0 0,-1 0 0 0 0,0 0-1 0 0,0 1 1 0 0,-1 0 0 0 0,-1 0-1 0 0,0 0 1 0 0,0 1 0 0 0,-1-1 0 0 0,3 14-1 0 0,4 33 208 0 0,-2 0-1 0 0,-2 1 1 0 0,-2 83 0 0 0,-22 179 435 0 0,6-158-372 0 0,-9 302 377 0 0,66 1074 566 0 0,44-884-1021 0 0,-14-153-153 0 0,-36 111-4 0 0,-41-513-15 0 0,-4-1 0 0 0,-5 0 1 0 0,-4 0-1 0 0,-31 112 1 0 0,40-191-5 0 0,-1 1 0 0 0,-2-1 0 0 0,0-1-1 0 0,-1 1 1 0 0,-19 30 0 0 0,24-44-22 0 0,-1 0 0 0 0,1 0 0 0 0,-1 0 0 0 0,-1-1 0 0 0,1 0 0 0 0,-1 0 0 0 0,1 0 0 0 0,-2-1 0 0 0,1 0 0 0 0,0 0 0 0 0,-1 0 0 0 0,0-1 0 0 0,1 0 0 0 0,-1 0 0 0 0,-1-1 0 0 0,1 0 0 0 0,0 0 0 0 0,0 0 0 0 0,-13 0 0 0 0,5-2-209 0 0,0-1-1 0 0,0-1 1 0 0,0 0 0 0 0,0 0-1 0 0,0-2 1 0 0,1 0-1 0 0,-1 0 1 0 0,1-2 0 0 0,-21-10-1 0 0,-4-5-2243 0 0,-71-51-1 0 0,37 16-1349 0 0</inkml:trace>
</inkml:ink>
</file>

<file path=ppt/ink/ink5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25.25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38 1 216 0 0,'-3'0'575'0'0,"-6"0"-428"0"0,0 0 0 0 0,1 1 0 0 0,-1 0 0 0 0,1 1 0 0 0,-1 0 0 0 0,1 0 0 0 0,-1 1-1 0 0,1 0 1 0 0,0 1 0 0 0,0-1 0 0 0,1 1 0 0 0,-1 1 0 0 0,1 0 0 0 0,0 0 0 0 0,0 0-1 0 0,-10 11 1 0 0,1 3-42 0 0,1 0-1 0 0,0 1 0 0 0,2 1 0 0 0,1 0 0 0 0,0 1 1 0 0,2 0-1 0 0,0 1 0 0 0,2 0 0 0 0,-10 37 0 0 0,0 24 273 0 0,-9 117-1 0 0,25-187-345 0 0,-11 288 939 0 0,25 0 28 0 0,-11-280-937 0 0,32 410 1229 0 0,128 619 1 0 0,-160-1044-1285 0 0,102 511 552 0 0,-23 5-8 0 0,-26-99-238 0 0,7 64 84 0 0,-22 3-164 0 0,-29-222-28 0 0,41 526 131 0 0,-43-728-507 0 0,3 0-1 0 0,3 0 1 0 0,44 121 0 0 0,-54-177-58 0 0,2 0 1 0 0,-1-1-1 0 0,1 0 1 0 0,1 0-1 0 0,-1 0 0 0 0,10 8 1 0 0,-11-12-374 0 0,1-1 1 0 0,-1 1-1 0 0,1-2 0 0 0,0 1 1 0 0,1-1-1 0 0,7 5 1 0 0,12 1-2797 0 0</inkml:trace>
</inkml:ink>
</file>

<file path=ppt/ink/ink5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25.60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90 537 164 0 0,'-157'32'8622'0'0,"143"-30"-8060"0"0,-5 0 438 0 0,19-2-990 0 0,0 0 0 0 0,0 0-1 0 0,0 0 1 0 0,1 0 0 0 0,-1 0-1 0 0,0 0 1 0 0,0 0 0 0 0,0 0-1 0 0,0 0 1 0 0,0 0 0 0 0,0 0-1 0 0,0 0 1 0 0,0 0 0 0 0,0 0-1 0 0,0 0 1 0 0,0-1 0 0 0,0 1-1 0 0,0 0 1 0 0,0 0 0 0 0,0 0-1 0 0,0 0 1 0 0,0 0 0 0 0,1 0 0 0 0,-1 0-1 0 0,0 0 1 0 0,0 0 0 0 0,0 0-1 0 0,0 0 1 0 0,0 0 0 0 0,0-1-1 0 0,0 1 1 0 0,0 0 0 0 0,0 0-1 0 0,0 0 1 0 0,0 0 0 0 0,0 0-1 0 0,0 0 1 0 0,0 0 0 0 0,0 0-1 0 0,0 0 1 0 0,0 0 0 0 0,-1 0-1 0 0,1 0 1 0 0,0-1 0 0 0,0 1-1 0 0,0 0 1 0 0,0 0 0 0 0,0 0-1 0 0,0 0 1 0 0,0 0 0 0 0,0 0-1 0 0,0 0 1 0 0,0 0 0 0 0,0 0-1 0 0,0 0 1 0 0,0 0 0 0 0,0 0 0 0 0,0 0-1 0 0,0 0 1 0 0,-1 0 0 0 0,34-14 448 0 0,776-224 685 0 0,-424 129-1211 0 0,62-14-2320 0 0,-211 60-2238 0 0,-159 41 1572 0 0</inkml:trace>
</inkml:ink>
</file>

<file path=ppt/ink/ink5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3T05:19:26.01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38 487 260 0 0,'-69'11'2374'0'0,"-97"19"2862"0"0,164-30-4228 0 0,7 0-649 0 0,35-5 2 0 0,1-2 0 0 0,41-12 0 0 0,1-1-19 0 0,1247-253 3504 0 0,-741 133-2905 0 0,-578 137-996 0 0,46-16-104 0 0,-53 17-170 0 0,1 0 1 0 0,0-1 0 0 0,-1 1-1 0 0,1-1 1 0 0,-1 0-1 0 0,0 0 1 0 0,0 0 0 0 0,6-7-1 0 0,-23 2-4931 0 0,-7 5 645 0 0</inkml:trace>
</inkml:ink>
</file>

<file path=ppt/ink/ink5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26.0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 5 700 0 0,'0'0'5565'0'0,"-13"-4"-927"0"0,12 5-4456 0 0,0 1-1 0 0,0 0 1 0 0,0 0-1 0 0,0-1 1 0 0,1 1-1 0 0,-1 0 1 0 0,1 0 0 0 0,0 0-1 0 0,-1 0 1 0 0,1 0-1 0 0,0-1 1 0 0,0 1-1 0 0,0 0 1 0 0,1 3-1 0 0,5 35 1014 0 0,-1-12-419 0 0,-3-8-494 0 0,1-1-1 0 0,1 1 0 0 0,0-1 0 0 0,13 34 0 0 0,-12-42-232 0 0,0 0 0 0 0,0 0 0 0 0,1 0-1 0 0,0 0 1 0 0,1-1 0 0 0,0 0 0 0 0,1-1 0 0 0,0 0 0 0 0,9 9 0 0 0,-12-14-25 0 0,0 0 0 0 0,0 0 0 0 0,0-1 0 0 0,1 0 0 0 0,0 0 0 0 0,-1 0 1 0 0,1 0-1 0 0,0-1 0 0 0,0 0 0 0 0,1-1 0 0 0,-1 1 0 0 0,0-1 0 0 0,0 0 1 0 0,8 0-1 0 0,-8-1-20 0 0,-1-1 0 0 0,0 0 1 0 0,1 1-1 0 0,-1-2 1 0 0,0 1-1 0 0,0-1 0 0 0,0 1 1 0 0,0-1-1 0 0,0-1 0 0 0,0 1 1 0 0,0-1-1 0 0,-1 0 0 0 0,1 0 1 0 0,-1 0-1 0 0,0 0 1 0 0,0-1-1 0 0,4-5 0 0 0,0 0-23 0 0,0-1 0 0 0,-1 0-1 0 0,0-1 1 0 0,0 0-1 0 0,7-18 1 0 0,19-62 59 0 0,-21 53 234 0 0,-3 21-196 0 0,-9 17-72 0 0,0 0 0 0 0,0 0-1 0 0,0 0 1 0 0,1 0 0 0 0,-1 0-1 0 0,0 0 1 0 0,0 1 0 0 0,0-1-1 0 0,1 0 1 0 0,-1 0 0 0 0,0 0 0 0 0,0 0-1 0 0,0 0 1 0 0,0 0 0 0 0,1 0-1 0 0,-1 1 1 0 0,0-1 0 0 0,0 0-1 0 0,0 0 1 0 0,0 0 0 0 0,0 0-1 0 0,0 0 1 0 0,1 1 0 0 0,-1-1-1 0 0,0 0 1 0 0,0 0 0 0 0,0 0-1 0 0,0 1 1 0 0,0-1 0 0 0,0 0-1 0 0,0 0 1 0 0,0 0 0 0 0,0 1-1 0 0,0-1 1 0 0,0 0 0 0 0,0 0 0 0 0,0 0-1 0 0,0 1 1 0 0,0-1 0 0 0,0 0-1 0 0,2 38 499 0 0,-2-34-474 0 0,1 166 2099 0 0,-2 163-584 0 0,0-300-1710 0 0,-2 46-2036 0 0,3-27-2233 0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7.5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7 259 348 0 0,'3'2'1257'0'0,"1"0"-817"0"0,0 1 1 0 0,0 0-1 0 0,0 1 1 0 0,0-1 0 0 0,0 0-1 0 0,-1 1 1 0 0,1 0-1 0 0,-1 0 1 0 0,0 0-1 0 0,0 0 1 0 0,3 9-1 0 0,-1-4 74 0 0,-2 1-1 0 0,1 0 0 0 0,-1 0 0 0 0,-1 0 0 0 0,2 14 1 0 0,-1 8 473 0 0,-1-1 0 0 0,-6 60 0 0 0,3-75-790 0 0,1-12 31 0 0,0 0 0 0 0,0 0-1 0 0,0-1 1 0 0,0 1 0 0 0,-1 0-1 0 0,0 0 1 0 0,0-1-1 0 0,0 1 1 0 0,0 0 0 0 0,-3 4-1 0 0,3-6-27 0 0,0-4-146 0 0,-1 0 0 0 0,1-1 0 0 0,-1 1 0 0 0,1 0-1 0 0,0 0 1 0 0,0-1 0 0 0,0 1 0 0 0,-1-6 0 0 0,1 7-47 0 0,-2-11-57 0 0,-1 1-1 0 0,2-1 0 0 0,-1 0 0 0 0,2 0 0 0 0,-1 0 0 0 0,2-16 0 0 0,1-3-367 0 0,6-40 0 0 0,-1 33 106 0 0,2 1-1 0 0,24-67 0 0 0,-25 85 227 0 0,1 0 0 0 0,0 1-1 0 0,2 0 1 0 0,0 1 0 0 0,1 0-1 0 0,1 1 1 0 0,17-20 0 0 0,-24 32 53 0 0,0-1 1 0 0,0 1 0 0 0,0 0 0 0 0,11-6 0 0 0,-14 9 35 0 0,0-1 1 0 0,0 1 0 0 0,1 0 0 0 0,-1 1-1 0 0,0-1 1 0 0,1 0 0 0 0,-1 1 0 0 0,0-1 0 0 0,1 1-1 0 0,-1 0 1 0 0,1 0 0 0 0,-1 0 0 0 0,1 0-1 0 0,-1 0 1 0 0,5 1 0 0 0,-7-1 6 0 0,1 1 0 0 0,0-1 0 0 0,-1 0 0 0 0,1 1 0 0 0,-1-1 0 0 0,1 0 0 0 0,-1 1 0 0 0,1-1 0 0 0,-1 1 0 0 0,1-1 0 0 0,-1 1 0 0 0,1-1 0 0 0,-1 1 0 0 0,0-1 0 0 0,1 1 0 0 0,-1-1 0 0 0,0 1 0 0 0,1-1 0 0 0,-1 1 0 0 0,0 0 0 0 0,0-1 0 0 0,1 1 0 0 0,-1 0 0 0 0,0-1 0 0 0,0 1 0 0 0,0 0 0 0 0,0-1 0 0 0,0 1 0 0 0,0 0 0 0 0,0-1 0 0 0,0 1 0 0 0,0-1 0 0 0,-1 2 0 0 0,-6 21 313 0 0,2-14-243 0 0,-1 0-1 0 0,0-1 1 0 0,0 0-1 0 0,0 0 1 0 0,-1-1-1 0 0,0 1 1 0 0,-1-1-1 0 0,1-1 1 0 0,-1 0-1 0 0,-1 0 1 0 0,-9 6-1 0 0,-18 7-62 0 0,-52 22 0 0 0,78-36-65 0 0,-5 1-410 0 0,-1-1 0 0 0,-26 6 0 0 0,-4-6-3524 0 0,46-5 3829 0 0,-1 0 1 0 0,1 0-1 0 0,-1 0 1 0 0,1 0-1 0 0,-1 0 1 0 0,1 0 0 0 0,-1 0-1 0 0,1 0 1 0 0,-1 0-1 0 0,0 0 1 0 0,1 0-1 0 0,-1 0 1 0 0,1-1-1 0 0,-1 1 1 0 0,1 0-1 0 0,0 0 1 0 0,-1-1-1 0 0,1 1 1 0 0,-1 0-1 0 0,1-1 1 0 0,-1 1-1 0 0,1-1 1 0 0</inkml:trace>
</inkml:ink>
</file>

<file path=ppt/ink/ink5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26.4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4 3416 0 0,'6'8'11571'0'0,"2"-7"-11194"0"0,-1 0-1 0 0,1 0 0 0 0,0-1 0 0 0,0 0 0 0 0,-1-1 1 0 0,1 1-1 0 0,0-1 0 0 0,10-3 0 0 0,16-2 47 0 0,6 2-321 0 0,134-11-1574 0 0,-62 11-8193 0 0</inkml:trace>
</inkml:ink>
</file>

<file path=ppt/ink/ink5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26.7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5 0 2328 0 0,'-20'17'2875'0'0,"10"-9"24"0"0,0 1 0 0 0,-11 13 1 0 0,21-22-2797 0 0,0 0 0 0 0,-1 0-1 0 0,1 1 1 0 0,0-1 0 0 0,0 0 0 0 0,-1 1 0 0 0,1-1 0 0 0,0 0 0 0 0,0 1 0 0 0,0-1 0 0 0,-1 0 0 0 0,1 1 0 0 0,0-1 0 0 0,0 0 0 0 0,0 1 0 0 0,0-1 0 0 0,0 0 0 0 0,0 1 0 0 0,0-1 0 0 0,0 1 0 0 0,0-1 0 0 0,0 0 0 0 0,0 1 0 0 0,0-1 0 0 0,0 0 0 0 0,0 1 0 0 0,0-1 0 0 0,0 1-1 0 0,0-1 1 0 0,0 0 0 0 0,0 1 0 0 0,1-1 0 0 0,-1 0 0 0 0,0 1 0 0 0,0-1 0 0 0,0 0 0 0 0,1 1 0 0 0,15 5 2343 0 0,34 1-694 0 0,0-3 0 0 0,80-3 1 0 0,-79-1-2962 0 0,-5-1-4698 0 0</inkml:trace>
</inkml:ink>
</file>

<file path=ppt/ink/ink5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28.1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 1 976 0 0,'0'0'5175'0'0,"-12"17"2334"0"0,6 11-6590 0 0,2 1 0 0 0,1-1 0 0 0,2 1 0 0 0,0-1 0 0 0,4 31 0 0 0,-1-38-813 0 0,1-1 0 0 0,1 0 0 0 0,1 0 1 0 0,0 0-1 0 0,2-1 0 0 0,0 1 0 0 0,18 33 0 0 0,-18-42-68 0 0,0-2 0 0 0,0 1 0 0 0,0-1 1 0 0,1 0-1 0 0,1 0 0 0 0,0-1 0 0 0,0 0 0 0 0,0-1 0 0 0,1 0 0 0 0,15 8 0 0 0,-19-12-60 0 0,-1 0 0 0 0,1 0 0 0 0,0-1 0 0 0,0 0 0 0 0,0 0 0 0 0,0-1-1 0 0,0 0 1 0 0,0 0 0 0 0,0 0 0 0 0,1-1 0 0 0,-1 0 0 0 0,0 0 0 0 0,0 0 0 0 0,0-1 0 0 0,1 0-1 0 0,-1 0 1 0 0,0-1 0 0 0,0 1 0 0 0,0-1 0 0 0,-1-1 0 0 0,11-4 0 0 0,-5-1-128 0 0,0 0-1 0 0,0 0 1 0 0,-1-1 0 0 0,0 0-1 0 0,-1-1 1 0 0,0 0 0 0 0,0 0-1 0 0,11-19 1 0 0,3-10 210 0 0,22-51 0 0 0,-35 69 234 0 0,-3-1-42 0 0,-7 20-84 0 0,-2 4 97 0 0,-3 3-30 0 0,0 1 0 0 0,0 0 1 0 0,0 0-1 0 0,1 1 0 0 0,0-1 0 0 0,0 1 1 0 0,-4 12-1 0 0,-19 59 1017 0 0,13-34-683 0 0,-39 149 1094 0 0,40-134-2319 0 0,-3-1 0 0 0,-41 99 0 0 0,54-150-84 0 0,-1-1-1 0 0,1 0 1 0 0,-1 0 0 0 0,0 0-1 0 0,-1 0 1 0 0,-5 5 0 0 0,10-11 503 0 0,-1 1 1 0 0,0-1 0 0 0,0 1 0 0 0,0-1-1 0 0,0 0 1 0 0,0 1 0 0 0,0-1-1 0 0,0 0 1 0 0,0 0 0 0 0,0 0 0 0 0,0 0-1 0 0,0 1 1 0 0,0-2 0 0 0,-1 1 0 0 0</inkml:trace>
</inkml:ink>
</file>

<file path=ppt/ink/ink5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28.5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9 0 148 0 0,'-2'2'6187'0'0,"-34"35"-726"0"0,-16 25-1696 0 0,3-3-1434 0 0,23-30-1128 0 0,25-27-818 0 0,-1-12-304 0 0,3 6-84 0 0,1 0 0 0 0,0 0-1 0 0,0 1 1 0 0,0-1 0 0 0,0 1 0 0 0,1-1 0 0 0,-1 1-1 0 0,1 0 1 0 0,0 0 0 0 0,3-3 0 0 0,0-1-12 0 0,-2 3 4 0 0,-1 1-1 0 0,1-1 1 0 0,0 1-1 0 0,0 0 1 0 0,0 0-1 0 0,0 0 0 0 0,1 1 1 0 0,-1-1-1 0 0,1 1 1 0 0,-1 0-1 0 0,1 0 1 0 0,0 1-1 0 0,0 0 1 0 0,0-1-1 0 0,0 2 1 0 0,0-1-1 0 0,0 0 1 0 0,8 1-1 0 0,-3 1-8 0 0,-1 0 0 0 0,0 1-1 0 0,0 0 1 0 0,0 1 0 0 0,0 0-1 0 0,0 0 1 0 0,0 1 0 0 0,-1 0-1 0 0,15 9 1 0 0,0 3-1588 0 0,40 34 0 0 0,-10 0-7646 0 0,-43-41 5039 0 0</inkml:trace>
</inkml:ink>
</file>

<file path=ppt/ink/ink5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47.47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0 1316 0 0,'-1'2'2776'0'0,"-1"2"-2308"0"0,0-1-1 0 0,1 1 1 0 0,-1 0-1 0 0,1 0 1 0 0,0-1-1 0 0,0 1 1 0 0,0 0-1 0 0,1 0 1 0 0,-1 6-1 0 0,3 42 1999 0 0,-1-20-1295 0 0,21 351 5776 0 0,-7-190-6462 0 0,-8-1-3387 0 0,-11-171 1294 0 0</inkml:trace>
</inkml:ink>
</file>

<file path=ppt/ink/ink5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48.3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7 364 1576 0 0,'-5'-18'2160'0'0,"2"9"-1119"0"0,1-1 1 0 0,0 0 0 0 0,0 0 0 0 0,0-17 0 0 0,2 24-943 0 0,0 0 0 0 0,0 0 0 0 0,1 0 0 0 0,-1 0 0 0 0,1 0 0 0 0,0 0 0 0 0,0 0 0 0 0,0 0 0 0 0,0 1 0 0 0,0-1 0 0 0,1 0 0 0 0,-1 1 0 0 0,1-1 0 0 0,0 1 0 0 0,0-1 0 0 0,0 1 0 0 0,0 0 0 0 0,0 0 0 0 0,0 0 0 0 0,5-3 0 0 0,6-3 18 0 0,0 1-1 0 0,0 0 1 0 0,1 1 0 0 0,-1 0 0 0 0,21-5 0 0 0,77-13 138 0 0,-78 18-182 0 0,717-100 315 0 0,-731 104-377 0 0,298-31 1664 0 0,-233 28-335 0 0,-81 5-1273 0 0,12 3 410 0 0,-14-3-419 0 0,1 1 0 0 0,0-1 0 0 0,-1 1 0 0 0,0 0 0 0 0,1 0 0 0 0,-1 0 0 0 0,1 0 0 0 0,-1 0 0 0 0,0 0 0 0 0,0 0 0 0 0,1 0 0 0 0,-1 1 0 0 0,0-1 0 0 0,0 0 0 0 0,0 1 0 0 0,-1-1 0 0 0,1 1 0 0 0,0-1 0 0 0,1 3 0 0 0,9 33 562 0 0,-8-26-441 0 0,9 41 341 0 0,-1 1 0 0 0,4 69 1 0 0,-5-36-128 0 0,26 337 671 0 0,-37-378-1035 0 0,-2-1 0 0 0,-1 1 1 0 0,-3-1-1 0 0,-19 68 0 0 0,22-101-26 0 0,0 0 1 0 0,-1-1-1 0 0,0 1 1 0 0,-1-1-1 0 0,0 0 1 0 0,-1-1-1 0 0,0 0 0 0 0,0 0 1 0 0,-1 0-1 0 0,0-1 1 0 0,-18 14-1 0 0,1-3 3 0 0,-2-1 0 0 0,0-1 0 0 0,-32 14 0 0 0,32-19 2 0 0,-1-1 0 0 0,0-2-1 0 0,0-1 1 0 0,-1 0 0 0 0,0-3-1 0 0,-35 4 1 0 0,-182-3-16 0 0,55-3-52 0 0,104 2 57 0 0,-176 8-21 0 0,222-13 41 0 0,38 0-44 0 0,-1-1 30 0 0,0 1-13 0 0,0 0 0 0 0,-1-1 0 0 0,1 1 0 0 0,0-1-1 0 0,0 0 1 0 0,-1-1 0 0 0,1 1 0 0 0,0-1 0 0 0,0 1 0 0 0,1-1-1 0 0,-1-1 1 0 0,0 1 0 0 0,0 0 0 0 0,1-1 0 0 0,0 0 0 0 0,-1 1 0 0 0,1-1-1 0 0,0-1 1 0 0,1 1 0 0 0,-1 0 0 0 0,0-1 0 0 0,1 1 0 0 0,0-1-1 0 0,-3-5 1 0 0,-7-21 6 0 0,2-1 1 0 0,1 0-1 0 0,-10-63 0 0 0,12 36-2142 0 0,2-76 0 0 0,5 133 1514 0 0,0-1 0 0 0,0 0 0 0 0,0 0 1 0 0,1 0-1 0 0,-1 0 0 0 0,1 0 0 0 0,-1 1 0 0 0,1-1 0 0 0,0 0 0 0 0,-1 0 0 0 0,1 1 0 0 0,2-3 0 0 0</inkml:trace>
</inkml:ink>
</file>

<file path=ppt/ink/ink5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52.83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25 13 460 0 0,'-3'0'1187'0'0,"-41"-3"2433"0"0,41 3-3162 0 0,0-1-70 0 0,-2 0-245 0 0,7 0 84 0 0,17-1 355 0 0,33-1 190 0 0,1080 5 1369 0 0,-1068 0-121 0 0,-61-2-1706 0 0,0 0-217 0 0,9 2-4 0 0,-9-2-59 0 0,8 5 97 0 0,-8 4-41 0 0,0 0-1 0 0,-1 0 1 0 0,1 1-1 0 0,-2-1 1 0 0,0 0 0 0 0,0 1-1 0 0,0-1 1 0 0,-2 16-1 0 0,2 17 97 0 0,14 173 604 0 0,15 170 253 0 0,-13-136-843 0 0,-16-177-40 0 0,-12 105 0 0 0,8-149-127 0 0,3-21 128 0 0,0-1 1 0 0,-1 1-1 0 0,1 0 1 0 0,-2 0-1 0 0,1-1 1 0 0,-1 1-1 0 0,0-1 1 0 0,0 1-1 0 0,-1-1 0 0 0,0 0 1 0 0,-5 9-1 0 0,6-13-119 0 0,-1 0 0 0 0,0 0 0 0 0,1 0 0 0 0,-1 0 0 0 0,0 0 0 0 0,0-1 0 0 0,0 1-1 0 0,0-1 1 0 0,0 0 0 0 0,-1 0 0 0 0,1 0 0 0 0,0-1 0 0 0,-1 1 0 0 0,1-1 0 0 0,0 1-1 0 0,-5-1 1 0 0,-344 6 215 0 0,203-8-200 0 0,-445-2-80 0 0,580 4 33 0 0,-239-7 23 0 0,246 7-22 0 0,1-1 0 0 0,0 0 0 0 0,-1 0 0 0 0,1-1 1 0 0,0 1-1 0 0,0-1 0 0 0,-8-4 0 0 0,12 4-9 0 0,0 1 0 0 0,-1-1 0 0 0,1 1 0 0 0,0-1 0 0 0,0 0 0 0 0,0 0 0 0 0,1 0 0 0 0,-1 0 0 0 0,0 0 0 0 0,1 0 0 0 0,-1 0 0 0 0,1-1 0 0 0,0 1 0 0 0,0-1 0 0 0,0 1 0 0 0,0-1 0 0 0,0 1 0 0 0,0-1 0 0 0,1 1 0 0 0,-1-1 0 0 0,1-4 0 0 0,-1-21 12 0 0,2 1 1 0 0,1 0-1 0 0,2 0 1 0 0,11-46-1 0 0,0-7 5 0 0,15-213-324 0 0,-29 268 275 0 0,-2-456-233 0 0,-1 425 252 0 0,-4-37 12 0 0,5 82-1 0 0,1-1 1 0 0,0-18-1 0 0,1 9 22 0 0,-1 19-28 0 0,1-27-522 0 0,2 31 519 0 0,0 0 1 0 0,1 0-1 0 0,-1-1 0 0 0,0 1 0 0 0,1-1 1 0 0,-1 0-1 0 0,1 0 0 0 0,-1 0 0 0 0,8 1 1 0 0,38 2-607 0 0,11-2-541 0 0,134 8-4251 0 0,-137-2 78 0 0,-41-5 2194 0 0</inkml:trace>
</inkml:ink>
</file>

<file path=ppt/ink/ink5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56.2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77 123 372 0 0,'0'0'1048'0'0,"0"-2"-83"0"0,1-8 3 0 0,0 0 1 0 0,-1 0-1 0 0,0 0 1 0 0,-1 0-1 0 0,0 1 1 0 0,0-1-1 0 0,-1 0 1 0 0,-4-13-1 0 0,5 21-946 0 0,0 1 0 0 0,0 0 0 0 0,0-1 0 0 0,-1 1 0 0 0,1 0 0 0 0,0 0-1 0 0,0 0 1 0 0,-1 0 0 0 0,1 0 0 0 0,-1 0 0 0 0,1 0 0 0 0,-1 0 0 0 0,1 0 0 0 0,-1 1 0 0 0,1-1 0 0 0,-1 1 0 0 0,0-1 0 0 0,1 1 0 0 0,-1-1-1 0 0,0 1 1 0 0,1 0 0 0 0,-1 0 0 0 0,0 0 0 0 0,-1 0 0 0 0,-17 1 72 0 0,1 0 0 0 0,-1 1 0 0 0,1 0 0 0 0,0 2 0 0 0,0 1 0 0 0,1 0 0 0 0,-1 1 0 0 0,1 1 0 0 0,0 0 0 0 0,1 2 0 0 0,0 0 0 0 0,-30 22 0 0 0,44-29-85 0 0,0 0-1 0 0,0 0 1 0 0,0 1-1 0 0,1-1 1 0 0,-1 1-1 0 0,1 0 0 0 0,0-1 1 0 0,0 1-1 0 0,0 0 1 0 0,0 0-1 0 0,0 1 1 0 0,1-1-1 0 0,-1 0 1 0 0,1 0-1 0 0,0 1 1 0 0,0-1-1 0 0,0 1 1 0 0,1-1-1 0 0,-1 1 1 0 0,0 5-1 0 0,2-5 0 0 0,0 1 0 0 0,0-1 0 0 0,0 1 0 0 0,1-1 0 0 0,-1 0 1 0 0,1 0-1 0 0,0 0 0 0 0,0 1 0 0 0,0-2 0 0 0,1 1 0 0 0,-1 0 0 0 0,1 0 0 0 0,0-1 0 0 0,0 0 0 0 0,6 6 1 0 0,21 15 3 0 0,0-1 1 0 0,2-1 0 0 0,37 19 0 0 0,15 11-43 0 0,31 30-5 0 0,-101-70 35 0 0,-1-1 1 0 0,0 2 0 0 0,-1 0 0 0 0,0 0-1 0 0,18 29 1 0 0,-28-39 47 0 0,0 0 0 0 0,-1 0-1 0 0,1 0 1 0 0,-1 1 0 0 0,1-1-1 0 0,-1 0 1 0 0,0 0 0 0 0,-1 1 0 0 0,1-1-1 0 0,0 1 1 0 0,-1-1 0 0 0,0 0-1 0 0,0 1 1 0 0,0-1 0 0 0,0 1 0 0 0,0-1-1 0 0,-1 1 1 0 0,1-1 0 0 0,-1 1-1 0 0,0-1 1 0 0,0 0 0 0 0,-1 0-1 0 0,1 1 1 0 0,-1-1 0 0 0,1 0 0 0 0,-1 0-1 0 0,0 0 1 0 0,0-1 0 0 0,0 1-1 0 0,0 0 1 0 0,-1-1 0 0 0,1 1 0 0 0,-1-1-1 0 0,0 0 1 0 0,1 0 0 0 0,-5 2-1 0 0,-6 4 182 0 0,-1 0 1 0 0,1-1-1 0 0,-2-1 0 0 0,1 0 0 0 0,-1-1 0 0 0,-26 6 0 0 0,3-4-316 0 0,0-2-1 0 0,0-2 1 0 0,0-1-1 0 0,-1-2 1 0 0,1-2-1 0 0,-56-9 0 0 0,90 10-369 0 0,1 1-1 0 0,0-1 1 0 0,-1 0-1 0 0,1 0 0 0 0,0 0 1 0 0,0-1-1 0 0,0 1 1 0 0,0-1-1 0 0,0 0 0 0 0,-4-2 1 0 0,15-13-4838 0 0,4 5 2102 0 0</inkml:trace>
</inkml:ink>
</file>

<file path=ppt/ink/ink5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56.85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38 51 348 0 0,'0'-1'370'0'0,"9"-24"3077"0"0,-9 24-3368 0 0,0 1 0 0 0,1-1 0 0 0,-1 0 0 0 0,0 1 0 0 0,0-1 1 0 0,0 0-1 0 0,0 1 0 0 0,0-1 0 0 0,0 0 0 0 0,0 0 0 0 0,0 1 0 0 0,0-1 0 0 0,0 0 0 0 0,0 1 0 0 0,0-1 0 0 0,0 0 0 0 0,-1 0 1 0 0,1 1-1 0 0,0-1 0 0 0,-1 0 0 0 0,1 1 0 0 0,0-1 0 0 0,-1 1 0 0 0,1-1 0 0 0,-1 0 0 0 0,1 1 0 0 0,-1-1 0 0 0,1 1 1 0 0,-1-1-1 0 0,1 1 0 0 0,-1 0 0 0 0,1-1 0 0 0,-2 0 0 0 0,-5 0 111 0 0,1 0 0 0 0,-1 1 0 0 0,0-1 0 0 0,1 2 1 0 0,-1-1-1 0 0,0 0 0 0 0,1 1 0 0 0,-1 1 0 0 0,0-1 0 0 0,1 1 0 0 0,0 0 0 0 0,-1 0 1 0 0,1 1-1 0 0,0 0 0 0 0,0 0 0 0 0,0 0 0 0 0,1 1 0 0 0,-6 4 0 0 0,1-1-105 0 0,0 1 0 0 0,0 0-1 0 0,1 0 1 0 0,0 1-1 0 0,1 0 1 0 0,0 1 0 0 0,1 0-1 0 0,-1 0 1 0 0,-5 14-1 0 0,9-16-54 0 0,1 0-1 0 0,0 0 1 0 0,0 1-1 0 0,1-1 1 0 0,0 1-1 0 0,1-1 1 0 0,0 1-1 0 0,0 0 1 0 0,1 0-1 0 0,1 14 1 0 0,-1-19-13 0 0,1 0 1 0 0,-1-1 0 0 0,1 1-1 0 0,0 0 1 0 0,0 0 0 0 0,1-1-1 0 0,-1 1 1 0 0,1-1-1 0 0,-1 1 1 0 0,1-1 0 0 0,0 1-1 0 0,0-1 1 0 0,1 0 0 0 0,-1 0-1 0 0,1 0 1 0 0,-1-1-1 0 0,1 1 1 0 0,0 0 0 0 0,0-1-1 0 0,0 0 1 0 0,1 0 0 0 0,-1 0-1 0 0,0 0 1 0 0,1 0-1 0 0,6 2 1 0 0,-7-4-9 0 0,1 1 1 0 0,-1-1-1 0 0,1 0 0 0 0,-1 0 0 0 0,1 0 1 0 0,-1 0-1 0 0,1 0 0 0 0,-1-1 0 0 0,1 0 1 0 0,-1 0-1 0 0,1 0 0 0 0,-1 0 0 0 0,0 0 0 0 0,0-1 1 0 0,0 1-1 0 0,1-1 0 0 0,-2 0 0 0 0,5-2 1 0 0,5-5 28 0 0,-1 0 1 0 0,18-19-1 0 0,-29 27-36 0 0,81-96 1730 0 0,-79 95-1539 0 0,-2 3-191 0 0,0-1 0 0 0,0 0 0 0 0,0 0 0 0 0,0 0 0 0 0,0 1 0 0 0,0-1 0 0 0,1 0 0 0 0,-1 0-1 0 0,0 0 1 0 0,0 0 0 0 0,0 1 0 0 0,0-1 0 0 0,0 0 0 0 0,1 0 0 0 0,-1 0 0 0 0,0 0 0 0 0,0 1 0 0 0,0-1 0 0 0,1 0-1 0 0,-1 0 1 0 0,0 0 0 0 0,0 0 0 0 0,0 0 0 0 0,1 0 0 0 0,-1 0 0 0 0,0 0 0 0 0,0 0 0 0 0,0 0 0 0 0,1 0 0 0 0,-1 0-1 0 0,0 0 1 0 0,1 0 0 0 0,-1 0-1 0 0,0 0 0 0 0,1 0-1 0 0,-1 0 1 0 0,0 0 0 0 0,1 0-1 0 0,-1 1 1 0 0,0-1 0 0 0,1 0-1 0 0,-1 0 1 0 0,0 0 0 0 0,1 0-1 0 0,-1 0 1 0 0,0 0-1 0 0,0 1 1 0 0,1-1 0 0 0,-1 0-1 0 0,0 0 1 0 0,1 1 0 0 0,-1-1-1 0 0,0 0 1 0 0,0 0 0 0 0,0 1-1 0 0,1-1 1 0 0,-1 0 0 0 0,0 0-1 0 0,0 1 1 0 0,0-1 0 0 0,0 0-1 0 0,1 1 1 0 0,-1-1 0 0 0,0 0-1 0 0,0 1 1 0 0,0-1 0 0 0,0 0-1 0 0,0 1 1 0 0,9 148-361 0 0,-2-65-2448 0 0,-6-69 1771 0 0,2 22-4510 0 0,-1-28 3303 0 0</inkml:trace>
</inkml:ink>
</file>

<file path=ppt/ink/ink5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57.40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79 1476 0 0,'10'-11'2490'0'0,"-7"12"-1280"0"0,1 1-900 0 0,0 0 1 0 0,0 1-1 0 0,0 0 1 0 0,0-1-1 0 0,0 1 1 0 0,-1 1-1 0 0,1-1 1 0 0,-1 1-1 0 0,0-1 0 0 0,0 1 1 0 0,0 0-1 0 0,-1 0 1 0 0,1 0-1 0 0,-1 0 1 0 0,2 7-1 0 0,7 12 831 0 0,10 37 0 0 0,-5-13 148 0 0,0 0 1304 0 0,19 98 1282 0 0,-44-153-3520 0 0,7 1-360 0 0,0 0-1 0 0,0 0 1 0 0,0-1-1 0 0,1 1 1 0 0,0-1-1 0 0,0 1 1 0 0,1 0-1 0 0,0-1 1 0 0,2-10-1 0 0,-2 9-4 0 0,1-8-86 0 0,1-1 0 0 0,1 0 0 0 0,0 1 0 0 0,10-30-1 0 0,-10 39 45 0 0,0 0 0 0 0,0 0 0 0 0,1 0-1 0 0,0 1 1 0 0,0 0 0 0 0,1 0 0 0 0,0 0-1 0 0,0 0 1 0 0,1 0 0 0 0,0 1 0 0 0,12-10-1 0 0,-15 14 37 0 0,-1 0-1 0 0,1 1 1 0 0,0-1 0 0 0,0 1-1 0 0,0-1 1 0 0,0 1-1 0 0,0 0 1 0 0,0 0-1 0 0,1 1 1 0 0,-1-1-1 0 0,0 1 1 0 0,0-1-1 0 0,1 1 1 0 0,-1 0-1 0 0,0 0 1 0 0,5 1-1 0 0,-3 0 3 0 0,-1 0-1 0 0,1 1 0 0 0,0-1 0 0 0,0 1 1 0 0,-1 0-1 0 0,1 1 0 0 0,-1-1 1 0 0,1 1-1 0 0,5 5 0 0 0,0 1 8 0 0,-1 0-1 0 0,0 0 0 0 0,0 1 1 0 0,-1 0-1 0 0,0 0 1 0 0,-1 1-1 0 0,8 15 0 0 0,-7-9 259 0 0,-1 0-1 0 0,0 0 1 0 0,-1 1-1 0 0,6 26 1 0 0,-12-41 277 0 0,-7-7-416 0 0,6 4-104 0 0,1 0 1 0 0,-1-1-1 0 0,0 1 1 0 0,0 0 0 0 0,0-1-1 0 0,0 1 1 0 0,0-1-1 0 0,1 1 1 0 0,-1-1 0 0 0,0 1-1 0 0,0-1 1 0 0,1 0-1 0 0,-1 0 1 0 0,0 1 0 0 0,1-1-1 0 0,-1 0 1 0 0,1 0-1 0 0,-1 1 1 0 0,1-1 0 0 0,-1 0-1 0 0,1 0 1 0 0,0 0-1 0 0,-1 0 1 0 0,1 0 0 0 0,0 0-1 0 0,0 0 1 0 0,0-1-1 0 0,-2-10-1 0 0,0 1-1 0 0,1 0 0 0 0,1 0 0 0 0,0 0 1 0 0,1-1-1 0 0,0 1 0 0 0,0 0 1 0 0,1 0-1 0 0,5-14 0 0 0,-5 16-43 0 0,1 1 0 0 0,0 0 0 0 0,0 0 0 0 0,1 0 0 0 0,0 0 0 0 0,1 1-1 0 0,0 0 1 0 0,0 0 0 0 0,0 0 0 0 0,1 0 0 0 0,0 1 0 0 0,9-8 0 0 0,-13 12 10 0 0,1 1 1 0 0,-1 0-1 0 0,0-1 0 0 0,1 1 1 0 0,-1 0-1 0 0,1 0 0 0 0,-1 0 1 0 0,1 0-1 0 0,0 1 0 0 0,-1-1 1 0 0,1 1-1 0 0,0 0 0 0 0,-1-1 1 0 0,1 1-1 0 0,0 0 0 0 0,3 1 1 0 0,-1 0 4 0 0,0 0 1 0 0,-1 0-1 0 0,1 1 1 0 0,0 0 0 0 0,-1 0-1 0 0,1 0 1 0 0,-1 0-1 0 0,6 5 1 0 0,1 2-10 0 0,0 0 1 0 0,0 1-1 0 0,-1 0 1 0 0,-1 0 0 0 0,13 18-1 0 0,53 77-2164 0 0,-74-104 2186 0 0,1 0 1 0 0,-1 0-1 0 0,1-1 0 0 0,-1 1 0 0 0,1 0 0 0 0,-1-1 0 0 0,1 0 0 0 0,0 1 0 0 0,-1-1 0 0 0,1 0 1 0 0,0 1-1 0 0,-1-1 0 0 0,1 0 0 0 0,0 0 0 0 0,-1-1 0 0 0,1 1 0 0 0,0 0 0 0 0,-1 0 1 0 0,1-1-1 0 0,0 1 0 0 0,-1-1 0 0 0,1 0 0 0 0,-1 1 0 0 0,4-3 0 0 0,14-10 11 0 0,7-6-25 0 0,0 0-1 0 0,32-33 1 0 0,-50 44 3 0 0,-1-1 0 0 0,0 0 0 0 0,0 0 0 0 0,-1 0 1 0 0,0-1-1 0 0,-1 0 0 0 0,0 0 0 0 0,0-1 0 0 0,-1 1 0 0 0,5-21 1 0 0,-9 30 12 0 0,1-1 1 0 0,-1 0-1 0 0,0 0 0 0 0,0 0 1 0 0,0 0-1 0 0,0 0 1 0 0,0 0-1 0 0,0 0 1 0 0,0 0-1 0 0,0 0 1 0 0,-1 0-1 0 0,1 0 1 0 0,-1 0-1 0 0,1 0 1 0 0,-1 0-1 0 0,0 0 1 0 0,0 1-1 0 0,0-1 1 0 0,0 0-1 0 0,0 0 1 0 0,0 1-1 0 0,-1-1 1 0 0,1 1-1 0 0,0-1 1 0 0,-1 1-1 0 0,1 0 1 0 0,-1 0-1 0 0,0-1 1 0 0,1 1-1 0 0,-1 0 1 0 0,0 0-1 0 0,0 0 0 0 0,1 1 1 0 0,-4-2-1 0 0,0 1-5 0 0,0-1 0 0 0,0 1 0 0 0,0 0 0 0 0,0 0 0 0 0,0 1 0 0 0,0 0 0 0 0,-1 0 0 0 0,1 0 1 0 0,0 0-1 0 0,0 1 0 0 0,0 0 0 0 0,-6 2 0 0 0,1 0 17 0 0,0 1 1 0 0,0 1-1 0 0,0-1 1 0 0,1 2-1 0 0,-1-1 1 0 0,1 2-1 0 0,1-1 1 0 0,-1 1-1 0 0,1 0 1 0 0,0 1-1 0 0,-12 15 1 0 0,17-20 5 0 0,1 1 0 0 0,-1 0 1 0 0,1 0-1 0 0,0-1 1 0 0,0 1-1 0 0,0 1 0 0 0,0-1 1 0 0,1 0-1 0 0,0 0 1 0 0,0 1-1 0 0,0-1 0 0 0,0 0 1 0 0,1 1-1 0 0,-1-1 1 0 0,1 1-1 0 0,0-1 0 0 0,1 1 1 0 0,-1-1-1 0 0,1 1 1 0 0,0-1-1 0 0,0 0 0 0 0,0 1 1 0 0,1-1-1 0 0,-1 0 0 0 0,1 0 1 0 0,0 0-1 0 0,0 0 1 0 0,1 0-1 0 0,-1-1 0 0 0,1 1 1 0 0,3 3-1 0 0,1 1-153 0 0,1-1-1 0 0,0 0 1 0 0,0 0-1 0 0,0-1 1 0 0,1 0-1 0 0,0 0 1 0 0,0-1-1 0 0,0-1 0 0 0,17 7 1 0 0,-11-6-1383 0 0,0-1 0 0 0,1 0 0 0 0,-1-1 0 0 0,0-1 0 0 0,30 1 0 0 0,-26-3-2600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1.88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 286 76 0 0,'102'-66'6304'0'0,"4"-4"-3520"0"0,-93 60-2491 0 0,0 0 0 0 0,-1-2 0 0 0,0 1-1 0 0,-1-1 1 0 0,16-23 0 0 0,-26 33-253 0 0,1-1 0 0 0,0 0 0 0 0,-1 1 0 0 0,0-1-1 0 0,1 0 1 0 0,-1 0 0 0 0,0 0 0 0 0,0 0 0 0 0,0-3 0 0 0,-1 4-21 0 0,0 1 0 0 0,0 0 0 0 0,0 0 0 0 0,0-1 0 0 0,0 1 0 0 0,-1 0 0 0 0,1 0 0 0 0,0-1 1 0 0,-1 1-1 0 0,1 0 0 0 0,-1 0 0 0 0,1 0 0 0 0,-1 0 0 0 0,1 0 0 0 0,-1 0 0 0 0,0 0 0 0 0,0 0 0 0 0,1 0 0 0 0,-1 0 0 0 0,0 0 0 0 0,0 0 0 0 0,-2-1 0 0 0,-4 1 175 0 0,-6 4-44 0 0,-1 0-1 0 0,1 1 0 0 0,1 1 1 0 0,-1 0-1 0 0,1 0 0 0 0,0 1 1 0 0,0 1-1 0 0,0 0 0 0 0,1 1 0 0 0,-13 11 1 0 0,8-6 42 0 0,0 2 1 0 0,1 0-1 0 0,1 1 1 0 0,0 0 0 0 0,1 1-1 0 0,-11 20 1 0 0,19-28-123 0 0,0 0 1 0 0,1 1 0 0 0,0 0-1 0 0,0 0 1 0 0,1 0 0 0 0,1 0-1 0 0,0 0 1 0 0,0 1 0 0 0,1-1-1 0 0,0 20 1 0 0,1-25-76 0 0,0 1-1 0 0,1 0 1 0 0,0-1 0 0 0,0 1-1 0 0,1-1 1 0 0,-1 1 0 0 0,1-1-1 0 0,0 0 1 0 0,1 1 0 0 0,-1-1-1 0 0,1 0 1 0 0,0-1 0 0 0,0 1-1 0 0,1 0 1 0 0,-1-1 0 0 0,1 0-1 0 0,0 0 1 0 0,0 0 0 0 0,0 0-1 0 0,1 0 1 0 0,6 3 0 0 0,-4-3-368 0 0,1 0 0 0 0,-1 0 0 0 0,1-1 0 0 0,0 0 0 0 0,0 0 0 0 0,0-1 0 0 0,0 0 0 0 0,1-1 0 0 0,-1 1 1 0 0,17-1-1 0 0,-18-1-250 0 0,0-1 1 0 0,0 0-1 0 0,1 0 1 0 0,-1-1-1 0 0,0 0 1 0 0,0 0-1 0 0,0 0 1 0 0,8-5 0 0 0,14-8-2873 0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7.8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160 0 0,'4'1'1911'0'0,"1"2"-1434"0"0,0 0 0 0 0,0 0 0 0 0,-1 1 0 0 0,1-1 0 0 0,-1 1 0 0 0,0 0 0 0 0,1 0 0 0 0,-2 1 0 0 0,1-1 0 0 0,-1 1 1 0 0,1 0-1 0 0,-1 0 0 0 0,0 0 0 0 0,4 11 0 0 0,2 8 532 0 0,-1 1 0 0 0,6 30-1 0 0,1 2-192 0 0,-2-11-1305 0 0,12 90 0 0 0,-20-103-1716 0 0,1-15-2442 0 0</inkml:trace>
</inkml:ink>
</file>

<file path=ppt/ink/ink6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58.19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28 26 1264 0 0,'-3'-13'3924'0'0,"3"12"-3827"0"0,-1 0 0 0 0,1 1 0 0 0,0-1 0 0 0,-1 0 0 0 0,1 1 1 0 0,-1-1-1 0 0,1 0 0 0 0,-1 1 0 0 0,1-1 0 0 0,-1 1 0 0 0,1-1 0 0 0,-1 1 0 0 0,1-1 0 0 0,-1 1 1 0 0,0-1-1 0 0,1 1 0 0 0,-1-1 0 0 0,0 1 0 0 0,1 0 0 0 0,-1-1 0 0 0,0 1 0 0 0,0 0 1 0 0,1 0-1 0 0,-1 0 0 0 0,0 0 0 0 0,0-1 0 0 0,0 1 0 0 0,-1 1 24 0 0,0-1 0 0 0,0 0 0 0 0,1 1-1 0 0,-1 0 1 0 0,0-1 0 0 0,1 1 0 0 0,-1 0-1 0 0,1 0 1 0 0,-1 0 0 0 0,1 0 0 0 0,-3 2 0 0 0,-2 2 129 0 0,0 1 1 0 0,1 0 0 0 0,0 0 0 0 0,-8 13-1 0 0,5-6-67 0 0,1 0-1 0 0,1 0 1 0 0,0 1-1 0 0,1 0 0 0 0,1 0 1 0 0,0 1-1 0 0,0-1 1 0 0,2 1-1 0 0,0 0 1 0 0,0-1-1 0 0,2 1 1 0 0,0 0-1 0 0,3 25 0 0 0,-2-30-124 0 0,1 0 0 0 0,1-1 0 0 0,-1 1 0 0 0,2-1-1 0 0,-1 1 1 0 0,1-1 0 0 0,0 0 0 0 0,1 0 0 0 0,0-1-1 0 0,1 0 1 0 0,0 0 0 0 0,0 0 0 0 0,1 0 0 0 0,-1-1-1 0 0,2 0 1 0 0,-1 0 0 0 0,1-1 0 0 0,0 0 0 0 0,0-1-1 0 0,1 1 1 0 0,9 3 0 0 0,-9-5-27 0 0,0-1 0 0 0,0 0-1 0 0,0-1 1 0 0,0 0 0 0 0,0-1 0 0 0,1 0-1 0 0,-1 0 1 0 0,1-1 0 0 0,-1 0 0 0 0,0 0-1 0 0,1-1 1 0 0,-1 0 0 0 0,0-1 0 0 0,0 0-1 0 0,10-4 1 0 0,-3 0-36 0 0,0 0 0 0 0,0-1-1 0 0,-1-1 1 0 0,1 0-1 0 0,-2-1 1 0 0,1-1 0 0 0,16-14-1 0 0,-17 10-66 0 0,1 0-1 0 0,-2-1 0 0 0,22-30 1 0 0,-28 35 30 0 0,-1-1 0 0 0,0 1 0 0 0,0-2 0 0 0,-1 1 0 0 0,0 0 0 0 0,-1-1 0 0 0,4-16 0 0 0,-8 25 24 0 0,0 0 0 0 0,1 0 0 0 0,-1 0 0 0 0,0 1 0 0 0,0-1 0 0 0,-1 0 0 0 0,1 0 0 0 0,0 0 0 0 0,-1 1 0 0 0,-1-4 0 0 0,2 5 14 0 0,0 0 1 0 0,-1 0-1 0 0,1 0 1 0 0,-1 0 0 0 0,1 1-1 0 0,-1-1 1 0 0,0 0-1 0 0,1 0 1 0 0,-1 1-1 0 0,0-1 1 0 0,0 0-1 0 0,1 1 1 0 0,-1-1-1 0 0,0 1 1 0 0,0-1 0 0 0,0 1-1 0 0,0-1 1 0 0,0 1-1 0 0,1 0 1 0 0,-1-1-1 0 0,0 1 1 0 0,0 0-1 0 0,0 0 1 0 0,0-1-1 0 0,0 1 1 0 0,0 0 0 0 0,0 0-1 0 0,0 0 1 0 0,0 0-1 0 0,0 1 1 0 0,0-1-1 0 0,0 0 1 0 0,0 0-1 0 0,-1 1 1 0 0,-2 0 0 0 0,1 0 1 0 0,-1 0-1 0 0,0 0 1 0 0,1 1-1 0 0,-1-1 1 0 0,1 1-1 0 0,0 0 1 0 0,0 0-1 0 0,0 0 1 0 0,0 0-1 0 0,0 1 1 0 0,0-1-1 0 0,0 1 1 0 0,1 0-1 0 0,-1 0 1 0 0,1 0-1 0 0,0 0 1 0 0,0 0-1 0 0,0 0 0 0 0,0 0 1 0 0,1 1-1 0 0,-1-1 1 0 0,1 1-1 0 0,0-1 1 0 0,-1 7-1 0 0,1-5 27 0 0,0 0-1 0 0,1 1 1 0 0,0-1-1 0 0,0 0 1 0 0,1 0-1 0 0,-1 1 1 0 0,1-1-1 0 0,0 0 1 0 0,0 0-1 0 0,1 0 1 0 0,0 0-1 0 0,0 0 1 0 0,0 0-1 0 0,0-1 1 0 0,1 1-1 0 0,-1-1 1 0 0,1 1-1 0 0,7 7 1 0 0,-4-7 60 0 0,0 0 1 0 0,0 0 0 0 0,1 0 0 0 0,0-1 0 0 0,-1 0 0 0 0,1 0-1 0 0,1-1 1 0 0,-1 0 0 0 0,0 0 0 0 0,1-1 0 0 0,0 0 0 0 0,-1 0-1 0 0,1-1 1 0 0,0 1 0 0 0,0-2 0 0 0,14 0 0 0 0,-17 0-34 0 0,0 0 0 0 0,0-1 1 0 0,0 0-1 0 0,-1 0 0 0 0,1 0 1 0 0,0 0-1 0 0,0-1 0 0 0,-1 0 1 0 0,1 0-1 0 0,-1 0 0 0 0,1-1 1 0 0,4-3-1 0 0,-6 4-35 0 0,-1-1-1 0 0,1 1 1 0 0,-1-1-1 0 0,1 0 0 0 0,-1 0 1 0 0,0 0-1 0 0,0 0 1 0 0,0-1-1 0 0,0 1 1 0 0,-1 0-1 0 0,1-1 1 0 0,-1 1-1 0 0,0-1 1 0 0,0 0-1 0 0,0 1 1 0 0,0-1-1 0 0,-1-6 1 0 0,0 6-106 0 0,0-1 0 0 0,-1 1 1 0 0,1 0-1 0 0,-1-1 0 0 0,0 1 1 0 0,0 0-1 0 0,-1 0 0 0 0,0 0 0 0 0,1 0 1 0 0,-1 0-1 0 0,-1 0 0 0 0,1 0 1 0 0,0 1-1 0 0,-1-1 0 0 0,0 1 0 0 0,0-1 1 0 0,0 1-1 0 0,0 0 0 0 0,0 0 0 0 0,-1 1 1 0 0,1-1-1 0 0,-7-2 0 0 0,-7-6-1575 0 0,0 1 1 0 0,-2 1-1 0 0,-26-9 0 0 0,31 12-1702 0 0,2-3 1152 0 0</inkml:trace>
</inkml:ink>
</file>

<file path=ppt/ink/ink6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2:58.79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48 912 0 0,'6'2'433'0'0,"0"-1"-1"0"0,0 1 1 0 0,0 1-1 0 0,-1-1 1 0 0,1 1-1 0 0,-1 0 0 0 0,1 0 1 0 0,-1 1-1 0 0,0-1 1 0 0,0 1-1 0 0,-1 0 1 0 0,1 1-1 0 0,-1-1 1 0 0,0 1-1 0 0,0 0 1 0 0,5 8-1 0 0,2 4 413 0 0,-1 0 0 0 0,0 1 0 0 0,12 35 0 0 0,-6-3 1128 0 0,9 53 1 0 0,-22-127 832 0 0,15-100-2801 0 0,-13 104-46 0 0,1 0-1 0 0,1 0 1 0 0,13-24-1 0 0,-17 37 24 0 0,1 0 0 0 0,0 1-1 0 0,0-1 1 0 0,0 1 0 0 0,1 0 0 0 0,0 1 0 0 0,1-1 0 0 0,-1 1-1 0 0,1 0 1 0 0,0 0 0 0 0,0 1 0 0 0,7-5 0 0 0,-10 8 19 0 0,-1 1 0 0 0,0-1 0 0 0,1 1 1 0 0,-1-1-1 0 0,0 1 0 0 0,1 0 0 0 0,-1 0 0 0 0,0 0 1 0 0,1 0-1 0 0,-1 1 0 0 0,0-1 0 0 0,1 0 0 0 0,-1 1 1 0 0,0 0-1 0 0,0-1 0 0 0,1 1 0 0 0,-1 0 0 0 0,2 2 1 0 0,4 1 12 0 0,-1 0 1 0 0,0 0-1 0 0,9 9 1 0 0,5 6-575 0 0,-2 2 0 0 0,-1 0 0 0 0,0 2 0 0 0,-2-1 0 0 0,19 34 0 0 0,0 0-4547 0 0,-30-83 141 0 0,-2-6 5248 0 0,0 0-1 0 0,11-41 0 0 0,-12 67-7 0 0,1 0 1 0 0,-1 1-1 0 0,1 0 0 0 0,0-1 1 0 0,0 1-1 0 0,1 0 0 0 0,6-8 1 0 0,-9 13-202 0 0,1 0 1 0 0,-1 0 0 0 0,0 1 0 0 0,0-1-1 0 0,0 0 1 0 0,0 1 0 0 0,1-1 0 0 0,-1 0-1 0 0,0 1 1 0 0,1 0 0 0 0,-1-1-1 0 0,0 1 1 0 0,1 0 0 0 0,-1-1 0 0 0,0 1-1 0 0,1 0 1 0 0,-1 0 0 0 0,0 0-1 0 0,1 0 1 0 0,-1 1 0 0 0,1-1 0 0 0,-1 0-1 0 0,2 1 1 0 0,0 0 71 0 0,1 0 0 0 0,0 1-1 0 0,-1-1 1 0 0,1 1 0 0 0,-1-1 0 0 0,7 6 0 0 0,12 11 715 0 0,-1 2 1 0 0,34 40 0 0 0,-2-2 433 0 0,-46-51-920 0 0,-5-5-32 0 0,-1 0 0 0 0,1 0 1 0 0,0 0-1 0 0,0 0 0 0 0,0-1 0 0 0,0 1 0 0 0,0-1 0 0 0,1 1 0 0 0,2 0 1 0 0,-5-1-271 0 0,1-1 0 0 0,-1 0 0 0 0,1 0 0 0 0,-1 0 0 0 0,1 0 0 0 0,-1 0 0 0 0,1 0-1 0 0,0 0 1 0 0,-1 0 0 0 0,1 0 0 0 0,-1 0 0 0 0,1-1 0 0 0,-1 1 0 0 0,1 0 0 0 0,-1 0 0 0 0,1 0 0 0 0,-1-1 0 0 0,1 1 0 0 0,-1 0 0 0 0,1-1 0 0 0,10-16 229 0 0,-8 6-229 0 0,0-1-1 0 0,-1 0 1 0 0,0 1 0 0 0,-1-1 0 0 0,0 0 0 0 0,-1 0-1 0 0,-2-18 1 0 0,1-4-21 0 0,-1-11-1809 0 0,-9-48 0 0 0,6 55-2725 0 0,5 33 2822 0 0,-2-1 1404 0 0</inkml:trace>
</inkml:ink>
</file>

<file path=ppt/ink/ink6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3:00.12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0 568 1904 0 0,'-16'-13'3265'0'0,"16"13"-3200"0"0,0 0 0 0 0,0 0 0 0 0,0 1 0 0 0,-1-1 0 0 0,1 0 0 0 0,0 0 0 0 0,0 0-1 0 0,0 0 1 0 0,0 0 0 0 0,-1 0 0 0 0,0 1 324 0 0,1-1-324 0 0,0 0 0 0 0,0 0 0 0 0,0 1 0 0 0,0-1 0 0 0,0 0 0 0 0,0 0-1 0 0,0 0 1 0 0,0 0 0 0 0,0 1 0 0 0,-1-1 0 0 0,1 0 0 0 0,0 0 0 0 0,0 0 0 0 0,0 1-1 0 0,0-1 1 0 0,0 0 0 0 0,0 0 0 0 0,0 0 0 0 0,0 1 0 0 0,0-1 0 0 0,0 0 0 0 0,1 0-1 0 0,-1 0 1 0 0,0 1 0 0 0,0-1 0 0 0,9 34 1956 0 0,50 117 1117 0 0,-4-14-1154 0 0,-50-125-940 0 0,0 0 1 0 0,13 24 1191 0 0,-17-47-1828 0 0,-1-18-418 0 0,0 0 0 0 0,2-1 0 0 0,1 2 0 0 0,2-1 0 0 0,1 0 0 0 0,15-45-1 0 0,-20 72-9 0 0,-1 0-1 0 0,1 0 0 0 0,0 0 0 0 0,0 1 0 0 0,0-1 0 0 0,0 0 0 0 0,0 1 0 0 0,0-1 0 0 0,0 1 0 0 0,1-1 0 0 0,-1 1 0 0 0,1 0 0 0 0,-1-1 0 0 0,1 1 0 0 0,-1 0 0 0 0,1 0 0 0 0,0 0 0 0 0,-1 0 0 0 0,1 0 1 0 0,0 1-1 0 0,0-1 0 0 0,0 0 0 0 0,-1 1 0 0 0,1 0 0 0 0,0-1 0 0 0,0 1 0 0 0,0 0 0 0 0,0 0 0 0 0,0 0 0 0 0,0 0 0 0 0,0 0 0 0 0,0 0 0 0 0,0 1 0 0 0,0-1 0 0 0,1 1 0 0 0,11 5 20 0 0,-1 0-1 0 0,0 1 0 0 0,-1 0 0 0 0,18 13 1 0 0,-19-12 17 0 0,0 0 0 0 0,1 0 0 0 0,0-2 1 0 0,0 0-1 0 0,1 0 0 0 0,18 6 1 0 0,-23-11-54 0 0,0 0 1 0 0,0-1 0 0 0,0 1 0 0 0,0-1-1 0 0,0-1 1 0 0,0 0 0 0 0,-1 0-1 0 0,1 0 1 0 0,0-1 0 0 0,-1 0-1 0 0,1-1 1 0 0,-1 0 0 0 0,1 0-1 0 0,-1 0 1 0 0,0-1 0 0 0,-1 0-1 0 0,1 0 1 0 0,10-10 0 0 0,-5 4-105 0 0,0 0 0 0 0,-1-1 1 0 0,-1-1-1 0 0,0 1 0 0 0,0-2 1 0 0,-1 1-1 0 0,-1-1 0 0 0,11-23 1 0 0,-12 21 18 0 0,20-49-213 0 0,-25 59 293 0 0,-1-1 1 0 0,1 0 0 0 0,-1 1-1 0 0,0-1 1 0 0,0 0-1 0 0,-1 0 1 0 0,0 0-1 0 0,0 1 1 0 0,-1-7-1 0 0,1 11 35 0 0,-1 0 0 0 0,1 1 0 0 0,0-1 0 0 0,-1 0 0 0 0,1 1 0 0 0,0-1 1 0 0,-1 0-1 0 0,1 1 0 0 0,-1-1 0 0 0,0 1 0 0 0,1-1 0 0 0,-1 1 0 0 0,1-1 0 0 0,-1 1 0 0 0,0 0 0 0 0,1-1 0 0 0,-1 1 0 0 0,0 0 0 0 0,1-1 0 0 0,-1 1 0 0 0,0 0 0 0 0,1 0 0 0 0,-1 0 0 0 0,0 0 0 0 0,0-1 0 0 0,1 1 1 0 0,-1 0-1 0 0,0 0 0 0 0,0 0 0 0 0,1 1 0 0 0,-1-1 0 0 0,0 0 0 0 0,-1 0 0 0 0,-25 7-87 0 0,22-4 89 0 0,0 0-1 0 0,-1 0 1 0 0,1 0 0 0 0,0 1 0 0 0,1 0-1 0 0,-1 0 1 0 0,1 0 0 0 0,-1 0-1 0 0,1 1 1 0 0,0 0 0 0 0,1-1-1 0 0,-1 1 1 0 0,1 1 0 0 0,0-1-1 0 0,1 0 1 0 0,-1 1 0 0 0,1 0-1 0 0,-2 7 1 0 0,3-10 22 0 0,0 1 0 0 0,0-1 0 0 0,1 0 0 0 0,0 0 0 0 0,-1 0 0 0 0,1 1 0 0 0,0-1 0 0 0,1 0 0 0 0,-1 0 0 0 0,1 1 0 0 0,-1-1-1 0 0,1 0 1 0 0,0 0 0 0 0,0 0 0 0 0,0 0 0 0 0,1 0 0 0 0,-1 0 0 0 0,1 0 0 0 0,-1 0 0 0 0,1-1 0 0 0,0 1 0 0 0,0 0 0 0 0,0-1 0 0 0,1 0 0 0 0,-1 1 0 0 0,1-1 0 0 0,-1 0 0 0 0,1 0 0 0 0,0-1 0 0 0,-1 1 0 0 0,1 0 0 0 0,0-1 0 0 0,0 0 0 0 0,0 1 0 0 0,4 0 0 0 0,2 1-10 0 0,1 0 1 0 0,0-1 0 0 0,-1 0 0 0 0,1 0 0 0 0,0-1-1 0 0,0 0 1 0 0,0-1 0 0 0,0 0 0 0 0,0 0-1 0 0,0-1 1 0 0,0-1 0 0 0,-1 0 0 0 0,1 0 0 0 0,0-1-1 0 0,-1 0 1 0 0,1 0 0 0 0,-1-1 0 0 0,0 0 0 0 0,-1-1-1 0 0,1 0 1 0 0,-1-1 0 0 0,0 1 0 0 0,0-2 0 0 0,0 1-1 0 0,-1-1 1 0 0,0 0 0 0 0,0 0 0 0 0,-1-1 0 0 0,0 0-1 0 0,0 0 1 0 0,-1-1 0 0 0,5-11 0 0 0,-2 1-181 0 0,0-1 1 0 0,-2-1 0 0 0,-1 1-1 0 0,0-1 1 0 0,-1 0-1 0 0,1-32 1 0 0,-4 14 47 0 0,-2 1 1 0 0,-10-67-1 0 0,-18-27 688 0 0,28 130-558 0 0,1 1 14 0 0,0 0 0 0 0,0 0 0 0 0,0 1 0 0 0,0-1 0 0 0,-1 0 0 0 0,1 0 0 0 0,0 0-1 0 0,-1 1 1 0 0,1-1 0 0 0,0 0 0 0 0,-1 0 0 0 0,1 1 0 0 0,-1-1 0 0 0,0 0 0 0 0,1 1 0 0 0,-1-1 0 0 0,1 1 0 0 0,-1-1 0 0 0,0 1-1 0 0,0-1 1 0 0,0 1-1 0 0,1-1 1 0 0,-1 1-1 0 0,0 0 0 0 0,1 0 0 0 0,-1 0 0 0 0,1 1 0 0 0,-1-1 0 0 0,1 0 0 0 0,-1 0 0 0 0,0 0 0 0 0,1 0 0 0 0,-1 0 0 0 0,1 1 1 0 0,-1-1-1 0 0,1 0 0 0 0,-1 1 0 0 0,1-1 0 0 0,-1 0 0 0 0,1 1 0 0 0,0-1 0 0 0,-2 1 0 0 0,0 1 31 0 0,0 1 0 0 0,0-1 0 0 0,0 1 0 0 0,1-1 0 0 0,-1 1 0 0 0,1 0 0 0 0,-1-1-1 0 0,1 1 1 0 0,-1 4 0 0 0,-1 8 18 0 0,1 0-1 0 0,1 1 0 0 0,1-1 1 0 0,0 0-1 0 0,1 0 1 0 0,0 1-1 0 0,6 22 0 0 0,32 102 133 0 0,12-5 221 0 0,-3-8-2751 0 0,-24-42-7097 0 0</inkml:trace>
</inkml:ink>
</file>

<file path=ppt/ink/ink6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3:00.47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 302 408 0 0,'-1'-1'385'0'0,"0"-1"0"0"0,0 1-1 0 0,0-1 1 0 0,1 1 0 0 0,-1-1 0 0 0,0 1 0 0 0,1-1-1 0 0,-1 1 1 0 0,1-1 0 0 0,0 1 0 0 0,0-1-1 0 0,-1 0 1 0 0,1 1 0 0 0,0-1 0 0 0,0 0 0 0 0,0 1-1 0 0,1-1 1 0 0,-1-2 0 0 0,1 2-88 0 0,0-1 0 0 0,0 1 0 0 0,1 0 0 0 0,-1-1 0 0 0,0 1 0 0 0,1 0 0 0 0,-1 0 0 0 0,1 0 0 0 0,0 0 0 0 0,3-3 0 0 0,5-3 175 0 0,0 1 0 0 0,0 0 1 0 0,1 1-1 0 0,11-6 0 0 0,-14 8 48 0 0,103-46 2590 0 0,167-53 0 0 0,-252 95-2892 0 0,77-28-1065 0 0,-89 35-1676 0 0,-36 21-6911 0 0,3-11 4337 0 0</inkml:trace>
</inkml:ink>
</file>

<file path=ppt/ink/ink6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3:18.7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9 27 892 0 0,'-101'-26'4976'0'0,"99"26"-4910"0"0,0-1-1 0 0,0 1 1 0 0,0 0 0 0 0,0 0-1 0 0,0 0 1 0 0,0 1-1 0 0,0-1 1 0 0,1 0 0 0 0,-1 1-1 0 0,0-1 1 0 0,0 1 0 0 0,0 0-1 0 0,0 0 1 0 0,1-1 0 0 0,-1 1-1 0 0,0 0 1 0 0,1 1 0 0 0,-1-1-1 0 0,1 0 1 0 0,-1 0 0 0 0,1 1-1 0 0,-1-1 1 0 0,1 0 0 0 0,0 1-1 0 0,0 0 1 0 0,0-1 0 0 0,0 1-1 0 0,0 0 1 0 0,0-1 0 0 0,0 1-1 0 0,1 0 1 0 0,-1 0 0 0 0,0 2-1 0 0,-3 7 204 0 0,1 1 0 0 0,1 0-1 0 0,0 0 1 0 0,0 13-1 0 0,1-13-103 0 0,-33 538 3741 0 0,35-268-1870 0 0,37 287 0 0 0,-16-296-1274 0 0,-20-198-591 0 0,-1-43-29 0 0,0-1 0 0 0,9 50-1 0 0,-8-16 43 0 0,-1-64-197 0 0,2 13-120 0 0,0-13 124 0 0,0 0 0 0 0,-1 0 0 0 0,1 0 0 0 0,0 0 0 0 0,0 0 0 0 0,-1-1 1 0 0,1 1-1 0 0,0-1 0 0 0,0 0 0 0 0,0 0 0 0 0,5 0 0 0 0,41-5-31 0 0,-28 2 17 0 0,699-63-1675 0 0,-330 31 1312 0 0,-140 12 330 0 0,433-35 14 0 0,-481 49 20 0 0,258-24 30 0 0,-413 27 12 0 0,-1-2 1 0 0,49-16-1 0 0,-72 17 8 0 0,1-2 0 0 0,-1-1 0 0 0,0-1 0 0 0,-1 0 1 0 0,33-25-1 0 0,-29 17 130 0 0,-1-1 1 0 0,32-33 0 0 0,-48 43-60 0 0,0-1-1 0 0,-1 1 1 0 0,0-2 0 0 0,0 1 0 0 0,-1-1-1 0 0,-1 0 1 0 0,0 0 0 0 0,5-19-1 0 0,-6 12-59 0 0,-1-1-1 0 0,-1 1 0 0 0,-1-1 0 0 0,0 0 0 0 0,-2 1 1 0 0,0-1-1 0 0,-1 0 0 0 0,-7-33 0 0 0,-7-15-75 0 0,-27-76 0 0 0,16 60 50 0 0,-88-327 6 0 0,-2-35-1 0 0,114 438-37 0 0,0 0 0 0 0,-1 0 0 0 0,0 1 0 0 0,0-1 0 0 0,-1 1 0 0 0,0 0 0 0 0,0 0-1 0 0,-1 0 1 0 0,0 1 0 0 0,-8-10 0 0 0,7 12-5 0 0,1-1-1 0 0,-1 1 0 0 0,0 0 1 0 0,0 1-1 0 0,0-1 1 0 0,0 1-1 0 0,-1 0 1 0 0,1 1-1 0 0,-1-1 1 0 0,0 2-1 0 0,0-1 1 0 0,-10-1-1 0 0,-66-5 17 0 0,0 4 0 0 0,-88 6 1 0 0,37 1 4 0 0,-625 38-574 0 0,34 20-192 0 0,312-36 475 0 0,107-5 234 0 0,296-20 66 0 0,-11 0-11 0 0,-3 0 6 0 0,2 0 3 0 0,5 0-1 0 0,-31-1 0 0 0,45 0-3 0 0,-1 1 4 0 0,-32-3-28 0 0,20 1 24 0 0,12 2-8 0 0,0-1 2 0 0,-31-3-12 0 0,32 4 18 0 0,-15-2-1 0 0,16 1 2 0 0,0 0 1 0 0,-1 1-1 0 0,1-1 0 0 0,0 1 0 0 0,0-1 0 0 0,0 1 0 0 0,0 0 1 0 0,0 0-1 0 0,-4 0 0 0 0,-4 0 1 0 0,-1-1-2 0 0,-19-5-23 0 0,28 6 35 0 0,-1-1 5 0 0,-20-5-21 0 0,21 6-31 0 0,12 1-2801 0 0,32 6-226 0 0,-22-1-650 0 0,-6 0-489 0 0</inkml:trace>
</inkml:ink>
</file>

<file path=ppt/ink/ink6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3:36.438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90 19 756 0 0,'-80'36'5648'0'0,"71"-26"-3172"0"0,9-10-2420 0 0,0 0 0 0 0,0 1 0 0 0,0-1 1 0 0,0 0-1 0 0,0 1 0 0 0,0-1 0 0 0,0 0 1 0 0,0 1-1 0 0,0-1 0 0 0,0 0 0 0 0,1 1 0 0 0,-1-1 1 0 0,0 0-1 0 0,0 1 0 0 0,0-1 0 0 0,0 0 1 0 0,1 0-1 0 0,-1 1 0 0 0,0-1 0 0 0,0 0 1 0 0,0 0-1 0 0,1 1 0 0 0,-1-1 0 0 0,0 0 1 0 0,1 0-1 0 0,-1 0 0 0 0,0 1 0 0 0,0-1 1 0 0,1 0-1 0 0,-1 0 0 0 0,0 0 0 0 0,1 0 1 0 0,-1 0-1 0 0,0 0 0 0 0,1 0 0 0 0,-1 0 0 0 0,0 1 1 0 0,1-1-1 0 0,-1 0 0 0 0,1-1 0 0 0,-1 1 1 0 0,0 0-1 0 0,1 0 0 0 0,-1 0 0 0 0,46 1 1254 0 0,0-1 0 0 0,78-12-1 0 0,-74 6-918 0 0,213-27 914 0 0,-177 21-1263 0 0,-14 4-2364 0 0,-68 7 1579 0 0,7 0-568 0 0</inkml:trace>
</inkml:ink>
</file>

<file path=ppt/ink/ink6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3:36.990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97 121 1728 0 0,'-94'-24'10753'0'0,"92"23"-10209"0"0,9-7 252 0 0,0 4-705 0 0,1 1 0 0 0,-1 0 0 0 0,1 0 0 0 0,0 1 0 0 0,-1 0 0 0 0,1 1 0 0 0,16-2 1 0 0,0 0-8 0 0,455-58-926 0 0,-417 59-2623 0 0,-61 2 3278 0 0,0 0 1 0 0,-1 0-1 0 0,1-1 1 0 0,0 2-1 0 0,0-1 1 0 0,0 0-1 0 0,0 0 1 0 0,0 0-1 0 0,0 0 1 0 0,-1 0-1 0 0,1 1 1 0 0,0-1-1 0 0,0 0 1 0 0,0 1-1 0 0,-1-1 1 0 0,1 1-1 0 0,0-1 1 0 0,-1 1-1 0 0,1-1 1 0 0,0 1-1 0 0,-1 0 1 0 0,1-1-1 0 0,0 1 1 0 0,0 0-1 0 0,6 7-3073 0 0</inkml:trace>
</inkml:ink>
</file>

<file path=ppt/ink/ink6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4:08.350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62 5 1392 0 0,'0'0'2989'0'0,"-14"-5"1788"0"0,14 6-4708 0 0,-1 0 0 0 0,0 0 0 0 0,0-1 0 0 0,1 1 1 0 0,-1 0-1 0 0,1 0 0 0 0,-1 0 0 0 0,1 0 0 0 0,-1 0 0 0 0,1 0 0 0 0,-1 0 0 0 0,1 0 0 0 0,0 0 0 0 0,-1 0 0 0 0,1 0 0 0 0,0 0 0 0 0,0 0 0 0 0,0 0 1 0 0,0 1-1 0 0,0-1 0 0 0,0 0 0 0 0,0 0 0 0 0,1 1 0 0 0,3 42 1017 0 0,-1-19-676 0 0,-3 39 228 0 0,-3 0 1 0 0,-13 76-1 0 0,1-21-168 0 0,11-75-362 0 0,-2 9-53 0 0,2 94 0 0 0,5-79-3149 0 0,-2-44-3078 0 0</inkml:trace>
</inkml:ink>
</file>

<file path=ppt/ink/ink6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4:08.728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0 36 404 0 0,'8'-14'1753'0'0,"3"-4"215"0"0,-11 17-1882 0 0,0 1 0 0 0,1 0-1 0 0,-1 0 1 0 0,0-1-1 0 0,1 1 1 0 0,-1 0 0 0 0,0 0-1 0 0,1 0 1 0 0,-1-1 0 0 0,0 1-1 0 0,1 0 1 0 0,-1 0-1 0 0,0 0 1 0 0,1 0 0 0 0,-1 0-1 0 0,0 0 1 0 0,1 0 0 0 0,-1 0-1 0 0,0 0 1 0 0,1 0-1 0 0,-1 0 1 0 0,1 0 0 0 0,-1 0-1 0 0,0 0 1 0 0,1 0 0 0 0,-1 0-1 0 0,0 0 1 0 0,1 0 0 0 0,-1 0-1 0 0,0 1 1 0 0,1-1-1 0 0,-1 0 1 0 0,0 0 0 0 0,1 0-1 0 0,-1 1 1 0 0,0-1 0 0 0,0 0-1 0 0,1 0 1 0 0,-1 1-1 0 0,0-1 1 0 0,0 0 0 0 0,1 1-1 0 0,-1 0-20 0 0,1 0-1 0 0,-1 0 0 0 0,1 0 1 0 0,-1 0-1 0 0,0 0 0 0 0,1 0 1 0 0,-1 0-1 0 0,0 0 0 0 0,0 0 0 0 0,0 0 1 0 0,0 1-1 0 0,0-1 0 0 0,0 0 1 0 0,0 0-1 0 0,0 0 0 0 0,0 0 1 0 0,-1 2-1 0 0,0 0 122 0 0,-5 327 5395 0 0,0-4-4305 0 0,8-228-5082 0 0,-1-97 3706 0 0,-1-1 0 0 0,0 1 0 0 0,0-1 0 0 0,0 1 0 0 0,0-1 0 0 0,0 1 0 0 0,0-1 0 0 0,1 0 0 0 0,-1 1 0 0 0,0-1 0 0 0,0 1 0 0 0,1-1 0 0 0,-1 0 0 0 0,0 1 0 0 0,1-1 0 0 0,-1 0 0 0 0,0 1 0 0 0,1-1 0 0 0,-1 0 0 0 0,0 1 0 0 0,2-1 0 0 0</inkml:trace>
</inkml:ink>
</file>

<file path=ppt/ink/ink6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4:09.332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32 1 956 0 0,'0'0'2542'0'0,"-2"0"-1831"0"0,1 1-593 0 0,0-1 1 0 0,0 0-1 0 0,-1 1 0 0 0,1 0 0 0 0,0-1 1 0 0,0 1-1 0 0,1-1 0 0 0,-1 1 1 0 0,0 0-1 0 0,0 0 0 0 0,0 0 0 0 0,0-1 1 0 0,1 1-1 0 0,-1 0 0 0 0,0 0 1 0 0,1 0-1 0 0,-1 0 0 0 0,0 3 0 0 0,-8 28 1464 0 0,5 39 347 0 0,4-65-1739 0 0,7 231 3062 0 0,0 0-1463 0 0,-5-178-1509 0 0,-2 14 3168 0 0,0-86-3319 0 0,0 10-144 0 0,-1-1 1 0 0,1 1 0 0 0,1 0 0 0 0,-1-1-1 0 0,0 1 1 0 0,1 0 0 0 0,1-6-1 0 0,5-10-117 0 0,0 1-1 0 0,2 0 0 0 0,0 0 0 0 0,14-20 1 0 0,-18 31 96 0 0,0 0 1 0 0,1 0-1 0 0,0 0 1 0 0,0 0-1 0 0,1 1 1 0 0,-1 0-1 0 0,1 1 1 0 0,1-1-1 0 0,-1 1 1 0 0,1 1-1 0 0,11-6 1 0 0,-15 9 24 0 0,1 1 0 0 0,-1-1-1 0 0,1 1 1 0 0,-1 0 0 0 0,0 0 0 0 0,1 0-1 0 0,-1 1 1 0 0,0-1 0 0 0,1 1 0 0 0,-1 0-1 0 0,0 0 1 0 0,0 1 0 0 0,0-1 0 0 0,0 1-1 0 0,0 0 1 0 0,0 0 0 0 0,0 0 0 0 0,0 1 0 0 0,3 2-1 0 0,-1 1 31 0 0,0 0 1 0 0,0 0-1 0 0,-1 1 0 0 0,1 0 0 0 0,-1 0 0 0 0,-1 0 1 0 0,0 0-1 0 0,0 1 0 0 0,0-1 0 0 0,-1 1 0 0 0,0 0 1 0 0,0 0-1 0 0,-1 1 0 0 0,2 10 0 0 0,-1 4-815 0 0,-1-1 0 0 0,-1 1 0 0 0,-1-1 0 0 0,-3 28 0 0 0,-5-14-6849 0 0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8.2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4 128 1660 0 0,'18'-19'8080'0'0,"13"-16"-5080"0"0,-26 30-2918 0 0,0 1 0 0 0,-1-1 0 0 0,1 0 0 0 0,-1-1 0 0 0,0 1 0 0 0,-1-1 0 0 0,1 1 0 0 0,2-9 0 0 0,-5 14-80 0 0,-1-1 0 0 0,0 1 0 0 0,0-1 0 0 0,0 1 0 0 0,1-1 0 0 0,-1 1 0 0 0,0-1 0 0 0,0 1 0 0 0,0-1 0 0 0,0 1 0 0 0,0-1 0 0 0,0 1 0 0 0,0-1 0 0 0,0 1 0 0 0,0-1 0 0 0,0 0 0 0 0,-1 1 0 0 0,1-1 0 0 0,0 1 0 0 0,0-1 0 0 0,0 1 0 0 0,-1-1 0 0 0,1 1 0 0 0,0-1 0 0 0,0 1-1 0 0,-1 0 1 0 0,1-1 0 0 0,-1 1 0 0 0,1-1 0 0 0,0 1 0 0 0,-1 0 0 0 0,1-1 0 0 0,-1 1 0 0 0,1 0 0 0 0,-1-1 0 0 0,1 1 0 0 0,-1 0 0 0 0,1 0 0 0 0,-1 0 0 0 0,1-1 0 0 0,-1 1 0 0 0,1 0 0 0 0,-1 0 0 0 0,1 0 0 0 0,-1 0 0 0 0,1 0 0 0 0,-1 0 0 0 0,1 0 0 0 0,-1 0 0 0 0,0 0 0 0 0,1 0 0 0 0,-1 1 0 0 0,-28 2 126 0 0,29-2-128 0 0,-6 0 67 0 0,-1 2 1 0 0,0-1-1 0 0,1 1 0 0 0,0 0 0 0 0,-1 0 0 0 0,1 1 1 0 0,0-1-1 0 0,1 2 0 0 0,-1-1 0 0 0,-6 6 0 0 0,11-8-32 0 0,-1-1 0 0 0,1 1 0 0 0,0-1 0 0 0,0 1-1 0 0,-1-1 1 0 0,1 1 0 0 0,0 0 0 0 0,0 0 0 0 0,0 0-1 0 0,1-1 1 0 0,-1 1 0 0 0,0 0 0 0 0,1 0 0 0 0,-1 0 0 0 0,1 0-1 0 0,0 0 1 0 0,-1 0 0 0 0,1 0 0 0 0,0 0 0 0 0,0 0-1 0 0,1 0 1 0 0,-1 0 0 0 0,0 0 0 0 0,1 0 0 0 0,-1 0 0 0 0,1 0-1 0 0,-1 0 1 0 0,1 0 0 0 0,0 0 0 0 0,0 0 0 0 0,0-1-1 0 0,0 1 1 0 0,0 0 0 0 0,0-1 0 0 0,1 1 0 0 0,-1-1-1 0 0,0 1 1 0 0,3 1 0 0 0,8 8-98 0 0,0-1-1 0 0,1 0 1 0 0,0 0-1 0 0,0-2 1 0 0,1 0-1 0 0,0 0 1 0 0,28 10-1 0 0,11-4-2989 0 0,2-9-3479 0 0,-25-5 3221 0 0</inkml:trace>
</inkml:ink>
</file>

<file path=ppt/ink/ink6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4:09.684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0 1 328 0 0,'0'0'1673'0'0,"12"7"2199"0"0,-8 1-3194 0 0,-1 0-1 0 0,1 1 0 0 0,-1-1 0 0 0,-1 1 1 0 0,1 0-1 0 0,-2 0 0 0 0,2 14 1 0 0,4 17 318 0 0,25 81 375 0 0,-21-79-3497 0 0,1 0-3858 0 0,-9-30 2839 0 0</inkml:trace>
</inkml:ink>
</file>

<file path=ppt/ink/ink6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4:10.028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30 39 1480 0 0,'-2'-1'4111'0'0,"-23"-3"1869"0"0,22 3-5321 0 0,17-5 670 0 0,37-4-984 0 0,76-4 0 0 0,-112 12-921 0 0,-12 2-25 0 0,12 2-287 0 0</inkml:trace>
</inkml:ink>
</file>

<file path=ppt/ink/ink6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4:10.565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8 0 420 0 0,'0'0'3700'0'0,"0"3"-2688"0"0,-3 12-56 0 0,1-1 0 0 0,0 1 0 0 0,1 0 0 0 0,2 29 0 0 0,13 66 760 0 0,-5-43-844 0 0,37 298 1945 0 0,-40-302 190 0 0,-12-77-2842 0 0,-1-5-217 0 0,5-3-60 0 0,2 0 0 0 0,0 0 0 0 0,2 0 0 0 0,5-30 0 0 0,-6 44 78 0 0,1 0 1 0 0,0 1-1 0 0,0-1 1 0 0,1 1-1 0 0,0 0 1 0 0,0 0-1 0 0,1 0 1 0 0,0 0-1 0 0,0 0 1 0 0,0 1-1 0 0,1 0 1 0 0,0-1-1 0 0,1 2 1 0 0,-1-1-1 0 0,13-9 1 0 0,-16 14 17 0 0,1-1 1 0 0,0 1-1 0 0,-1 0 1 0 0,1-1 0 0 0,0 1-1 0 0,0 1 1 0 0,0-1-1 0 0,0 0 1 0 0,0 1-1 0 0,0-1 1 0 0,0 1-1 0 0,0 0 1 0 0,0 0-1 0 0,0 0 1 0 0,0 0-1 0 0,0 1 1 0 0,4 0-1 0 0,-2 1 21 0 0,0 0-1 0 0,1 0 0 0 0,-1 0 1 0 0,0 1-1 0 0,0-1 0 0 0,0 1 1 0 0,0 1-1 0 0,8 6 1 0 0,-7-5-60 0 0,-1 1 1 0 0,1-1 0 0 0,-1 1-1 0 0,0 0 1 0 0,-1 0 0 0 0,1 1-1 0 0,-1-1 1 0 0,-1 1 0 0 0,1 0-1 0 0,-1 0 1 0 0,0 0 0 0 0,-1 0-1 0 0,0 1 1 0 0,2 9 0 0 0,-3-8-638 0 0,-1 1 0 0 0,-1-1-1 0 0,1 0 1 0 0,-4 14 0 0 0,-9 18-6909 0 0,8-29 4780 0 0</inkml:trace>
</inkml:ink>
</file>

<file path=ppt/ink/ink6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4:10.896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0 25 896 0 0,'7'-3'419'0'0,"0"-1"1"0"0,0 1-1 0 0,0 0 1 0 0,0 0-1 0 0,1 1 0 0 0,-1 0 1 0 0,0 1-1 0 0,1-1 1 0 0,0 1-1 0 0,-1 1 0 0 0,14 0 1 0 0,-18 0-315 0 0,0 0 0 0 0,0 1 0 0 0,0-1 0 0 0,0 1 1 0 0,0 0-1 0 0,-1-1 0 0 0,1 1 0 0 0,0 1 0 0 0,-1-1 0 0 0,1 0 0 0 0,0 1 0 0 0,-1-1 1 0 0,0 1-1 0 0,1 0 0 0 0,-1 0 0 0 0,0 0 0 0 0,0 0 0 0 0,0 0 0 0 0,0 0 1 0 0,0 1-1 0 0,-1-1 0 0 0,1 0 0 0 0,-1 1 0 0 0,0 0 0 0 0,1-1 0 0 0,-1 1 1 0 0,0 0-1 0 0,0-1 0 0 0,-1 1 0 0 0,1 0 0 0 0,-1 0 0 0 0,1 0 0 0 0,-1 5 1 0 0,0 6 347 0 0,-2 0 0 0 0,1-1 0 0 0,-1 1 0 0 0,-1 0 0 0 0,-1-1 0 0 0,-9 25 0 0 0,-1 5 817 0 0,14-42-1236 0 0,0-1 0 0 0,0 1 1 0 0,0 0-1 0 0,0 0 0 0 0,0-1 1 0 0,1 1-1 0 0,-1 0 0 0 0,0 0 1 0 0,0-1-1 0 0,1 1 0 0 0,-1 0 1 0 0,0 0-1 0 0,1-1 0 0 0,-1 1 1 0 0,0 0-1 0 0,1-1 0 0 0,-1 1 1 0 0,1-1-1 0 0,0 1 1 0 0,-1 0-1 0 0,1-1 0 0 0,-1 1 1 0 0,1-1-1 0 0,0 0 0 0 0,-1 1 1 0 0,1-1-1 0 0,0 1 0 0 0,-1-1 1 0 0,1 0-1 0 0,0 0 0 0 0,0 1 1 0 0,0-1-1 0 0,-1 0 0 0 0,1 0 1 0 0,0 0-1 0 0,0 0 0 0 0,-1 0 1 0 0,1 0-1 0 0,0 0 0 0 0,1 0 1 0 0,29-1 229 0 0,-1 0 0 0 0,59-12 1 0 0,-16 2-1396 0 0,-40 6-1453 0 0,-1-1-4504 0 0,-17 5 4149 0 0</inkml:trace>
</inkml:ink>
</file>

<file path=ppt/ink/ink6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4:11.228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0 9 1632 0 0,'3'-8'7521'0'0,"12"167"-2312"0"0,9 72-3952 0 0,-7-72-1221 0 0,-15-107-2923 0 0,-1 1-4196 0 0</inkml:trace>
</inkml:ink>
</file>

<file path=ppt/ink/ink6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4:11.585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0 10 1488 0 0,'8'-10'6685'0'0,"-6"12"-6498"0"0,0-1 0 0 0,-1 1 0 0 0,0 0 0 0 0,1-1 0 0 0,-1 1 0 0 0,0 0 0 0 0,0 0 0 0 0,0 0 0 0 0,0 0 0 0 0,0 0-1 0 0,0 0 1 0 0,0 0 0 0 0,-1 0 0 0 0,1 0 0 0 0,-1 0 0 0 0,1 3 0 0 0,2 46 1289 0 0,-2-31-928 0 0,33 483 2251 0 0,-31-473-3431 0 0,2 41-4608 0 0</inkml:trace>
</inkml:ink>
</file>

<file path=ppt/ink/ink6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4:36.84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14 0 260 0 0,'-16'0'2008'0'0,"-10"0"-692"0"0,4 0-320 0 0,-4 0-972 0 0,10 6-248 0 0,10 3-324 0 0,4 3-988 0 0</inkml:trace>
</inkml:ink>
</file>

<file path=ppt/ink/ink6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4:42.9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8 348 0 0,'0'0'2816'0'0,"8"-11"-95"0"0,-8-2-1421 0 0,-2 1-896 0 0,4 1-1192 0 0,2 22-3609 0 0</inkml:trace>
</inkml:ink>
</file>

<file path=ppt/ink/ink6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1.2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0 141 356 0 0,'-48'19'6350'0'0,"46"-18"-5885"0"0,-5 3 268 0 0,7-4-655 0 0,-1 0-1 0 0,1 0 1 0 0,-1 0-1 0 0,1 0 1 0 0,-1 0-1 0 0,0 1 1 0 0,1-1-1 0 0,-1 0 1 0 0,1 0-1 0 0,-1 1 1 0 0,1-1-1 0 0,-1 0 1 0 0,1 1-1 0 0,-1-1 0 0 0,1 0 1 0 0,-1 1-1 0 0,1-1 1 0 0,0 1-1 0 0,-1-1 1 0 0,1 1-1 0 0,0-1 1 0 0,-1 1-1 0 0,1-1 1 0 0,0 1-1 0 0,0-1 1 0 0,-1 1-1 0 0,1-1 0 0 0,0 2 1 0 0,0-1-5 0 0,1 1 1 0 0,0 0 0 0 0,0-1-1 0 0,-1 1 1 0 0,1 0-1 0 0,0-1 1 0 0,1 1-1 0 0,-1-1 1 0 0,0 0-1 0 0,0 1 1 0 0,0-1-1 0 0,1 0 1 0 0,-1 0 0 0 0,1 0-1 0 0,-1 0 1 0 0,1 0-1 0 0,-1 0 1 0 0,1 0-1 0 0,0 0 1 0 0,-1-1-1 0 0,1 1 1 0 0,3 0-1 0 0,48 11 469 0 0,-39-10-346 0 0,66 9 574 0 0,108 2-1 0 0,-146-11-609 0 0,1105 4 1634 0 0,2-51-970 0 0,-925 35-712 0 0,1692-123 136 0 0,-1829 126-252 0 0,184-24 103 0 0,-267 30-134 0 0,0 0 0 0 0,1 0-1 0 0,-1 0 1 0 0,0 0 0 0 0,0-1-1 0 0,0 0 1 0 0,8-4 0 0 0,-11 5-450 0 0,-6-2-1505 0 0,5 2 1920 0 0,0 1-1 0 0,-1 0 0 0 0,1-1 0 0 0,0 1 0 0 0,-1 0 0 0 0,1 0 0 0 0,0-1 0 0 0,0 1 1 0 0,-1 0-1 0 0,1 0 0 0 0,-1-1 0 0 0,1 1 0 0 0,0 0 0 0 0,-1 0 0 0 0,1 0 0 0 0,0 0 1 0 0,-1-1-1 0 0,1 1 0 0 0,-1 0 0 0 0,1 0 0 0 0,0 0 0 0 0,-1 0 0 0 0,1 0 0 0 0,-1 0 1 0 0,1 0-1 0 0,-1 0 0 0 0,1 0 0 0 0,0 0 0 0 0,-1 1 0 0 0,-38 0-5341 0 0,18-1 759 0 0</inkml:trace>
</inkml:ink>
</file>

<file path=ppt/ink/ink6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2.2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4 54 1404 0 0,'5'-27'5234'0'0,"-2"19"-3925"0"0,4-10 2102 0 0,-9 27-3491 0 0,-5 12 122 0 0,-1-1 1 0 0,0 0 0 0 0,-2 0-1 0 0,-1-1 1 0 0,-24 34-1 0 0,5-7 131 0 0,-12 20 197 0 0,-33 55 253 0 0,63-98-442 0 0,0 0 0 0 0,2 1 0 0 0,-11 34 0 0 0,20-54-80 0 0,0 0 1 0 0,0 1 0 0 0,0-1 0 0 0,0 1-1 0 0,1-1 1 0 0,0 1 0 0 0,0-1 0 0 0,0 1 0 0 0,0 0-1 0 0,1-1 1 0 0,0 1 0 0 0,-1-1 0 0 0,4 7-1 0 0,-2-8-7 0 0,0 1 0 0 0,0 0 0 0 0,0-1 0 0 0,1 1 0 0 0,-1-1 0 0 0,1 0 0 0 0,0 0 0 0 0,0 0 0 0 0,1 0 0 0 0,-1 0-1 0 0,0-1 1 0 0,1 0 0 0 0,0 1 0 0 0,5 1 0 0 0,10 5 116 0 0,1-1-1 0 0,0-1 1 0 0,32 6-1 0 0,61 7-1516 0 0,-97-17 489 0 0,-14-3 596 0 0,0 0 0 0 0,-1 0 0 0 0,1 1 0 0 0,-1-1 0 0 0,1 1 1 0 0,-1-1-1 0 0,1 1 0 0 0,-1 0 0 0 0,1-1 0 0 0,-1 1 0 0 0,0 0 1 0 0,1 0-1 0 0,-1 0 0 0 0,2 1 0 0 0,0 5-2732 0 0,-3-6 2708 0 0,1-1 0 0 0,-1 1 0 0 0,0 0 0 0 0,0-1 0 0 0,0 1 0 0 0,0 0-1 0 0,0-1 1 0 0,0 1 0 0 0,-1 0 0 0 0,1 0 0 0 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9.1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2 36 1572 0 0,'0'-3'1202'0'0,"-1"2"-1000"0"0,0-1 1 0 0,1 0-1 0 0,-1 0 1 0 0,0 1-1 0 0,0-1 1 0 0,0 0 0 0 0,0 1-1 0 0,0-1 1 0 0,0 1-1 0 0,-1-1 1 0 0,1 1-1 0 0,0 0 1 0 0,-1-1 0 0 0,1 1-1 0 0,-1 0 1 0 0,1 0-1 0 0,-1 0 1 0 0,0 0-1 0 0,-1 0 1 0 0,-1-1 13 0 0,1 1 0 0 0,-1 1 0 0 0,1-1 1 0 0,-1 1-1 0 0,1-1 0 0 0,-1 1 0 0 0,1 0 0 0 0,-1 0 0 0 0,-6 1 1 0 0,0 1 81 0 0,0 1 0 0 0,1 0 0 0 0,-1 0 0 0 0,0 1 0 0 0,1 0 1 0 0,-16 10-1 0 0,16-8-115 0 0,0 0 0 0 0,1 0 0 0 0,0 1 0 0 0,0 1 0 0 0,1-1 0 0 0,-1 1 0 0 0,2 1 0 0 0,-10 12 0 0 0,15-18-127 0 0,-1-1-1 0 0,1 1 1 0 0,0-1-1 0 0,-1 1 1 0 0,1 0 0 0 0,0-1-1 0 0,1 1 1 0 0,-1 0-1 0 0,0 0 1 0 0,1 0-1 0 0,-1-1 1 0 0,1 1-1 0 0,0 0 1 0 0,0 0 0 0 0,0 0-1 0 0,1 0 1 0 0,-1 0-1 0 0,1 0 1 0 0,-1-1-1 0 0,1 1 1 0 0,0 0-1 0 0,0 0 1 0 0,0-1-1 0 0,0 1 1 0 0,1-1 0 0 0,-1 1-1 0 0,1-1 1 0 0,0 1-1 0 0,-1-1 1 0 0,1 0-1 0 0,0 0 1 0 0,0 0-1 0 0,0 0 1 0 0,1 0 0 0 0,-1 0-1 0 0,3 1 1 0 0,-1 0-24 0 0,0-1 1 0 0,1 0 0 0 0,-1 0 0 0 0,0-1-1 0 0,1 1 1 0 0,-1-1 0 0 0,1 0-1 0 0,-1 0 1 0 0,1 0 0 0 0,-1-1-1 0 0,1 1 1 0 0,0-1 0 0 0,-1 0 0 0 0,1-1-1 0 0,-1 1 1 0 0,1-1 0 0 0,-1 0-1 0 0,7-2 1 0 0,-2 1-62 0 0,0-1 1 0 0,-1-1-1 0 0,1 0 0 0 0,-1 0 1 0 0,0-1-1 0 0,0 0 0 0 0,-1 0 1 0 0,10-9-1 0 0,1-3-121 0 0,-2-2 0 0 0,0 0 0 0 0,14-23 0 0 0,-7 9 29 0 0,-22 32 247 0 0,0 1-113 0 0,0 0-1 0 0,-1 1 0 0 0,1-1 0 0 0,-1 0 1 0 0,1 1-1 0 0,-1-1 0 0 0,1 1 1 0 0,-1-1-1 0 0,1 1 0 0 0,-1-1 1 0 0,1 1-1 0 0,-1-1 0 0 0,1 1 0 0 0,-1-1 1 0 0,0 1-1 0 0,1 0 0 0 0,-1-1 1 0 0,0 1-1 0 0,0 0 0 0 0,0-1 0 0 0,1 1 1 0 0,-1 0-1 0 0,0-1 0 0 0,0 1 1 0 0,0 0-1 0 0,0 0 0 0 0,3 25 422 0 0,-3-22-386 0 0,3 10 238 0 0,0 1 1 0 0,0 0-1 0 0,2-1 1 0 0,-1 0-1 0 0,2 0 1 0 0,0 0-1 0 0,12 19 1 0 0,-16-30-244 0 0,1 1 1 0 0,-1-1-1 0 0,0 0 0 0 0,1-1 0 0 0,0 1 1 0 0,0 0-1 0 0,0-1 0 0 0,0 1 1 0 0,0-1-1 0 0,0 0 0 0 0,1 0 1 0 0,-1-1-1 0 0,1 1 0 0 0,-1 0 1 0 0,1-1-1 0 0,0 0 0 0 0,0 0 0 0 0,-1 0 1 0 0,1-1-1 0 0,0 1 0 0 0,5-1 1 0 0,5-2-53 0 0,-1-1 1 0 0,0-1-1 0 0,0 0 1 0 0,0-1-1 0 0,0 0 1 0 0,-1-1-1 0 0,1 0 1 0 0,-2-1-1 0 0,1-1 1 0 0,16-13-1 0 0,75-67-935 0 0,-101 87 768 0 0,-1 1-67 0 0,0 0 236 0 0,0 0 0 0 0,-1 0-1 0 0,1 0 1 0 0,0 1-1 0 0,0-1 1 0 0,0 0-1 0 0,-1 0 1 0 0,1 1 0 0 0,0-1-1 0 0,-1 0 1 0 0,1 1-1 0 0,0-1 1 0 0,-1 1-1 0 0,1-1 1 0 0,0 1 0 0 0,-1 0-1 0 0,1-1 1 0 0,-1 1-1 0 0,1-1 1 0 0,-1 1-1 0 0,1 0 1 0 0,-1-1 0 0 0,0 1-1 0 0,1 0 1 0 0,-1 0-1 0 0,0-1 1 0 0,0 1-1 0 0,1 0 1 0 0,-1 0 0 0 0,0 0-1 0 0,0-1 1 0 0,0 1-1 0 0,0 0 1 0 0,0 0-1 0 0,0 1 1 0 0,0 1 8 0 0,1 0-1 0 0,-1-1 1 0 0,1 1 0 0 0,0 0-1 0 0,0-1 1 0 0,0 1 0 0 0,0-1-1 0 0,0 1 1 0 0,1-1 0 0 0,1 4 0 0 0,2-2 23 0 0,-1 0 1 0 0,1 0-1 0 0,0 0 1 0 0,0 0 0 0 0,0-1-1 0 0,0 0 1 0 0,0 0 0 0 0,1-1-1 0 0,0 1 1 0 0,-1-1-1 0 0,1 0 1 0 0,0-1 0 0 0,0 1-1 0 0,0-1 1 0 0,0 0 0 0 0,6 0-1 0 0,-1-1-8 0 0,0 0-1 0 0,0 0 1 0 0,0-1-1 0 0,0 0 1 0 0,0-1-1 0 0,-1 0 1 0 0,1-1-1 0 0,16-6 1 0 0,-19 5-26 0 0,1 0 0 0 0,-2-1 1 0 0,1 0-1 0 0,-1 0 1 0 0,1-1-1 0 0,-1 1 1 0 0,-1-2-1 0 0,1 1 0 0 0,-1-1 1 0 0,0 0-1 0 0,-1 0 1 0 0,0-1-1 0 0,0 1 0 0 0,0-1 1 0 0,3-10-1 0 0,-8 17 11 0 0,1 1 0 0 0,-1-1 0 0 0,0 0 0 0 0,0 0 0 0 0,0 0 0 0 0,0 0 0 0 0,0 0 0 0 0,0 0 0 0 0,0 1 0 0 0,0-1-1 0 0,0 0 1 0 0,0 0 0 0 0,0 0 0 0 0,0 0 0 0 0,-1 0 0 0 0,1 0 0 0 0,0 1 0 0 0,-1-1 0 0 0,1 0 0 0 0,0 0 0 0 0,-1 1 0 0 0,1-1 0 0 0,-1 0 0 0 0,0 0-1 0 0,1 1 1 0 0,-1-1 0 0 0,0 0 0 0 0,-1-1-6 0 0,-2 2-2 0 0,3 0 7 0 0,-28 4 12 0 0,28-4-8 0 0,0 1 1 0 0,-1-1 0 0 0,1 1-1 0 0,-1-1 1 0 0,1 1 0 0 0,0 0 0 0 0,-1 0-1 0 0,1-1 1 0 0,0 1 0 0 0,0 0 0 0 0,0 0-1 0 0,0 0 1 0 0,0 1 0 0 0,0-1-1 0 0,0 0 1 0 0,0 0 0 0 0,0 0 0 0 0,0 1-1 0 0,1-1 1 0 0,-1 0 0 0 0,0 1 0 0 0,0 2-1 0 0,0-1 6 0 0,1 0 0 0 0,-1 0 0 0 0,1 1 0 0 0,0-1 0 0 0,0 0 0 0 0,0 0 0 0 0,0 1 0 0 0,0-1 0 0 0,1 0 0 0 0,-1 1 0 0 0,1-1 0 0 0,0 0 0 0 0,0 0 0 0 0,0 0 0 0 0,1 0 0 0 0,-1 0 0 0 0,1 0 0 0 0,-1 0 0 0 0,1 0 0 0 0,0-1 0 0 0,0 1 0 0 0,0 0 0 0 0,1-1 0 0 0,-1 0 0 0 0,3 3 0 0 0,-4-5-7 0 0,10 10-202 0 0,1 0 0 0 0,1-1-1 0 0,-1 0 1 0 0,2-1 0 0 0,-1 0 0 0 0,15 5-1 0 0,-9-5-1594 0 0,1 0-1 0 0,0-2 0 0 0,39 8 0 0 0,-40-12-1106 0 0,1-2-909 0 0</inkml:trace>
</inkml:ink>
</file>

<file path=ppt/ink/ink6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3.0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 28 1188 0 0,'-16'-21'3740'0'0,"14"18"-3068"0"0,2 3-575 0 0,0 0 1 0 0,-1-1 0 0 0,1 1-1 0 0,-1 0 1 0 0,1-1-1 0 0,0 1 1 0 0,-1 0-1 0 0,1 0 1 0 0,-1-1-1 0 0,1 1 1 0 0,-1 0 0 0 0,1 0-1 0 0,-1 0 1 0 0,1 0-1 0 0,-1 0 1 0 0,1 0-1 0 0,-1-1 1 0 0,1 1 0 0 0,-1 1-1 0 0,0-1 1 0 0,-2 9 359 0 0,1 1 1 0 0,0-1 0 0 0,0 1 0 0 0,1 0-1 0 0,1 0 1 0 0,0 0 0 0 0,1 10 0 0 0,10 73 178 0 0,-9-78-443 0 0,17 129 296 0 0,-10-67-2091 0 0,2-2-4241 0 0,-8-63 3063 0 0</inkml:trace>
</inkml:ink>
</file>

<file path=ppt/ink/ink6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3.4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 342 1588 0 0,'-6'-24'1318'0'0,"0"-1"0"0"0,1 0 0 0 0,2 0 0 0 0,-2-38 0 0 0,6 55-1189 0 0,-1 1 0 0 0,1-1 0 0 0,0 0 1 0 0,1 0-1 0 0,0 1 0 0 0,0-1 1 0 0,0 1-1 0 0,1 0 0 0 0,1-1 0 0 0,-1 1 1 0 0,1 1-1 0 0,0-1 0 0 0,0 0 0 0 0,1 1 1 0 0,0 0-1 0 0,0 0 0 0 0,1 0 0 0 0,9-8 1 0 0,-8 10-108 0 0,0-1 1 0 0,1 1-1 0 0,-1 0 1 0 0,1 0-1 0 0,0 1 1 0 0,-1 0 0 0 0,2 0-1 0 0,-1 1 1 0 0,0 0-1 0 0,0 0 1 0 0,1 1-1 0 0,-1 0 1 0 0,1 1-1 0 0,-1-1 1 0 0,1 2 0 0 0,14 1-1 0 0,-18-1 4 0 0,0 0 0 0 0,-1 0 0 0 0,1 1 0 0 0,-1-1 0 0 0,1 1 0 0 0,-1 0 0 0 0,1 0 0 0 0,-1 0 0 0 0,0 1-1 0 0,0-1 1 0 0,0 1 0 0 0,0 0 0 0 0,-1 0 0 0 0,1 1 0 0 0,-1-1 0 0 0,0 1 0 0 0,0-1 0 0 0,0 1 0 0 0,0 0 0 0 0,-1 0 0 0 0,1 1 0 0 0,-1-1 0 0 0,0 0 0 0 0,0 1-1 0 0,-1-1 1 0 0,1 1 0 0 0,-1 0 0 0 0,0-1 0 0 0,-1 1 0 0 0,1 8 0 0 0,-1-1 127 0 0,0 0 0 0 0,-1-1 1 0 0,-1 1-1 0 0,0-1 0 0 0,0 1 0 0 0,-7 15 0 0 0,-30 67 446 0 0,26-65-497 0 0,12-27-89 0 0,0 0-1 0 0,0 0 1 0 0,0 0 0 0 0,0 0-1 0 0,0 0 1 0 0,1 0 0 0 0,-1 0-1 0 0,1 0 1 0 0,-1 0 0 0 0,1 0 0 0 0,0 1-1 0 0,0-1 1 0 0,0 0 0 0 0,0 0-1 0 0,0 1 1 0 0,1-1 0 0 0,-1 0-1 0 0,0 0 1 0 0,1 0 0 0 0,0 0-1 0 0,0 0 1 0 0,-1 0 0 0 0,1 0-1 0 0,0 0 1 0 0,1 0 0 0 0,1 3 0 0 0,1-2 2 0 0,0 0 1 0 0,0 0 0 0 0,0 0-1 0 0,1-1 1 0 0,-1 1 0 0 0,1-1-1 0 0,-1 0 1 0 0,1 0 0 0 0,0-1 0 0 0,8 2-1 0 0,67 16 56 0 0,-38-11-84 0 0,-1 2-1 0 0,0 2 1 0 0,76 33-1 0 0,-113-43 11 0 0,0 0 0 0 0,0 1 0 0 0,0-1 0 0 0,-1 1 0 0 0,1-1 0 0 0,-1 1 0 0 0,1 0 0 0 0,-1 1 0 0 0,4 4 0 0 0,-6-7 25 0 0,-1 1 0 0 0,1-1 0 0 0,-1 0 0 0 0,1 0 0 0 0,-1 1 0 0 0,1-1 0 0 0,-1 0 0 0 0,0 1 0 0 0,0-1 0 0 0,0 0 0 0 0,0 1 0 0 0,0-1 0 0 0,0 1 1 0 0,0-1-1 0 0,0 0 0 0 0,0 1 0 0 0,-1-1 0 0 0,1 0 0 0 0,-1 1 0 0 0,1-1 0 0 0,-1 0 0 0 0,1 0 0 0 0,-1 0 0 0 0,0 1 0 0 0,1-1 0 0 0,-1 0 0 0 0,0 0 0 0 0,0 0 1 0 0,0 0-1 0 0,0 0 0 0 0,0 0 0 0 0,0 0 0 0 0,0-1 0 0 0,0 1 0 0 0,-2 1 0 0 0,-5 4 153 0 0,-2 0 1 0 0,1-1-1 0 0,0 0 1 0 0,-1 0-1 0 0,0-1 1 0 0,0 0-1 0 0,-1-1 0 0 0,-11 3 1 0 0,-90 12 446 0 0,90-16-541 0 0,-116 10-1018 0 0,50-9-3106 0 0,72-3 1966 0 0,6 0 1493 0 0,-4-2-2544 0 0,13 1 2760 0 0,-18-2-3263 0 0</inkml:trace>
</inkml:ink>
</file>

<file path=ppt/ink/ink6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4.1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3 11 1528 0 0,'-10'-9'3232'0'0,"4"8"-2947"0"0,1 1 1 0 0,0 0-1 0 0,0 0 1 0 0,0 1-1 0 0,-1-1 1 0 0,1 1-1 0 0,0 0 0 0 0,0 1 1 0 0,0-1-1 0 0,0 1 1 0 0,0 0-1 0 0,1 0 1 0 0,-1 0-1 0 0,1 1 1 0 0,-1 0-1 0 0,1 0 1 0 0,0 0-1 0 0,-7 7 1 0 0,0 0 103 0 0,0 0 1 0 0,1 1 0 0 0,1 0 0 0 0,0 1 0 0 0,-13 22 0 0 0,18-27-253 0 0,1 1 1 0 0,0 0-1 0 0,0 0 0 0 0,1 0 0 0 0,0 1 1 0 0,0-1-1 0 0,1 0 0 0 0,0 1 0 0 0,0-1 1 0 0,1 1-1 0 0,0-1 0 0 0,3 17 0 0 0,-2-18-73 0 0,1 1 0 0 0,0-1 0 0 0,0 0 0 0 0,0 1 0 0 0,1-1 0 0 0,0 0 0 0 0,0 0 0 0 0,1-1 0 0 0,0 1 0 0 0,0-1 0 0 0,1 0 0 0 0,-1 0 0 0 0,1 0 0 0 0,9 8 0 0 0,-12-13-78 0 0,0 1 0 0 0,0-1 0 0 0,0 1 0 0 0,0-1 0 0 0,0 0 0 0 0,0 0 1 0 0,0 0-1 0 0,0 0 0 0 0,0 0 0 0 0,0 0 0 0 0,1-1 0 0 0,-1 1 0 0 0,0-1 0 0 0,0 1 0 0 0,1-1 1 0 0,-1 0-1 0 0,0 0 0 0 0,1 0 0 0 0,-1 0 0 0 0,4-1 0 0 0,-3 0-48 0 0,-1 0-1 0 0,1 0 0 0 0,0-1 1 0 0,-1 1-1 0 0,1-1 0 0 0,-1 1 1 0 0,0-1-1 0 0,1 0 0 0 0,-1 0 1 0 0,0 0-1 0 0,0-1 0 0 0,0 1 1 0 0,3-5-1 0 0,1-4-115 0 0,0-1 0 0 0,0 0 1 0 0,-1 0-1 0 0,0-1 0 0 0,4-22 0 0 0,10-45 1356 0 0,-18 77-978 0 0,1 13-189 0 0,1-1 0 0 0,0 1 0 0 0,0-1 0 0 0,7 12 0 0 0,-10-20-8 0 0,9 19-291 0 0,0-1 0 0 0,2 0 0 0 0,17 24 0 0 0,-25-38-179 0 0,1 0 0 0 0,0 0 1 0 0,0 0-1 0 0,1-1 0 0 0,-1 0 0 0 0,1 0 1 0 0,0 0-1 0 0,0 0 0 0 0,0-1 0 0 0,1 0 0 0 0,-1 0 1 0 0,1 0-1 0 0,0-1 0 0 0,-1 0 0 0 0,1 0 1 0 0,11 2-1 0 0,0-4-2509 0 0</inkml:trace>
</inkml:ink>
</file>

<file path=ppt/ink/ink6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4.5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2 159 600 0 0,'0'0'3008'0'0,"-3"1"-1750"0"0,-2 0-962 0 0,1 0-1 0 0,0 0 0 0 0,0 0 0 0 0,0 1 0 0 0,0 0 0 0 0,0-1 0 0 0,1 2 0 0 0,-1-1 1 0 0,0 0-1 0 0,1 1 0 0 0,-1-1 0 0 0,1 1 0 0 0,-4 4 0 0 0,4-3-123 0 0,0-1-1 0 0,0 1 1 0 0,0 0-1 0 0,0 0 1 0 0,1 0-1 0 0,0 0 1 0 0,0 0-1 0 0,0 0 0 0 0,0 1 1 0 0,0-1-1 0 0,1 1 1 0 0,0-1-1 0 0,0 1 1 0 0,-1 7-1 0 0,3-9-115 0 0,-1 0 1 0 0,0 0-1 0 0,1 0 0 0 0,-1 0 0 0 0,1 0 0 0 0,0 0 0 0 0,0 0 0 0 0,0-1 0 0 0,0 1 0 0 0,1 0 0 0 0,-1 0 0 0 0,1-1 1 0 0,0 1-1 0 0,-1-1 0 0 0,1 0 0 0 0,0 1 0 0 0,0-1 0 0 0,1 0 0 0 0,-1 0 0 0 0,0 0 0 0 0,1 0 0 0 0,-1-1 0 0 0,6 3 1 0 0,0 1-65 0 0,0-2 1 0 0,0 1 0 0 0,1-1 0 0 0,-1 0 0 0 0,1 0 0 0 0,0-1 0 0 0,0-1 0 0 0,0 1 0 0 0,-1-1 0 0 0,1-1 0 0 0,0 0 0 0 0,1 0 0 0 0,-1 0 0 0 0,14-4 0 0 0,-16 2-108 0 0,0 0 1 0 0,1 0-1 0 0,-1-1 0 0 0,0 0 1 0 0,-1 0-1 0 0,1-1 0 0 0,0 1 1 0 0,-1-2-1 0 0,0 1 0 0 0,0-1 1 0 0,0 1-1 0 0,-1-2 0 0 0,0 1 1 0 0,0-1-1 0 0,0 1 0 0 0,0-2 1 0 0,6-10-1 0 0,-2-4 197 0 0,0 0-1 0 0,-1-1 1 0 0,-1 0-1 0 0,-2-1 1 0 0,0 0 0 0 0,4-42-1 0 0,-3 21 1353 0 0,-5 25-473 0 0,-1 19-935 0 0,-1 1 439 0 0,1-1-439 0 0,0 0 0 0 0,0 1 0 0 0,0-1-1 0 0,0 0 1 0 0,0 0 0 0 0,0 0 0 0 0,0 0 0 0 0,0 0 0 0 0,0 0 0 0 0,-1 0-1 0 0,1 0 1 0 0,0 0 0 0 0,0 0 0 0 0,0 0 0 0 0,0 0 0 0 0,0 0 0 0 0,-1-1 465 0 0,1 1-465 0 0,0 0 0 0 0,0 0-1 0 0,0 0 1 0 0,0 0 0 0 0,-2 3 215 0 0,1 1 0 0 0,0-1 0 0 0,0 1 0 0 0,0 0 0 0 0,0-1-1 0 0,0 7 1 0 0,1 39 430 0 0,2 0-1 0 0,15 88 1 0 0,-9-79-3046 0 0,3 82 1 0 0,-9-106-457 0 0,0-20-2722 0 0</inkml:trace>
</inkml:ink>
</file>

<file path=ppt/ink/ink6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4.8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9 0 188 0 0,'0'0'1191'0'0,"-19"11"1657"0"0,-47 22 599 0 0,49-25-2985 0 0,0 0-1 0 0,0 0 0 0 0,1 2 0 0 0,0 0 0 0 0,0 1 1 0 0,-23 22-1 0 0,38-32-426 0 0,-1 0 1 0 0,1 1-1 0 0,0-1 1 0 0,-1 1-1 0 0,1-1 1 0 0,0 1-1 0 0,0-1 0 0 0,0 1 1 0 0,1 0-1 0 0,-1 0 1 0 0,0-1-1 0 0,1 1 1 0 0,-1 0-1 0 0,1 0 1 0 0,-1 0-1 0 0,1 0 0 0 0,0 0 1 0 0,0 0-1 0 0,0 0 1 0 0,0 0-1 0 0,0-1 1 0 0,0 1-1 0 0,0 0 0 0 0,1 0 1 0 0,-1 0-1 0 0,1 0 1 0 0,0 0-1 0 0,-1-1 1 0 0,1 1-1 0 0,0 0 1 0 0,0 0-1 0 0,0-1 0 0 0,0 1 1 0 0,0-1-1 0 0,0 1 1 0 0,1-1-1 0 0,-1 1 1 0 0,0-1-1 0 0,1 0 0 0 0,-1 0 1 0 0,3 2-1 0 0,7 5 62 0 0,1-1 0 0 0,0 1 0 0 0,0-2 0 0 0,20 8 0 0 0,-27-12-73 0 0,29 12-580 0 0,50 12 0 0 0,-5-10-5882 0 0</inkml:trace>
</inkml:ink>
</file>

<file path=ppt/ink/ink6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5.3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88 640 0 0,'0'0'1165'0'0,"3"0"-26"0"0,0 0-942 0 0,-1 1 1 0 0,0-1-1 0 0,1 0 1 0 0,-1 1-1 0 0,0 0 1 0 0,0-1-1 0 0,1 1 1 0 0,-1 0 0 0 0,0 0-1 0 0,0 1 1 0 0,0-1-1 0 0,0 0 1 0 0,0 1-1 0 0,0-1 1 0 0,0 1-1 0 0,-1-1 1 0 0,1 1 0 0 0,-1 0-1 0 0,1 0 1 0 0,-1 0-1 0 0,1 0 1 0 0,1 3-1 0 0,6 10 582 0 0,-1 1-1 0 0,7 18 0 0 0,-6-14-192 0 0,28 66 980 0 0,-3 2 0 0 0,-4 1 1 0 0,22 114-1 0 0,-44-160-77 0 0,-24-51-1329 0 0,13 5-189 0 0,0-1-1 0 0,0 1 1 0 0,0-1 0 0 0,1 1 0 0 0,0-1 0 0 0,-1 0 0 0 0,1 0-1 0 0,1 0 1 0 0,-1 0 0 0 0,-1-7 0 0 0,-2 0-94 0 0,-10-31-122 0 0,1 1-1 0 0,2-2 0 0 0,2 1 0 0 0,2-2 0 0 0,1 1 1 0 0,3-1-1 0 0,1 0 0 0 0,3 0 0 0 0,1 1 1 0 0,10-62-1 0 0,-8 87 164 0 0,1 0 0 0 0,1 1 0 0 0,0 0 0 0 0,2 0 0 0 0,12-25 0 0 0,-16 36 45 0 0,0 0 0 0 0,1 1 0 0 0,0-1 0 0 0,0 1 0 0 0,0 0 0 0 0,1 0 0 0 0,-1 0 0 0 0,1 1 1 0 0,0-1-1 0 0,1 1 0 0 0,-1 1 0 0 0,1-1 0 0 0,0 1 0 0 0,0-1 0 0 0,0 2 0 0 0,0-1 0 0 0,10-2 0 0 0,-15 4 25 0 0,1 1 1 0 0,0 0-1 0 0,0 0 0 0 0,0 0 0 0 0,-1 0 1 0 0,1 0-1 0 0,0 0 0 0 0,0 0 1 0 0,-1 0-1 0 0,1 1 0 0 0,0-1 1 0 0,0 1-1 0 0,2 1 0 0 0,2 0-15 0 0,-2-1 19 0 0,-1 0-1 0 0,1 1 1 0 0,-1-1-1 0 0,1 1 1 0 0,-1 0-1 0 0,0 0 1 0 0,0 0-1 0 0,0 1 1 0 0,0-1-1 0 0,0 1 1 0 0,0-1-1 0 0,-1 1 1 0 0,1 0 0 0 0,-1 0-1 0 0,0 0 1 0 0,0 0-1 0 0,0 1 1 0 0,0-1-1 0 0,-1 0 1 0 0,1 1-1 0 0,-1-1 1 0 0,0 1-1 0 0,0 0 1 0 0,0-1-1 0 0,0 5 1 0 0,0 1-11 0 0,0 0 1 0 0,0 0 0 0 0,-1-1 0 0 0,0 1-1 0 0,0 0 1 0 0,-1 0 0 0 0,-1-1-1 0 0,1 1 1 0 0,-5 13 0 0 0,-3-1-50 0 0,0 0 0 0 0,-2 0 1 0 0,0-1-1 0 0,-1 0 0 0 0,-1-1 0 0 0,-29 33 1 0 0,27-36-586 0 0,0-1 0 0 0,-1-1 1 0 0,-1 0-1 0 0,-24 15 0 0 0,35-25 1 0 0,4-3 367 0 0,1 0 0 0 0,-1 0 0 0 0,1 0 0 0 0,-1 0 0 0 0,0 0 0 0 0,0 0 1 0 0,1 0-1 0 0,-1-1 0 0 0,0 1 0 0 0,0-1 0 0 0,0 1 0 0 0,0-1 0 0 0,0 0 0 0 0,-2 0 0 0 0,-16 0-2071 0 0</inkml:trace>
</inkml:ink>
</file>

<file path=ppt/ink/ink6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5.7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348 0 0,'14'4'523'0'0,"-1"0"0"0"0,1 0 1 0 0,-1 2-1 0 0,0-1 0 0 0,-1 2 0 0 0,1 0 1 0 0,-1 0-1 0 0,-1 1 0 0 0,1 1 0 0 0,-2 0 0 0 0,1 0 1 0 0,13 16-1 0 0,-18-18-350 0 0,-1 0 0 0 0,1 0 1 0 0,-1 0-1 0 0,-1 1 0 0 0,1 0 0 0 0,-2 0 0 0 0,1 0 1 0 0,-1 0-1 0 0,0 1 0 0 0,0-1 0 0 0,-1 1 1 0 0,-1 0-1 0 0,1-1 0 0 0,-1 1 0 0 0,-1 0 1 0 0,0 0-1 0 0,0 0 0 0 0,-1 0 0 0 0,1 0 0 0 0,-5 15 1 0 0,0-9 418 0 0,1-1 258 0 0,4-13-565 0 0,3-5-202 0 0,4-7-79 0 0,1 1 1 0 0,0 0 0 0 0,0 1-1 0 0,1 0 1 0 0,0 0 0 0 0,17-12-1 0 0,8-9-35 0 0,71-60-62 0 0,-105 89 89 0 0,1 1-1 0 0,0-1 0 0 0,0 1 0 0 0,-1-1 0 0 0,1 1 0 0 0,0-1 0 0 0,0 1 1 0 0,0-1-1 0 0,0 1 0 0 0,0 0 0 0 0,0 0 0 0 0,0-1 0 0 0,-1 1 0 0 0,1 0 1 0 0,0 0-1 0 0,0 0 0 0 0,0 0 0 0 0,0 0 0 0 0,0 0 0 0 0,0 0 0 0 0,0 0 1 0 0,0 1-1 0 0,0-1 0 0 0,0 0 0 0 0,0 1 0 0 0,0-1 0 0 0,0 0 0 0 0,-1 1 1 0 0,1-1-1 0 0,0 1 0 0 0,0-1 0 0 0,0 1 0 0 0,-1 0 0 0 0,1-1 0 0 0,1 2 1 0 0,2 3-10 0 0,-1 0 0 0 0,0 0 1 0 0,0 1-1 0 0,0-1 0 0 0,2 6 1 0 0,8 14 183 0 0,-8-19 22 0 0,1 0 1 0 0,-1 1-1 0 0,1-2 0 0 0,1 1 1 0 0,-1-1-1 0 0,1 0 1 0 0,0 0-1 0 0,0-1 0 0 0,0 0 1 0 0,0 0-1 0 0,10 3 1 0 0,-14-6-126 0 0,-1 0 0 0 0,1-1 0 0 0,-1 1 0 0 0,1-1 0 0 0,0 1 0 0 0,-1-1 1 0 0,1 0-1 0 0,-1 0 0 0 0,1 0 0 0 0,0 0 0 0 0,-1 0 0 0 0,1-1 0 0 0,-1 1 1 0 0,1-1-1 0 0,0 0 0 0 0,-1 0 0 0 0,0 0 0 0 0,1 0 0 0 0,-1 0 0 0 0,1 0 0 0 0,-1 0 1 0 0,0-1-1 0 0,0 0 0 0 0,0 1 0 0 0,0-1 0 0 0,0 0 0 0 0,0 0 0 0 0,2-3 0 0 0,-2 2-57 0 0,0-1-1 0 0,0 0 0 0 0,0 0 0 0 0,0 0 0 0 0,-1-1 0 0 0,0 1 0 0 0,1 0 0 0 0,-2-1 1 0 0,1 1-1 0 0,0 0 0 0 0,-1-1 0 0 0,0 1 0 0 0,0-1 0 0 0,0 1 0 0 0,-2-9 1 0 0,1 6-220 0 0,-1 1 0 0 0,0-1 0 0 0,0 0 0 0 0,-1 1 0 0 0,1-1 0 0 0,-2 1 1 0 0,1 0-1 0 0,0 0 0 0 0,-1 0 0 0 0,0 0 0 0 0,-8-8 0 0 0,8 11-270 0 0,0-1-1 0 0,1 1 1 0 0,-1 0-1 0 0,-1 0 0 0 0,1 1 1 0 0,0-1-1 0 0,-1 1 1 0 0,1 0-1 0 0,-1 0 0 0 0,1 0 1 0 0,-1 1-1 0 0,0 0 1 0 0,0 0-1 0 0,0 0 0 0 0,0 0 1 0 0,-7 0-1 0 0</inkml:trace>
</inkml:ink>
</file>

<file path=ppt/ink/ink6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6.5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16 1100 0 0,'0'0'989'0'0,"1"12"1117"0"0,17 120 2367 0 0,28 61-2254 0 0,4 26-1350 0 0,-41-158 1388 0 0,-23-72-2034 0 0,10 5-218 0 0,0 0-1 0 0,0 0 1 0 0,1 0-1 0 0,0 0 1 0 0,1-1-1 0 0,-1 0 1 0 0,1 0 0 0 0,0 1-1 0 0,1-1 1 0 0,-1-8-1 0 0,-2-4-54 0 0,-6-33-78 0 0,2-1-1 0 0,2 0 1 0 0,3 0 0 0 0,2 0-1 0 0,2-1 1 0 0,15-90 0 0 0,-12 121 125 0 0,1 0 0 0 0,1 1 0 0 0,1 0-1 0 0,18-37 1 0 0,-21 51-2 0 0,0 0 1 0 0,0 0-1 0 0,1 1 0 0 0,0-1 0 0 0,0 1 0 0 0,0 0 0 0 0,1 1 0 0 0,1-1 1 0 0,-1 1-1 0 0,1 1 0 0 0,0-1 0 0 0,0 1 0 0 0,0 0 0 0 0,1 1 0 0 0,11-6 1 0 0,-16 9-10 0 0,0 0 1 0 0,0 0 0 0 0,1 0 0 0 0,-1 1 0 0 0,1-1-1 0 0,-1 1 1 0 0,0-1 0 0 0,1 1 0 0 0,-1 0 0 0 0,1 1-1 0 0,-1-1 1 0 0,1 1 0 0 0,-1-1 0 0 0,0 1 0 0 0,1 0-1 0 0,-1 0 1 0 0,0 0 0 0 0,0 1 0 0 0,0-1 0 0 0,0 1-1 0 0,0 0 1 0 0,0 0 0 0 0,0 0 0 0 0,0 0-1 0 0,4 5 1 0 0,-4-4 1 0 0,-1 1-1 0 0,1-1 0 0 0,-1 1 1 0 0,0 0-1 0 0,0 0 1 0 0,0 0-1 0 0,0 0 0 0 0,-1 0 1 0 0,1 0-1 0 0,-1 0 1 0 0,0 1-1 0 0,-1-1 0 0 0,1 0 1 0 0,-1 1-1 0 0,1-1 1 0 0,-1 0-1 0 0,-1 1 0 0 0,1-1 1 0 0,-2 8-1 0 0,-2 0-27 0 0,0 0 0 0 0,0 0 0 0 0,-1 0 0 0 0,-1-1 0 0 0,0 0 0 0 0,-1 0 0 0 0,0 0 0 0 0,0-1 0 0 0,-1 0 0 0 0,-1-1 0 0 0,-16 16 0 0 0,-3-1-689 0 0,0-2-1 0 0,-57 34 0 0 0,16-23-4424 0 0,57-28 2732 0 0</inkml:trace>
</inkml:ink>
</file>

<file path=ppt/ink/ink6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7.1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6 112 312 0 0,'-11'-8'3906'0'0,"4"8"-3535"0"0,-1 0 0 0 0,1 0 1 0 0,-1 1-1 0 0,1 0 1 0 0,0 0-1 0 0,0 1 0 0 0,0 0 1 0 0,0 0-1 0 0,0 0 0 0 0,0 1 1 0 0,0 0-1 0 0,1 1 0 0 0,-13 7 1 0 0,2 1 88 0 0,1 0 1 0 0,0 1-1 0 0,-28 28 1 0 0,37-33-322 0 0,0-1-1 0 0,1 1 1 0 0,0 1-1 0 0,1-1 1 0 0,0 1-1 0 0,0 0 0 0 0,1 0 1 0 0,0 0-1 0 0,-4 17 1 0 0,7-22-93 0 0,0 1-1 0 0,0-1 1 0 0,1 1-1 0 0,-1-1 1 0 0,1 1-1 0 0,0-1 1 0 0,1 1 0 0 0,-1-1-1 0 0,1 1 1 0 0,0-1-1 0 0,0 1 1 0 0,0-1 0 0 0,1 0-1 0 0,0 0 1 0 0,-1 1-1 0 0,1-1 1 0 0,1 0-1 0 0,-1-1 1 0 0,1 1 0 0 0,-1 0-1 0 0,1-1 1 0 0,0 1-1 0 0,6 4 1 0 0,-6-5-56 0 0,0-1 0 0 0,0 1 0 0 0,0-1 0 0 0,0 0 0 0 0,1 0 0 0 0,-1 0 0 0 0,1-1 0 0 0,-1 1 0 0 0,1-1 0 0 0,-1 0 0 0 0,1 0 0 0 0,0 0 0 0 0,0 0 1 0 0,0-1-1 0 0,0 1 0 0 0,5-1 0 0 0,-3-1-94 0 0,-1 1 0 0 0,1-1 0 0 0,-1-1 0 0 0,0 1 1 0 0,1-1-1 0 0,-1 0 0 0 0,0 0 0 0 0,0-1 0 0 0,0 1 1 0 0,6-6-1 0 0,0 1-124 0 0,-1-2 0 0 0,0 0 0 0 0,0 0 0 0 0,-1 0 0 0 0,-1-1 0 0 0,1-1 0 0 0,-2 1 1 0 0,13-22-1 0 0,12-37-382 0 0,-29 60 578 0 0,0 1-1 0 0,0-1 1 0 0,-1 0-1 0 0,0 0 1 0 0,-1 0-1 0 0,1-12 1 0 0,-7 24 232 0 0,5-3-190 0 0,-1 0-1 0 0,1 0 1 0 0,-1 0 0 0 0,1 0-1 0 0,0 1 1 0 0,-1-1 0 0 0,1 0-1 0 0,-1 0 1 0 0,1 0-1 0 0,0 0 1 0 0,-1 0 0 0 0,1 1-1 0 0,0-1 1 0 0,-1 0 0 0 0,1 0-1 0 0,0 0 1 0 0,-1 1-1 0 0,1-1 1 0 0,0 0 0 0 0,-1 1-1 0 0,1-1 1 0 0,0 0 0 0 0,0 1-1 0 0,-1-1 1 0 0,1 0-1 0 0,0 1 1 0 0,0-1 0 0 0,0 1-1 0 0,-2 7 66 0 0,1 0 0 0 0,0 0-1 0 0,1 0 1 0 0,0 0 0 0 0,0 0 0 0 0,1 0-1 0 0,0 0 1 0 0,0-1 0 0 0,1 1-1 0 0,0 0 1 0 0,0-1 0 0 0,1 1 0 0 0,0-1-1 0 0,0 1 1 0 0,1-1 0 0 0,0 0-1 0 0,0-1 1 0 0,0 1 0 0 0,1-1 0 0 0,8 9-1 0 0,-8-10-36 0 0,0 1-1 0 0,1-2 0 0 0,-1 1 0 0 0,1 0 0 0 0,0-1 1 0 0,0 0-1 0 0,1 0 0 0 0,-1-1 0 0 0,1 0 1 0 0,-1 0-1 0 0,1-1 0 0 0,0 1 0 0 0,0-1 1 0 0,0-1-1 0 0,1 0 0 0 0,-1 0 0 0 0,0 0 1 0 0,0-1-1 0 0,1 1 0 0 0,-1-2 0 0 0,0 1 1 0 0,14-4-1 0 0,-10 1-29 0 0,0-2 1 0 0,-1 1-1 0 0,1-1 1 0 0,-1-1-1 0 0,1 0 0 0 0,-2 0 1 0 0,1-1-1 0 0,-1 0 1 0 0,0-1-1 0 0,0 0 1 0 0,-1-1-1 0 0,0 1 0 0 0,7-12 1 0 0,-7 9 5 0 0,0-1 0 0 0,-1 0 0 0 0,0 0 0 0 0,0-1 0 0 0,-2 0 1 0 0,1 0-1 0 0,-2 0 0 0 0,0-1 0 0 0,0 1 0 0 0,2-24 0 0 0,-10 8-84 0 0,-5 35-55 0 0,7-1 125 0 0,0 0 1 0 0,0 1-1 0 0,1-1 0 0 0,0 0 1 0 0,0 1-1 0 0,0-1 1 0 0,0 1-1 0 0,1-1 0 0 0,1 11 1 0 0,-1-3 18 0 0,12 353 2294 0 0,-9-319-1738 0 0,-4 86-1 0 0,-1-107-272 0 0,-1-1-1 0 0,-2 0 1 0 0,0 0-1 0 0,-2 0 1 0 0,-9 24-1 0 0,14-46-234 0 0,1 0-1 0 0,-1 0 1 0 0,1 0-1 0 0,-1 0 1 0 0,0-1-1 0 0,0 1 1 0 0,0-1-1 0 0,0 1 1 0 0,0-1-1 0 0,-1 0 1 0 0,1 1-1 0 0,-1-1 1 0 0,-3 2-1 0 0,5-4-52 0 0,1 1 0 0 0,-1-1 0 0 0,0 0 0 0 0,0 1 0 0 0,0-1 0 0 0,0 0 0 0 0,0 0 0 0 0,1 0 0 0 0,-1 0 0 0 0,0 0 0 0 0,0 0 0 0 0,0 0 0 0 0,0 0 0 0 0,0 0 0 0 0,0 0 0 0 0,1 0 0 0 0,-1 0 0 0 0,0-1 0 0 0,0 1 0 0 0,-1-1 0 0 0,1 0-22 0 0,-1 0 1 0 0,1 0 0 0 0,0 0-1 0 0,-1 0 1 0 0,1-1 0 0 0,0 1-1 0 0,0 0 1 0 0,0-1-1 0 0,0 1 1 0 0,0-1 0 0 0,1 1-1 0 0,-1-1 1 0 0,0 0 0 0 0,0-1-1 0 0,-2-7-60 0 0,1 1 0 0 0,0-1 0 0 0,0 0 0 0 0,1 1 0 0 0,0-1 0 0 0,1 0 0 0 0,0 1 0 0 0,2-11 1 0 0,15-81-349 0 0,-10 69 257 0 0,30-137-442 0 0,-14 75 250 0 0,16-146 0 0 0,-38 226 322 0 0,0 0 1 0 0,-1 0-1 0 0,0 0 1 0 0,-1 0-1 0 0,-1 0 0 0 0,-6-25 1 0 0,7 35 18 0 0,0 0 0 0 0,-1 1 0 0 0,0-1 0 0 0,1 0 0 0 0,-1 0 0 0 0,-1 1 0 0 0,1-1 0 0 0,0 1 0 0 0,-1 0 0 0 0,0 0 0 0 0,0 0 0 0 0,0 0 0 0 0,0 0 0 0 0,0 1 0 0 0,0-1 0 0 0,-1 1 0 0 0,1 0 0 0 0,-1 0 0 0 0,0 0 0 0 0,1 0 0 0 0,-1 1 0 0 0,0-1 0 0 0,0 1 0 0 0,0 0 0 0 0,0 0 0 0 0,-8 0 0 0 0,3 1-3 0 0,1 0-1 0 0,0 1 1 0 0,0-1-1 0 0,0 2 1 0 0,0-1-1 0 0,1 1 0 0 0,-1 0 1 0 0,0 1-1 0 0,1 0 1 0 0,-1 0-1 0 0,1 1 0 0 0,0-1 1 0 0,-8 7-1 0 0,11-8-21 0 0,0 1 0 0 0,1 0-1 0 0,-1 0 1 0 0,0 0-1 0 0,1 0 1 0 0,0 1 0 0 0,0-1-1 0 0,0 1 1 0 0,0 0-1 0 0,0 0 1 0 0,1 0 0 0 0,-1 0-1 0 0,1 1 1 0 0,0-1 0 0 0,1 1-1 0 0,-1-1 1 0 0,1 1-1 0 0,0-1 1 0 0,0 1 0 0 0,0 0-1 0 0,1 0 1 0 0,0-1-1 0 0,0 8 1 0 0,1-7-132 0 0,0 0 1 0 0,1 0-1 0 0,0 0 0 0 0,0-1 0 0 0,0 1 0 0 0,0-1 1 0 0,1 1-1 0 0,-1-1 0 0 0,1 0 0 0 0,0 0 1 0 0,1 0-1 0 0,-1 0 0 0 0,1-1 0 0 0,-1 1 1 0 0,1-1-1 0 0,0 0 0 0 0,0 0 0 0 0,5 2 1 0 0,4 2-692 0 0,-1 0 0 0 0,1-1 0 0 0,0 0 1 0 0,0-2-1 0 0,19 6 0 0 0,-5-5-1153 0 0,1-3-191 0 0</inkml:trace>
</inkml:ink>
</file>

<file path=ppt/ink/ink6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7.7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4 601 364 0 0,'0'-1'289'0'0,"0"-1"48"0"0,0-1 1 0 0,0 1-1 0 0,0 0 1 0 0,0-1-1 0 0,-1 1 1 0 0,1 0-1 0 0,-1 0 1 0 0,0-4-1 0 0,0 5-206 0 0,0 0 0 0 0,1 0 0 0 0,-1 0 0 0 0,0 1 0 0 0,0-1 0 0 0,1 0 0 0 0,-1 0 0 0 0,0 1 0 0 0,0-1 0 0 0,0 0-1 0 0,0 1 1 0 0,0-1 0 0 0,0 1 0 0 0,0-1 0 0 0,0 1 0 0 0,0 0 0 0 0,0-1 0 0 0,0 1 0 0 0,0 0 0 0 0,0 0 0 0 0,0 0 0 0 0,-1-1 0 0 0,1 1 0 0 0,0 0 0 0 0,-1 1 0 0 0,-9-1 115 0 0,0 2 0 0 0,0-1 0 0 0,1 2 0 0 0,-1-1 0 0 0,1 1 0 0 0,-1 1 0 0 0,1 0 0 0 0,0 0 0 0 0,0 1 1 0 0,1 0-1 0 0,-1 1 0 0 0,1 0 0 0 0,-10 9 0 0 0,13-10-204 0 0,0 1 0 0 0,0-1 0 0 0,0 1-1 0 0,1 0 1 0 0,0 0 0 0 0,0 0 0 0 0,1 1 0 0 0,0 0 0 0 0,0 0 0 0 0,0 0 0 0 0,1 0 0 0 0,0 0-1 0 0,0 1 1 0 0,1-1 0 0 0,0 1 0 0 0,0 0 0 0 0,1 0 0 0 0,0 0 0 0 0,1 13 0 0 0,-1-18-46 0 0,2-1 0 0 0,-1 0 0 0 0,0 0 0 0 0,0 1 0 0 0,1-1 0 0 0,-1 0 0 0 0,1 0 0 0 0,0 1 0 0 0,0-1 0 0 0,0 0 0 0 0,0 0 0 0 0,0 0 0 0 0,0 0 0 0 0,0 0 0 0 0,1 0 0 0 0,-1-1 0 0 0,1 1-1 0 0,0 0 1 0 0,-1-1 0 0 0,1 1 0 0 0,0-1 0 0 0,0 1 0 0 0,0-1 0 0 0,0 0 0 0 0,0 0 0 0 0,0 0 0 0 0,0 0 0 0 0,0 0 0 0 0,0 0 0 0 0,0-1 0 0 0,4 1 0 0 0,-2 0-98 0 0,1-1 0 0 0,-1 0-1 0 0,1 0 1 0 0,-1-1 0 0 0,1 1 0 0 0,-1-1-1 0 0,1 0 1 0 0,-1 0 0 0 0,0 0 0 0 0,1-1-1 0 0,-1 1 1 0 0,0-1 0 0 0,0 0-1 0 0,0-1 1 0 0,5-3 0 0 0,2-3-111 0 0,-1 0 1 0 0,-1-1 0 0 0,0 0-1 0 0,0 0 1 0 0,-1-1-1 0 0,8-14 1 0 0,14-17 1254 0 0,-25 81 140 0 0,-3-33-1073 0 0,0 1-1 0 0,1-1 0 0 0,0 0 0 0 0,0 0 1 0 0,1 0-1 0 0,0 0 0 0 0,0 0 1 0 0,0-1-1 0 0,1 0 0 0 0,0 0 1 0 0,0 0-1 0 0,0 0 0 0 0,0-1 0 0 0,1 0 1 0 0,0 0-1 0 0,0 0 0 0 0,0-1 1 0 0,0 0-1 0 0,0 0 0 0 0,1 0 1 0 0,-1-1-1 0 0,13 3 0 0 0,-14-5-103 0 0,0 0-1 0 0,-1 0 1 0 0,1 0-1 0 0,0-1 1 0 0,-1 1-1 0 0,1-1 1 0 0,-1-1-1 0 0,1 1 1 0 0,-1 0-1 0 0,0-1 1 0 0,1 0-1 0 0,-1 0 1 0 0,0 0-1 0 0,0-1 1 0 0,0 1 0 0 0,-1-1-1 0 0,1 0 1 0 0,-1 0-1 0 0,1 0 1 0 0,-1 0-1 0 0,0-1 1 0 0,5-7-1 0 0,-1 1-104 0 0,-1-1 0 0 0,0 0 0 0 0,0 0 0 0 0,-1 0 0 0 0,0-1 0 0 0,-1 0 0 0 0,3-14 0 0 0,4-28-141 0 0,6-93 0 0 0,-10-60 504 0 0,-6 139 257 0 0,-1-131 4000 0 0,0 197-4073 0 0,-6 20 347 0 0,4-7-605 0 0,0 0 0 0 0,1 0 0 0 0,0 1 0 0 0,0-1 1 0 0,2 20-1 0 0,12 59 229 0 0,-8-56-268 0 0,60 294-410 0 0,-43-226-3416 0 0,-1 0-4345 0 0,-17-83 2472 0 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9.5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5 640 0 0,'10'-4'7771'0'0,"-7"4"-7429"0"0,-1 2-13 0 0,-1 0 0 0 0,1 0-1 0 0,0 0 1 0 0,-1 0 0 0 0,1 1-1 0 0,-1-1 1 0 0,1 0-1 0 0,-1 1 1 0 0,0-1 0 0 0,0 1-1 0 0,0-1 1 0 0,0 6 0 0 0,8 41 1502 0 0,-5-23-1152 0 0,7 35-63 0 0,-3 1 0 0 0,0 84 0 0 0,-7-108-1397 0 0,0-18-2128 0 0,-2 30 0 0 0</inkml:trace>
</inkml:ink>
</file>

<file path=ppt/ink/ink6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8.1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6 228 0 0,'2'-6'458'0'0,"0"1"-1"0"0,1-1 1 0 0,-1 1-1 0 0,1 0 1 0 0,0 0-1 0 0,1 0 1 0 0,-1 0-1 0 0,1 1 1 0 0,0-1-1 0 0,0 1 1 0 0,0 0 0 0 0,1 0-1 0 0,0 1 1 0 0,-1-1-1 0 0,1 1 1 0 0,0 0-1 0 0,1 0 1 0 0,-1 1-1 0 0,8-3 1 0 0,2-1 179 0 0,1 0 1 0 0,-1 2-1 0 0,1 0 0 0 0,0 0 1 0 0,32-1-1 0 0,-37 5-342 0 0,-1 0-1 0 0,1 0 0 0 0,-1 2 1 0 0,0-1-1 0 0,1 1 1 0 0,-1 1-1 0 0,0 0 1 0 0,0 0-1 0 0,0 1 0 0 0,-1 0 1 0 0,1 1-1 0 0,-1 0 1 0 0,0 0-1 0 0,-1 1 0 0 0,1 0 1 0 0,-1 1-1 0 0,0 0 1 0 0,0 0-1 0 0,10 14 1 0 0,-12-14-579 0 0,-1 2 1 0 0,1-1 0 0 0,-1 0-1 0 0,-1 1 1 0 0,0 0 0 0 0,0 0-1 0 0,-1 1 1 0 0,0-1 0 0 0,0 1 0 0 0,-1-1-1 0 0,0 1 1 0 0,-1 0 0 0 0,0 14-1 0 0,-4 4-2818 0 0,-1-11-2028 0 0</inkml:trace>
</inkml:ink>
</file>

<file path=ppt/ink/ink6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8.4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4 199 612 0 0,'-14'-26'4503'0'0,"-1"0"1"0"0,-28-35-1 0 0,-12-7 70 0 0,51 63-4071 0 0,-9-8-4987 0 0</inkml:trace>
  <inkml:trace contextRef="#ctx0" brushRef="#br0" timeOffset="1">344 229 2284 0 0,'-1'12'1252'0'0,"0"-1"0"0"0,-1-1 0 0 0,0 1 0 0 0,-6 16 0 0 0,5-15-510 0 0,-1 0 1 0 0,2 1-1 0 0,-3 16 0 0 0,5-18-565 0 0,0-1 0 0 0,0 1 0 0 0,1-1 0 0 0,1 1 0 0 0,-1-1 0 0 0,2 1 0 0 0,-1-1 0 0 0,1 0 0 0 0,1 0-1 0 0,0 0 1 0 0,1-1 0 0 0,-1 1 0 0 0,2-1 0 0 0,-1 0 0 0 0,1-1 0 0 0,1 1 0 0 0,-1-1 0 0 0,2 0 0 0 0,-1-1 0 0 0,1 0 0 0 0,0 0 0 0 0,14 9 0 0 0,-20-15-152 0 0,0 1 0 0 0,0-1 0 0 0,0 0 0 0 0,0 0 0 0 0,0 0 1 0 0,0-1-1 0 0,0 1 0 0 0,0 0 0 0 0,0-1 0 0 0,0 0 0 0 0,0 1 0 0 0,1-1 1 0 0,-1 0-1 0 0,0 0 0 0 0,0 0 0 0 0,0 0 0 0 0,0 0 0 0 0,1-1 0 0 0,-1 1 1 0 0,0-1-1 0 0,0 1 0 0 0,0-1 0 0 0,0 0 0 0 0,0 0 0 0 0,0 0 0 0 0,0 0 1 0 0,0 0-1 0 0,0 0 0 0 0,-1-1 0 0 0,1 1 0 0 0,0 0 0 0 0,-1-1 0 0 0,1 0 1 0 0,-1 1-1 0 0,1-1 0 0 0,-1 0 0 0 0,2-3 0 0 0,0 0 21 0 0,0-1 1 0 0,-1 1-1 0 0,1 0 0 0 0,-1-1 0 0 0,-1 0 1 0 0,1 1-1 0 0,-1-1 0 0 0,0 0 0 0 0,0 0 1 0 0,-1 0-1 0 0,1 1 0 0 0,-1-1 0 0 0,-1-8 1 0 0,-1 5-42 0 0,0-1 0 0 0,-1 1 1 0 0,0-1-1 0 0,-1 1 1 0 0,0 0-1 0 0,0 0 1 0 0,-1 0-1 0 0,0 1 1 0 0,-1 0-1 0 0,-11-14 1 0 0,-5-2-2003 0 0,-49-39 0 0 0,30 28-1951 0 0,41 34 3807 0 0,0 1 0 0 0,-1-1 0 0 0,1 1 0 0 0,-1-1 0 0 0,1 1 0 0 0,0-1 0 0 0,-1 1 0 0 0,1-1 0 0 0,0 0 0 0 0,-1 1 0 0 0,1-1 0 0 0,0 0 0 0 0,0 1 0 0 0,0-1 0 0 0,0 0 0 0 0,-1 1 0 0 0,1-1 0 0 0,0 1 0 0 0,0-1 0 0 0,0 0 0 0 0,1 1 0 0 0,-1-1 0 0 0,0 0 0 0 0,0 0 0 0 0,5-10-1590 0 0</inkml:trace>
</inkml:ink>
</file>

<file path=ppt/ink/ink6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8.7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3 2820 0 0,'12'-5'204'0'0,"1"1"0"0"0,-1 0 0 0 0,1 1 0 0 0,0 1 0 0 0,0 0 1 0 0,0 0-1 0 0,0 1 0 0 0,0 1 0 0 0,0 0 0 0 0,25 4 0 0 0,-30-2 57 0 0,0 0 1 0 0,0 0 0 0 0,0 1-1 0 0,0 0 1 0 0,0 0-1 0 0,-1 1 1 0 0,1 0-1 0 0,-1 0 1 0 0,0 1 0 0 0,0 0-1 0 0,-1 0 1 0 0,0 0-1 0 0,1 1 1 0 0,-2 0 0 0 0,1 0-1 0 0,-1 1 1 0 0,0 0-1 0 0,5 8 1 0 0,-1 2 454 0 0,-1 1 0 0 0,0 0 0 0 0,-1 1 0 0 0,9 37 0 0 0,-9-17 508 0 0,4 59 0 0 0,-7-37 2541 0 0,12-77-3270 0 0,10-29-567 0 0,32-43 1 0 0,-47 72 32 0 0,1 2 1 0 0,1 0-1 0 0,0 0 0 0 0,1 1 0 0 0,0 1 0 0 0,21-14 0 0 0,-32 24 24 0 0,1-1 0 0 0,0 1 0 0 0,-1 0 0 0 0,1 1 0 0 0,0-1 0 0 0,0 1 0 0 0,0 0 0 0 0,1 0 0 0 0,-1 0 0 0 0,0 0 0 0 0,0 1 0 0 0,0-1 0 0 0,1 1 0 0 0,-1 0 0 0 0,0 1 0 0 0,8 0 0 0 0,-7 1 35 0 0,0 0 0 0 0,0 0 0 0 0,0 0 0 0 0,0 0 0 0 0,0 1 0 0 0,-1 0 0 0 0,1 0 0 0 0,-1 0 0 0 0,0 0 0 0 0,0 1 0 0 0,7 7 0 0 0,-4-2-278 0 0,0 0-1 0 0,-1 0 1 0 0,0 0 0 0 0,-1 1-1 0 0,0 0 1 0 0,0 0-1 0 0,-1 0 1 0 0,0 1 0 0 0,-1-1-1 0 0,0 1 1 0 0,-1 0 0 0 0,1 16-1 0 0,-2 21-3224 0 0,-6-17-1875 0 0,1-13 69 0 0</inkml:trace>
</inkml:ink>
</file>

<file path=ppt/ink/ink6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09.1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9 128 4192 0 0,'-58'22'10341'0'0,"58"-22"-10245"0"0,0 0-1 0 0,0 1 0 0 0,0-1 1 0 0,0 0-1 0 0,0 1 0 0 0,0-1 1 0 0,0 0-1 0 0,0 1 1 0 0,0-1-1 0 0,0 0 0 0 0,0 1 1 0 0,0-1-1 0 0,0 0 0 0 0,0 1 1 0 0,1-1-1 0 0,-1 0 0 0 0,0 0 1 0 0,0 1-1 0 0,0-1 0 0 0,0 0 1 0 0,1 1-1 0 0,-1-1 0 0 0,0 0 1 0 0,0 0-1 0 0,1 1 1 0 0,-1-1-1 0 0,0 0 0 0 0,0 0 1 0 0,1 0-1 0 0,-1 0 0 0 0,0 1 1 0 0,1-1-1 0 0,-1 0 0 0 0,0 0 1 0 0,1 0-1 0 0,-1 0 0 0 0,0 0 1 0 0,1 0-1 0 0,-1 0 1 0 0,0 0-1 0 0,1 0 0 0 0,-1 0 1 0 0,0 0-1 0 0,1 0 0 0 0,-1 0 1 0 0,0 0-1 0 0,1 0 0 0 0,-1 0 1 0 0,0 0-1 0 0,1 0 0 0 0,-1 0 1 0 0,0-1-1 0 0,192-14 5674 0 0,107-24-2810 0 0,-148 18-1729 0 0,-96 14-904 0 0,164-29 647 0 0,-201 29-1924 0 0,-16 7 337 0 0,0-1 0 0 0,0 0-1 0 0,0 0 1 0 0,0-1 0 0 0,0 1 0 0 0,0 0-1 0 0,-1 0 1 0 0,4-4 0 0 0,-34-12-11775 0 0,3 14 2817 0 0</inkml:trace>
</inkml:ink>
</file>

<file path=ppt/ink/ink6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4.4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35 908 0 0,'-20'-34'7882'0'0,"21"38"-7605"0"0,0 0 0 0 0,0 0 0 0 0,0 0 0 0 0,1 0 0 0 0,-1 0 0 0 0,5 6 0 0 0,1 6 198 0 0,9 34 228 0 0,-3 1-1 0 0,10 81 1 0 0,-11-61-465 0 0,30 226 260 0 0,-22-141-3052 0 0,-19-147 2244 0 0,2 7-1598 0 0</inkml:trace>
</inkml:ink>
</file>

<file path=ppt/ink/ink6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4.7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1 1 848 0 0,'-3'0'1026'0'0,"-3"0"-742"0"0,1 1 1 0 0,-1-1 0 0 0,1 2 0 0 0,-1-1 0 0 0,1 0 0 0 0,0 1 0 0 0,0 0 0 0 0,-1 0 0 0 0,1 1 0 0 0,1 0 0 0 0,-1-1 0 0 0,0 1 0 0 0,1 1 0 0 0,-1-1 0 0 0,1 1 0 0 0,0 0-1 0 0,0 0 1 0 0,-4 5 0 0 0,1-1 2 0 0,0 1-1 0 0,1-1 0 0 0,0 1 1 0 0,0 0-1 0 0,1 1 0 0 0,0-1 1 0 0,1 1-1 0 0,0 0 1 0 0,-3 11-1 0 0,6-15-138 0 0,0-1 1 0 0,0 0-1 0 0,1 1 0 0 0,-1-1 1 0 0,1 1-1 0 0,1-1 0 0 0,-1 0 1 0 0,1 1-1 0 0,0-1 0 0 0,0 0 1 0 0,0 1-1 0 0,1-1 0 0 0,0 0 1 0 0,3 7-1 0 0,-1-5 62 0 0,1 0 0 0 0,-1-1 0 0 0,1 0 0 0 0,0 0 0 0 0,1 0 0 0 0,-1-1 0 0 0,1 1 0 0 0,0-2 1 0 0,8 7-1 0 0,3-1 200 0 0,0-1 0 0 0,1-1 0 0 0,0 0 1 0 0,0-1-1 0 0,1-1 0 0 0,0 0 1 0 0,24 3-1 0 0,-25-6-144 0 0,0-1-1 0 0,0-1 1 0 0,0-1-1 0 0,0 0 1 0 0,0-1 0 0 0,0-1-1 0 0,0-1 1 0 0,18-5 0 0 0,-23 4-159 0 0,0 0-1 0 0,0-1 1 0 0,-1 0 0 0 0,0-1 0 0 0,0-1 0 0 0,0 0 0 0 0,-1 0 0 0 0,0-1 0 0 0,0-1 0 0 0,-1 0 0 0 0,11-12 0 0 0,-10 8 3 0 0,-1 1 1 0 0,-1-1 0 0 0,0-1-1 0 0,-1 0 1 0 0,11-25 0 0 0,-15 30-354 0 0,-1-1-1 0 0,0 1 1 0 0,-1-1 0 0 0,1 1 0 0 0,-2-1 0 0 0,0 0-1 0 0,0 0 1 0 0,0 0 0 0 0,-1 0 0 0 0,-2-12 0 0 0,2 20 62 0 0,0 1 1 0 0,0 0-1 0 0,-1 0 0 0 0,1 0 1 0 0,0 0-1 0 0,0 0 1 0 0,-1 0-1 0 0,1 0 1 0 0,-1 0-1 0 0,1 0 1 0 0,-1 0-1 0 0,1 0 0 0 0,-1 1 1 0 0,0-1-1 0 0,1 0 1 0 0,-1 0-1 0 0,0 0 1 0 0,0 1-1 0 0,0-1 0 0 0,0 0 1 0 0,1 1-1 0 0,-1-1 1 0 0,0 1-1 0 0,0-1 1 0 0,0 1-1 0 0,0-1 0 0 0,0 1 1 0 0,0 0-1 0 0,0-1 1 0 0,-2 1-1 0 0,0 0-596 0 0,0 0 0 0 0,-1 0 1 0 0,1 0-1 0 0,-1 1 0 0 0,1-1 0 0 0,0 1 0 0 0,-7 2 0 0 0,-13 5-4428 0 0</inkml:trace>
</inkml:ink>
</file>

<file path=ppt/ink/ink6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5.5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2 107 1628 0 0,'-1'-2'1514'0'0,"-6"-26"3968"0"0,8 32-4813 0 0,2 11-232 0 0,28 144 3298 0 0,9 184 0 0 0,-37-312-3408 0 0,0-15 353 0 0,-2 0 0 0 0,0 0 1 0 0,-1 1-1 0 0,-3 19 0 0 0,3-34-306 0 0,-1-2-348 0 0,0 0 1 0 0,0-1-1 0 0,0 1 1 0 0,0 0-1 0 0,0-1 0 0 0,0 1 1 0 0,0-1-1 0 0,1 1 0 0 0,-1-1 1 0 0,0 1-1 0 0,0-1 1 0 0,0 0-1 0 0,0 1 0 0 0,1-1 1 0 0,-1 0-1 0 0,0 0 1 0 0,1 1-1 0 0,-1-1 0 0 0,1 0 1 0 0,-1 0-1 0 0,0-2 1 0 0,-10-23-160 0 0,8 17 90 0 0,-13-35-296 0 0,2-1-1 0 0,2 0 0 0 0,2 0 1 0 0,2-1-1 0 0,-3-82 0 0 0,11 8-46 0 0,1 102 314 0 0,1 1 1 0 0,1-1-1 0 0,1 1 1 0 0,9-30 0 0 0,-10 41 44 0 0,0 0 0 0 0,1 0 0 0 0,-1 0 0 0 0,1 1 0 0 0,0-1 0 0 0,1 1 0 0 0,-1 0 1 0 0,1 0-1 0 0,0 0 0 0 0,0 0 0 0 0,1 1 0 0 0,0 0 0 0 0,-1 0 0 0 0,1 1 0 0 0,10-5 0 0 0,-13 7 5 0 0,0-1-1 0 0,0 1 0 0 0,1 0 0 0 0,-1 0 0 0 0,0 0 0 0 0,1 1 0 0 0,-1-1 1 0 0,1 1-1 0 0,-1 0 0 0 0,1 0 0 0 0,-1 0 0 0 0,0 0 0 0 0,1 1 1 0 0,-1-1-1 0 0,1 1 0 0 0,-1 0 0 0 0,0 0 0 0 0,1 0 0 0 0,-1 0 1 0 0,0 1-1 0 0,0-1 0 0 0,0 1 0 0 0,0 0 0 0 0,0 0 0 0 0,0 0 1 0 0,-1 0-1 0 0,1 0 0 0 0,-1 1 0 0 0,1-1 0 0 0,-1 1 0 0 0,0 0 0 0 0,3 4 1 0 0,-4-4 13 0 0,1 0 1 0 0,-1 0 0 0 0,0 1 0 0 0,1-1 0 0 0,-2 1 0 0 0,1-1 0 0 0,0 1 0 0 0,-1-1 0 0 0,1 1-1 0 0,-1-1 1 0 0,0 1 0 0 0,0 0 0 0 0,-1-1 0 0 0,1 1 0 0 0,-1-1 0 0 0,0 1 0 0 0,0-1-1 0 0,0 0 1 0 0,0 1 0 0 0,0-1 0 0 0,-1 0 0 0 0,1 1 0 0 0,-1-1 0 0 0,-4 5 0 0 0,-1 2 0 0 0,0-1 1 0 0,-1 1 0 0 0,0-1 0 0 0,0 0 0 0 0,-1-1-1 0 0,-11 8 1 0 0,0-2-510 0 0,-2 0 0 0 0,0-2 0 0 0,-24 11-1 0 0,-31 5-4354 0 0,76-28 4615 0 0,0 1-1 0 0,0-1 1 0 0,0 0 0 0 0,0 1-1 0 0,0-1 1 0 0,0 1 0 0 0,0-1-1 0 0,0 1 1 0 0,0-1 0 0 0,0 1-1 0 0,1 0 1 0 0,-1-1 0 0 0,0 1-1 0 0,0 0 1 0 0,1 0 0 0 0,-1-1-1 0 0,0 1 1 0 0,1 0 0 0 0,-1 0-1 0 0,1 0 1 0 0,-1 0 0 0 0,1 0-1 0 0,-1 0 1 0 0,0 2 0 0 0</inkml:trace>
</inkml:ink>
</file>

<file path=ppt/ink/ink6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5.9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 67 640 0 0,'24'-6'1173'0'0,"6"-2"840"0"0,1-1-1 0 0,-2-1 1 0 0,44-22 0 0 0,-70 30-988 0 0,-6 3-832 0 0,-4 3-92 0 0,-1 0 1 0 0,0 0-1 0 0,1 0 1 0 0,0 1 0 0 0,0 0-1 0 0,0 0 1 0 0,-5 7-1 0 0,-44 47 404 0 0,40-41-125 0 0,-20 30 0 0 0,32-42-302 0 0,0 1 0 0 0,1-1-1 0 0,-1 1 1 0 0,2-1 0 0 0,-1 1 0 0 0,1 0 0 0 0,0 0 0 0 0,0 0-1 0 0,-1 11 1 0 0,3-15-41 0 0,0 1-1 0 0,0-1 1 0 0,1 1-1 0 0,-1-1 1 0 0,1 1-1 0 0,0-1 1 0 0,0 0-1 0 0,0 0 1 0 0,0 1-1 0 0,0-1 1 0 0,1 0-1 0 0,0 0 1 0 0,-1 0-1 0 0,1 0 1 0 0,0-1-1 0 0,0 1 1 0 0,1 0-1 0 0,-1-1 1 0 0,1 1-1 0 0,-1-1 1 0 0,1 0-1 0 0,0 0 1 0 0,-1 0-1 0 0,1 0 1 0 0,0-1-1 0 0,0 1 1 0 0,1-1-1 0 0,-1 1 1 0 0,0-1-1 0 0,4 0 1 0 0,-1 2-19 0 0,1-2 0 0 0,0 1-1 0 0,0-1 1 0 0,-1 0 0 0 0,1-1 0 0 0,0 0 0 0 0,0 0 0 0 0,0 0 0 0 0,0-1 0 0 0,0 0 0 0 0,-1 0 0 0 0,1 0 0 0 0,0-1-1 0 0,7-3 1 0 0,-8 2-83 0 0,0-1 0 0 0,0 0 0 0 0,0 0 0 0 0,0 0 0 0 0,-1 0 0 0 0,1-1 0 0 0,-1 0-1 0 0,0 0 1 0 0,6-9 0 0 0,-1-2-57 0 0,1-1 0 0 0,7-18-1 0 0,15-24 405 0 0,-34 62-40 0 0,-1 0-1 0 0,1 0 1 0 0,0 0-1 0 0,0 0 1 0 0,1 0-1 0 0,-1 0 1 0 0,1 0-1 0 0,-1 0 0 0 0,1 0 1 0 0,0 5-1 0 0,6 48 917 0 0,1-20-753 0 0,14 42 1 0 0,-6-32-195 0 0,8 24-1136 0 0,-11-24-5867 0 0</inkml:trace>
</inkml:ink>
</file>

<file path=ppt/ink/ink6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6.3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5 79 2188 0 0,'3'-26'5302'0'0,"-6"-7"-2680"0"0,3 32-2599 0 0,0 1 1 0 0,0-1 0 0 0,0 0-1 0 0,0 0 1 0 0,0 0 0 0 0,-1 0-1 0 0,1 0 1 0 0,0 1-1 0 0,-1-1 1 0 0,1 0 0 0 0,0 0-1 0 0,-1 0 1 0 0,1 1 0 0 0,-1-1-1 0 0,1 0 1 0 0,-1 1 0 0 0,0-1-1 0 0,1 0 1 0 0,-1 1 0 0 0,0-1-1 0 0,1 1 1 0 0,-1-1 0 0 0,0 1-1 0 0,0-1 1 0 0,1 1 0 0 0,-1 0-1 0 0,0-1 1 0 0,0 1 0 0 0,0 0-1 0 0,1 0 1 0 0,-1-1 0 0 0,0 1-1 0 0,-2 0 1 0 0,2 0-318 0 0,-1 0 1 0 0,0 0-1 0 0,0 1 1 0 0,0-1-1 0 0,0 1 1 0 0,0-1-1 0 0,1 1 1 0 0,-1-1-1 0 0,0 1 1 0 0,0 0 0 0 0,-2 2-1 0 0</inkml:trace>
</inkml:ink>
</file>

<file path=ppt/ink/ink6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6.7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096 0 0,'5'2'687'0'0,"0"1"0"0"0,-1 0 0 0 0,1 0 0 0 0,-1 0 0 0 0,0 0-1 0 0,0 1 1 0 0,0 0 0 0 0,0-1 0 0 0,5 9 0 0 0,-3-3-141 0 0,0 1 1 0 0,-1-1-1 0 0,0 1 0 0 0,4 13 1 0 0,0 5-54 0 0,-2 0 1 0 0,7 46-1 0 0,-10-35-893 0 0,-1 56 0 0 0,-9-63-5605 0 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19.9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 122 656 0 0,'-7'-5'2400'0'0,"-5"-8"572"0"0,12 12-2876 0 0,-1 0 0 0 0,1 1 0 0 0,0-1 0 0 0,0 0 0 0 0,0 1 0 0 0,0-1-1 0 0,0 0 1 0 0,0 1 0 0 0,0-1 0 0 0,0 0 0 0 0,0 1 0 0 0,0-1-1 0 0,0 0 1 0 0,0 0 0 0 0,1 1 0 0 0,-1-1 0 0 0,0 1 0 0 0,0-1 0 0 0,1 0-1 0 0,-1 1 1 0 0,0-1 0 0 0,1 1 0 0 0,0-2 0 0 0,0 1-15 0 0,1 0 0 0 0,0-1 0 0 0,0 1 1 0 0,-1 0-1 0 0,1 0 0 0 0,0 0 0 0 0,0 0 0 0 0,0 1 1 0 0,0-1-1 0 0,0 1 0 0 0,0-1 0 0 0,0 1 0 0 0,3-1 1 0 0,2 0 171 0 0,31-6 714 0 0,70-4 0 0 0,-45 7-452 0 0,88-3 832 0 0,-144 7-1244 0 0,0 0 0 0 0,0 0 0 0 0,-1 1 0 0 0,11 2 0 0 0,-11-2 23 0 0,-4 0-76 0 0,-1-1-1 0 0,1 1 1 0 0,0 0 0 0 0,-1 0 0 0 0,1 0-1 0 0,-1 0 1 0 0,1 0 0 0 0,-1 0-1 0 0,0 1 1 0 0,0-1 0 0 0,1 0 0 0 0,-1 1-1 0 0,0-1 1 0 0,0 1 0 0 0,0-1-1 0 0,0 1 1 0 0,0-1 0 0 0,-1 1 0 0 0,1 0-1 0 0,0-1 1 0 0,-1 1 0 0 0,1 0-1 0 0,-1 2 1 0 0,2 2-14 0 0,2 5 52 0 0,2 4 311 0 0,13 28-1 0 0,-16-39-312 0 0,0 1-1 0 0,0 0 1 0 0,1-1 0 0 0,-1 0-1 0 0,1 0 1 0 0,0 0 0 0 0,0 0 0 0 0,1 0-1 0 0,5 3 1 0 0,3 0 57 0 0,0 0-1 0 0,1-1 1 0 0,0-1 0 0 0,0 0-1 0 0,21 4 1 0 0,-31-8-112 0 0,1 0-8 0 0,-1-1 0 0 0,1 0-1 0 0,-1 0 1 0 0,1-1 0 0 0,-1 1 0 0 0,1-1 0 0 0,-1 0 0 0 0,0 0 0 0 0,1-1 0 0 0,-1 1 0 0 0,0-1 0 0 0,0 0 0 0 0,0 0 0 0 0,0 0 0 0 0,0 0 0 0 0,0-1-1 0 0,-1 0 1 0 0,1 0 0 0 0,-1 0 0 0 0,0 0 0 0 0,0 0 0 0 0,5-7 0 0 0,-7 8-49 0 0,1-1 0 0 0,-1 0 0 0 0,0 0 0 0 0,0 1 0 0 0,0-1-1 0 0,-1 0 1 0 0,1 0 0 0 0,-1 0 0 0 0,1 0 0 0 0,-1 0 0 0 0,0 1 0 0 0,0-1 0 0 0,0 0 0 0 0,-1 0 0 0 0,1 0 0 0 0,-2-4-1 0 0,1 2-122 0 0,-1 0-1 0 0,0 0 0 0 0,-1 1 0 0 0,1-1 0 0 0,-1 1 0 0 0,0-1 0 0 0,0 1 0 0 0,-5-6 0 0 0,-5-2-1042 0 0,1 0-1 0 0,-2 1 1 0 0,0 1 0 0 0,-21-13-1 0 0,22 17 102 0 0,9 4 289 0 0,1 1 1 0 0,-1-1-1 0 0,1 0 1 0 0,0 0-1 0 0,-1 0 1 0 0,-5-6-1 0 0,2 0-878 0 0</inkml:trace>
</inkml:ink>
</file>

<file path=ppt/ink/ink6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7.0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5 376 0 0,'4'-12'3623'0'0,"-4"10"-3196"0"0,1 0 0 0 0,-1 0 0 0 0,1 0 1 0 0,0 0-1 0 0,0 0 0 0 0,0 0 0 0 0,0 1 0 0 0,0-1 1 0 0,1-2-1 0 0,-2 4-353 0 0,1 0-1 0 0,-1 0 1 0 0,1-1 0 0 0,-1 1 0 0 0,1 0 0 0 0,-1 0 0 0 0,1 0-1 0 0,-1 0 1 0 0,1 0 0 0 0,-1 0 0 0 0,1 0 0 0 0,-1-1 0 0 0,1 2 0 0 0,-1-1-1 0 0,1 0 1 0 0,-1 0 0 0 0,1 0 0 0 0,-1 0 0 0 0,1 0 0 0 0,-1 0-1 0 0,1 0 1 0 0,-1 1 0 0 0,0-1 0 0 0,1 0 0 0 0,-1 0 0 0 0,1 1-1 0 0,11 7 821 0 0,3 6-186 0 0,-2 0 0 0 0,1 2 1 0 0,-2-1-1 0 0,0 2 1 0 0,14 26-1 0 0,-14-21-457 0 0,-1 0-1 0 0,-2 1 1 0 0,0 1 0 0 0,-1-1 0 0 0,-2 1-1 0 0,0 1 1 0 0,3 30 0 0 0,-11-38 476 0 0,1-16-708 0 0,1-1 0 0 0,0 0 0 0 0,0 0 0 0 0,0 1 0 0 0,0-1 0 0 0,-1 0 0 0 0,1 0 0 0 0,0 1 0 0 0,0-1 0 0 0,-1 0 0 0 0,1 0 0 0 0,0 1 0 0 0,-1-1 0 0 0,1 0 0 0 0,0 0 0 0 0,0 0 0 0 0,-1 0 0 0 0,1 0 0 0 0,0 1 0 0 0,-1-1 0 0 0,1 0 0 0 0,0 0 0 0 0,-1 0 0 0 0,1 0 0 0 0,-1 0 0 0 0,1 0 0 0 0,-1-1-6 0 0,0 1 0 0 0,0 0 1 0 0,0-1-1 0 0,0 1 0 0 0,0-1 1 0 0,0 0-1 0 0,0 1 0 0 0,0-1 0 0 0,0 0 1 0 0,0 0-1 0 0,0 1 0 0 0,1-1 0 0 0,-1 0 1 0 0,0 0-1 0 0,1 0 0 0 0,-1 0 0 0 0,0 0 1 0 0,1 0-1 0 0,0 0 0 0 0,-1 0 1 0 0,1 0-1 0 0,-1-2 0 0 0,-2-9-11 0 0,0 0 0 0 0,2 0 0 0 0,-1 0 0 0 0,1-1-1 0 0,1 1 1 0 0,0 0 0 0 0,1 0 0 0 0,0-1 0 0 0,1 1 0 0 0,0 0 0 0 0,1 0-1 0 0,0 0 1 0 0,1 0 0 0 0,6-12 0 0 0,-6 16-294 0 0,-1-1 0 0 0,1 2 0 0 0,1-1 0 0 0,0 0-1 0 0,0 1 1 0 0,0 0 0 0 0,1 0 0 0 0,0 1 0 0 0,0 0 0 0 0,1 0 0 0 0,-1 0 0 0 0,2 0-1 0 0,-1 1 1 0 0,0 1 0 0 0,1-1 0 0 0,0 1 0 0 0,0 0 0 0 0,0 1 0 0 0,0 0 0 0 0,12-3 0 0 0,101-6-8138 0 0,-102 11 7105 0 0,-15 0 631 0 0</inkml:trace>
</inkml:ink>
</file>

<file path=ppt/ink/ink6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7.4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01 1676 0 0,'3'-1'624'0'0,"16"-3"2729"0"0,33-13 1 0 0,-50 16-2888 0 0,6 14 1127 0 0,-11 4-948 0 0,1 0 1 0 0,1 1-1 0 0,0-1 1 0 0,4 26-1 0 0,-3-37-580 0 0,1-1-1 0 0,0 1 1 0 0,1-1-1 0 0,0 0 1 0 0,-1 1 0 0 0,2-1-1 0 0,-1 0 1 0 0,0 0-1 0 0,1 0 1 0 0,0-1-1 0 0,0 1 1 0 0,1-1-1 0 0,-1 1 1 0 0,1-1-1 0 0,0 0 1 0 0,0-1-1 0 0,0 1 1 0 0,8 5-1 0 0,-9-8-67 0 0,0 1-1 0 0,0-1 1 0 0,1 0-1 0 0,-1 0 0 0 0,0 0 1 0 0,0-1-1 0 0,1 1 1 0 0,-1-1-1 0 0,1 1 0 0 0,-1-1 1 0 0,0 0-1 0 0,1 0 0 0 0,-1-1 1 0 0,1 1-1 0 0,-1-1 1 0 0,0 0-1 0 0,1 1 0 0 0,-1-2 1 0 0,0 1-1 0 0,0 0 1 0 0,0-1-1 0 0,0 1 0 0 0,0-1 1 0 0,0 0-1 0 0,0 0 0 0 0,0 0 1 0 0,-1 0-1 0 0,1 0 1 0 0,-1-1-1 0 0,4-4 0 0 0,7-7-273 0 0,19-30 0 0 0,-31 41 208 0 0,-10 13-238 0 0,9-7 331 0 0,-1 0 0 0 0,0 0 0 0 0,1-1 0 0 0,0 1 0 0 0,-1 0 0 0 0,1 0-1 0 0,0 0 1 0 0,1 0 0 0 0,-1 0 0 0 0,0 0 0 0 0,1-1 0 0 0,0 1 0 0 0,-1 0 0 0 0,1 0-1 0 0,0-1 1 0 0,1 1 0 0 0,-1 0 0 0 0,2 2 0 0 0,0-1 114 0 0,0 0 0 0 0,1 0-1 0 0,-1-1 1 0 0,0 1 0 0 0,1-1 0 0 0,0 0 0 0 0,0 0 0 0 0,0-1 0 0 0,0 1-1 0 0,7 2 1 0 0,-3-2 113 0 0,0 1 0 0 0,1-1 0 0 0,0-1-1 0 0,-1 0 1 0 0,1 0 0 0 0,0-1 0 0 0,0 0-1 0 0,0 0 1 0 0,0-1 0 0 0,0 0 0 0 0,16-3-1 0 0,-20 2-182 0 0,-1 0 0 0 0,0 0 0 0 0,0-1-1 0 0,0 0 1 0 0,0 0 0 0 0,0 0 0 0 0,0 0-1 0 0,0 0 1 0 0,-1-1 0 0 0,1 0 0 0 0,-1 0-1 0 0,0 0 1 0 0,1 0 0 0 0,-2 0-1 0 0,1-1 1 0 0,0 0 0 0 0,-1 1 0 0 0,1-1-1 0 0,-1 0 1 0 0,0 0 0 0 0,0 0 0 0 0,-1 0-1 0 0,1 0 1 0 0,-1-1 0 0 0,1-5 0 0 0,-1 3-47 0 0,0 0 1 0 0,0 1-1 0 0,-1-1 1 0 0,0 0 0 0 0,0 0-1 0 0,-1 0 1 0 0,1 1-1 0 0,-2-1 1 0 0,1 0 0 0 0,-1 1-1 0 0,0-1 1 0 0,0 1-1 0 0,-1-1 1 0 0,0 1 0 0 0,-6-10-1 0 0,1 5-455 0 0,-1 0 0 0 0,0 1-1 0 0,-1 0 1 0 0,0 1 0 0 0,-1 0-1 0 0,0 0 1 0 0,-21-11-1 0 0,15 10-2017 0 0,0 1-1 0 0,-27-10 0 0 0,33 11-1262 0 0</inkml:trace>
</inkml:ink>
</file>

<file path=ppt/ink/ink6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7.7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85 728 0 0,'11'5'730'0'0,"-1"1"1"0"0,0-1-1 0 0,0 2 0 0 0,0-1 1 0 0,-1 1-1 0 0,0 1 0 0 0,0 0 0 0 0,-1 0 1 0 0,0 0-1 0 0,0 1 0 0 0,-1 0 1 0 0,0 1-1 0 0,-1 0 0 0 0,7 12 1 0 0,-4-4-740 0 0,-1 1 1 0 0,-1 0 0 0 0,0 1-1 0 0,-2 0 1 0 0,0-1 0 0 0,-1 2 0 0 0,2 24-1 0 0,-6-42-410 0 0,0 15-857 0 0,-3-6-3262 0 0,-2-3 1559 0 0</inkml:trace>
  <inkml:trace contextRef="#ctx0" brushRef="#br0" timeOffset="1">117 142 1896 0 0,'-2'-20'2008'0'0,"0"6"-215"0"0,0 0-273 0 0,0 1-232 0 0,0-1 584 0 0,-2-4-1224 0 0,0 7-124 0 0,0 4-108 0 0,-2-2 68 0 0,-2-4-532 0 0,-4 4-744 0 0,-8 13-4556 0 0</inkml:trace>
</inkml:ink>
</file>

<file path=ppt/ink/ink6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8.2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0 66 1012 0 0,'3'-1'1054'0'0,"18"-9"1029"0"0,-12 6-1054 0 0,-1 0 1 0 0,1 0-1 0 0,-1-1 0 0 0,13-9 0 0 0,-20 13-814 0 0,0-8 143 0 0,-3-2-172 0 0,1 9-160 0 0,-17 1-7 0 0,15 2 7 0 0,1 0 1 0 0,-1 0-1 0 0,1 0 1 0 0,-1 0-1 0 0,1 1 1 0 0,0-1-1 0 0,0 0 0 0 0,-1 1 1 0 0,1 0-1 0 0,0-1 1 0 0,1 1-1 0 0,-1 0 1 0 0,0 0-1 0 0,0 0 1 0 0,1 0-1 0 0,-1 1 0 0 0,1-1 1 0 0,0 0-1 0 0,0 1 1 0 0,0-1-1 0 0,0 0 1 0 0,0 1-1 0 0,0 0 1 0 0,0-1-1 0 0,1 1 0 0 0,0-1 1 0 0,-1 1-1 0 0,1 0 1 0 0,0-1-1 0 0,0 1 1 0 0,0-1-1 0 0,1 1 0 0 0,-1 0 1 0 0,2 4-1 0 0,2 4 184 0 0,1-1 0 0 0,1 0 0 0 0,-1 0 0 0 0,1-1 0 0 0,1 1 0 0 0,0-1 0 0 0,0-1-1 0 0,1 1 1 0 0,16 12 0 0 0,9 12 404 0 0,-3-3-104 0 0,-14-15-172 0 0,20 25-1 0 0,-32-35-274 0 0,-1-1 0 0 0,0 1-1 0 0,0-1 1 0 0,0 1 0 0 0,-1 0-1 0 0,0 0 1 0 0,0 0-1 0 0,0 1 1 0 0,0-1 0 0 0,1 11-1 0 0,-3-14-44 0 0,0 0-1 0 0,0 0 0 0 0,0-1 0 0 0,0 1 1 0 0,0 0-1 0 0,-1 0 0 0 0,1 0 0 0 0,0 0 1 0 0,-1 0-1 0 0,0 0 0 0 0,1 0 0 0 0,-1-1 1 0 0,0 1-1 0 0,0 0 0 0 0,0-1 0 0 0,0 1 1 0 0,0 0-1 0 0,-1-1 0 0 0,-2 3 0 0 0,1-1-1 0 0,0-1 0 0 0,0 0 1 0 0,0 0-1 0 0,-1 0 0 0 0,1 0 0 0 0,-1-1 0 0 0,1 1 0 0 0,-1-1 0 0 0,-6 2 0 0 0,4-2-99 0 0,0 0 0 0 0,0 0 0 0 0,0 0 0 0 0,0-1 0 0 0,0 1 0 0 0,0-2 0 0 0,0 1 0 0 0,0-1 0 0 0,0 0 0 0 0,0 0 0 0 0,0 0-1 0 0,-6-3 1 0 0,8 2-85 0 0,1 0-1 0 0,0 0 0 0 0,0 0 0 0 0,0 0 0 0 0,0-1 0 0 0,0 0 1 0 0,0 1-1 0 0,0-1 0 0 0,1 0 0 0 0,-1 0 0 0 0,1-1 0 0 0,0 1 1 0 0,0 0-1 0 0,0-1 0 0 0,1 1 0 0 0,-1-1 0 0 0,1 1 0 0 0,0-1 1 0 0,0 0-1 0 0,0 0 0 0 0,0 0 0 0 0,1 1 0 0 0,-1-1 0 0 0,1 0 1 0 0,0 0-1 0 0,0 0 0 0 0,1-4 0 0 0,0 0 36 0 0,1 1 0 0 0,0-1-1 0 0,0 1 1 0 0,0-1 0 0 0,1 1 0 0 0,0 0 0 0 0,1 0-1 0 0,0 0 1 0 0,0 0 0 0 0,0 1 0 0 0,1 0-1 0 0,10-12 1 0 0,-14 22 822 0 0,-1-4-665 0 0,0 0 0 0 0,1 0-1 0 0,-1 0 1 0 0,0 0 0 0 0,0 1 0 0 0,0-1-1 0 0,0 0 1 0 0,1 0 0 0 0,-1 1 0 0 0,0-1-1 0 0,0 0 1 0 0,0 0 0 0 0,0 1 0 0 0,0-1 0 0 0,0 0-1 0 0,0 0 1 0 0,0 1 0 0 0,0-1 0 0 0,1 0-1 0 0,-1 0 1 0 0,0 1 0 0 0,0-1 0 0 0,-1 0-1 0 0,1 1 1 0 0,0-1 0 0 0,0 0 0 0 0,0 0 0 0 0,0 1-1 0 0,0-1 1 0 0,0 0 0 0 0,0 1 0 0 0,-21 31 1419 0 0,-37 47 0 0 0,-2 2-1462 0 0,58-80-110 0 0,-18 29-1364 0 0,5-13-3545 0 0</inkml:trace>
</inkml:ink>
</file>

<file path=ppt/ink/ink6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8.6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7 72 1408 0 0,'4'0'1242'0'0,"14"-3"288"0"0,-2 2-549 0 0,0-1-1 0 0,-1-1 1 0 0,1-1 0 0 0,-1 0-1 0 0,17-8 1 0 0,-29 11-892 0 0,-1 0 0 0 0,1-1 1 0 0,-1 0-1 0 0,1 0 1 0 0,-1 0-1 0 0,0 0 1 0 0,3-3-1 0 0,-1 1 37 0 0,-2 2 12 0 0,-2 1-128 0 0,0 1 0 0 0,0-1 0 0 0,0 0 0 0 0,0 0-1 0 0,0 1 1 0 0,-1-1 0 0 0,1 0 0 0 0,0 0 0 0 0,0 1 0 0 0,0-1 0 0 0,-1 0 0 0 0,1 1-1 0 0,0-1 1 0 0,-1 0 0 0 0,1 1 0 0 0,-1-1 0 0 0,1 1 0 0 0,-1-1 0 0 0,1 1 0 0 0,-1-1 0 0 0,1 1-1 0 0,-1-1 1 0 0,0 1 0 0 0,1-1 0 0 0,-1 1 0 0 0,0 0 0 0 0,1-1 0 0 0,-1 1 0 0 0,0 0 0 0 0,-1-1-1 0 0,-1 1 31 0 0,0-1-1 0 0,0 1 0 0 0,0 0 0 0 0,0 0 1 0 0,0 0-1 0 0,0 0 0 0 0,0 0 0 0 0,-4 1 0 0 0,-7 3 209 0 0,0 0-1 0 0,-19 8 0 0 0,20-7 21 0 0,1 1-1 0 0,0 0 0 0 0,0 1 1 0 0,0 1-1 0 0,-11 9 0 0 0,19-13-115 0 0,0-1 0 0 0,0 1 0 0 0,1-1 0 0 0,0 1 0 0 0,0 1 0 0 0,0-1 0 0 0,-4 8 0 0 0,6-10-49 0 0,0 0 1 0 0,0 1 0 0 0,0-1-1 0 0,1 1 1 0 0,-1-1-1 0 0,1 1 1 0 0,0 0-1 0 0,-1-1 1 0 0,1 1 0 0 0,0-1-1 0 0,0 1 1 0 0,1-1-1 0 0,-1 1 1 0 0,1 0-1 0 0,1 4 1 0 0,-1-3-76 0 0,1-1 0 0 0,1 1 1 0 0,-1 0-1 0 0,0-1 0 0 0,1 1 0 0 0,0-1 1 0 0,0 0-1 0 0,0 0 0 0 0,0 0 0 0 0,0 0 1 0 0,0 0-1 0 0,1-1 0 0 0,-1 0 0 0 0,1 0 1 0 0,0 0-1 0 0,0 0 0 0 0,0 0 0 0 0,0-1 0 0 0,0 1 1 0 0,7 0-1 0 0,0 1-717 0 0,1-1 1 0 0,-1-1-1 0 0,0 0 1 0 0,1 0-1 0 0,-1-1 0 0 0,19-2 1 0 0,8-5-4718 0 0,-22 1 522 0 0</inkml:trace>
</inkml:ink>
</file>

<file path=ppt/ink/ink6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9.54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6 94 328 0 0,'-3'-7'664'0'0,"0"0"-1"0"0,-1 1 1 0 0,0 0 0 0 0,0 0 0 0 0,0 0-1 0 0,-1 0 1 0 0,0 0 0 0 0,0 1-1 0 0,0 0 1 0 0,-11-8 0 0 0,11 10-544 0 0,0 0 1 0 0,1 1-1 0 0,-1 0 1 0 0,0-1-1 0 0,0 2 0 0 0,-1-1 1 0 0,1 1-1 0 0,0-1 1 0 0,0 1-1 0 0,-1 1 0 0 0,1-1 1 0 0,-1 1-1 0 0,1 0 1 0 0,0 0-1 0 0,-10 2 1 0 0,10-1-46 0 0,0 0 1 0 0,0 0 0 0 0,0 1-1 0 0,0-1 1 0 0,0 1 0 0 0,0 0 0 0 0,0 1-1 0 0,1-1 1 0 0,-1 1 0 0 0,1 0 0 0 0,0 0-1 0 0,-4 4 1 0 0,6-5-52 0 0,1-1 0 0 0,-1 1 0 0 0,1 0-1 0 0,0 0 1 0 0,0 0 0 0 0,0 0 0 0 0,0 0 0 0 0,0 0 0 0 0,0 0 0 0 0,0 0-1 0 0,1 0 1 0 0,-1 0 0 0 0,1 0 0 0 0,-1 1 0 0 0,1-1 0 0 0,0 0 0 0 0,0 0-1 0 0,0 1 1 0 0,0-1 0 0 0,1 0 0 0 0,-1 0 0 0 0,1 0 0 0 0,-1 1 0 0 0,1-1 0 0 0,0 0-1 0 0,-1 0 1 0 0,1 0 0 0 0,0 0 0 0 0,0 0 0 0 0,2 2 0 0 0,9 12 35 0 0,0-1 0 0 0,1 0 0 0 0,0-1 0 0 0,1-1 0 0 0,0 0 0 0 0,26 17 1 0 0,17 16-26 0 0,-48-38-1 0 0,4 3 32 0 0,0 1 0 0 0,-1 1 0 0 0,14 17 0 0 0,-23-26-43 0 0,-1-1 0 0 0,0 0 0 0 0,0 1 1 0 0,0-1-1 0 0,0 1 0 0 0,-1-1 0 0 0,1 1 1 0 0,-1 0-1 0 0,0 0 0 0 0,0 0 0 0 0,0 0 1 0 0,-1-1-1 0 0,1 1 0 0 0,-1 0 0 0 0,0 0 1 0 0,0 0-1 0 0,0 0 0 0 0,-1 0 0 0 0,0 0 1 0 0,-1 5-1 0 0,1-6-7 0 0,-1 1 1 0 0,1-1-1 0 0,-1 0 0 0 0,0 0 1 0 0,0 0-1 0 0,-1-1 0 0 0,1 1 1 0 0,-1 0-1 0 0,1-1 0 0 0,-1 0 1 0 0,0 1-1 0 0,0-1 1 0 0,0 0-1 0 0,0 0 0 0 0,0-1 1 0 0,0 1-1 0 0,0-1 0 0 0,-1 1 1 0 0,1-1-1 0 0,0 0 0 0 0,-1 0 1 0 0,1-1-1 0 0,-6 1 0 0 0,1 0 2 0 0,0 0-1 0 0,0-1 0 0 0,0 0 0 0 0,0 0 0 0 0,0-1 0 0 0,0 0 0 0 0,0 0 0 0 0,0-1 0 0 0,-11-4 0 0 0,12 3-74 0 0,0-1 1 0 0,1 1-1 0 0,-1-1 0 0 0,1-1 1 0 0,0 1-1 0 0,0-1 0 0 0,1 0 0 0 0,-1-1 1 0 0,1 1-1 0 0,0-1 0 0 0,0 0 0 0 0,1 0 1 0 0,0 0-1 0 0,0-1 0 0 0,0 0 0 0 0,-4-13 1 0 0,4 9-32 0 0,0 0 1 0 0,2 0-1 0 0,-1 0 0 0 0,1-1 1 0 0,1 1-1 0 0,0-1 1 0 0,1 1-1 0 0,0-1 1 0 0,0 1-1 0 0,4-16 1 0 0,-4 26 81 0 0,0 1-1 0 0,0-1 1 0 0,0 1 0 0 0,0 0 0 0 0,0-1 0 0 0,0 1 0 0 0,0-1 0 0 0,1 1 0 0 0,-1 0-1 0 0,0-1 1 0 0,0 1 0 0 0,0-1 0 0 0,1 1 0 0 0,-1 0 0 0 0,0-1 0 0 0,1 1 0 0 0,-1 0-1 0 0,0-1 1 0 0,1 1 0 0 0,-1 0 0 0 0,0 0 0 0 0,1-1 0 0 0,0 1 0 0 0,-1 0 25 0 0,0 0 1 0 0,1 0-1 0 0,-1 1 1 0 0,0-1-1 0 0,0 0 1 0 0,1 0-1 0 0,-1 0 0 0 0,0 1 1 0 0,1-1-1 0 0,-1 0 1 0 0,0 1-1 0 0,0-1 1 0 0,0 0-1 0 0,1 0 1 0 0,-1 1-1 0 0,0-1 1 0 0,0 0-1 0 0,0 1 0 0 0,0-1 1 0 0,0 0-1 0 0,0 1 1 0 0,1-1-1 0 0,-1 0 1 0 0,0 1-1 0 0,0-1 1 0 0,0 1-1 0 0,0-1 1 0 0,0 0-1 0 0,0 1 1 0 0,0-1-1 0 0,-1 0 0 0 0,1 1 1 0 0,0 0-1 0 0,-3 32 563 0 0,-2 0 0 0 0,-1 0 0 0 0,-2 0-1 0 0,-12 32 1 0 0,14-46-500 0 0,-27 87-382 0 0,13-45-8021 0 0</inkml:trace>
</inkml:ink>
</file>

<file path=ppt/ink/ink6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59.9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704 0 0,'6'2'513'0'0,"0"1"-1"0"0,0 0 1 0 0,-1 0 0 0 0,1 0 0 0 0,-1 0-1 0 0,0 1 1 0 0,0 0 0 0 0,0 0-1 0 0,-1 1 1 0 0,1-1 0 0 0,-1 1-1 0 0,0 0 1 0 0,0 0 0 0 0,-1 1 0 0 0,0-1-1 0 0,5 11 1 0 0,0 3-83 0 0,-2 0 0 0 0,0 0 1 0 0,-2 0-1 0 0,4 23 0 0 0,-3-5-478 0 0,2 12-5522 0 0,-5-38 2021 0 0</inkml:trace>
</inkml:ink>
</file>

<file path=ppt/ink/ink6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1:00.3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61 880 0 0,'0'-3'1002'0'0,"0"0"-830"0"0,0 0 1 0 0,0 0-1 0 0,0 1 1 0 0,1-1-1 0 0,-1 0 1 0 0,1 0 0 0 0,-1 0-1 0 0,1 1 1 0 0,0-1-1 0 0,0 0 1 0 0,1 1 0 0 0,-1-1-1 0 0,0 1 1 0 0,4-4-1 0 0,-4 4-151 0 0,1 1 1 0 0,-1 0-1 0 0,1-1 0 0 0,0 1 0 0 0,-1 0 0 0 0,1 0 0 0 0,0 0 1 0 0,0 1-1 0 0,0-1 0 0 0,0 0 0 0 0,0 1 0 0 0,0-1 0 0 0,0 1 1 0 0,0 0-1 0 0,0-1 0 0 0,0 1 0 0 0,0 0 0 0 0,0 0 0 0 0,0 0 1 0 0,0 1-1 0 0,0-1 0 0 0,2 1 0 0 0,7 2 102 0 0,1 0 0 0 0,-1 1-1 0 0,1 0 1 0 0,-1 0 0 0 0,-1 2-1 0 0,1-1 1 0 0,-1 1 0 0 0,0 1 0 0 0,0 0-1 0 0,0 0 1 0 0,-1 1 0 0 0,11 12 0 0 0,-2 0 516 0 0,-1 0 0 0 0,-1 2 1 0 0,-1 0-1 0 0,19 35 1 0 0,-22-30 325 0 0,-2-1 0 0 0,0 1 0 0 0,-2 1 0 0 0,7 41 0 0 0,-8-30 3944 0 0,-9-55-4458 0 0,2 6-496 0 0,1 0 0 0 0,1 0 1 0 0,-1 0-1 0 0,1 0 0 0 0,1 1 0 0 0,0-1 0 0 0,0 1 0 0 0,1 0 0 0 0,0-1 0 0 0,1 2 1 0 0,0-1-1 0 0,8-11 0 0 0,-9 16 26 0 0,-1-1-1 0 0,1 1 1 0 0,0 0 0 0 0,0 0 0 0 0,0 0 0 0 0,0 0 0 0 0,1 1-1 0 0,0 0 1 0 0,-1 0 0 0 0,1 0 0 0 0,0 0 0 0 0,1 1 0 0 0,-1 0-1 0 0,0 0 1 0 0,1 0 0 0 0,-1 1 0 0 0,1 0 0 0 0,-1 0 0 0 0,1 0-1 0 0,0 1 1 0 0,-1-1 0 0 0,1 1 0 0 0,8 2 0 0 0,-5-1 19 0 0,-1 1 0 0 0,0 1 0 0 0,0 0 0 0 0,0 0 0 0 0,0 0 0 0 0,0 1 1 0 0,-1 0-1 0 0,1 0 0 0 0,-1 1 0 0 0,0 0 0 0 0,-1 1 0 0 0,1-1 0 0 0,-1 1 1 0 0,0 0-1 0 0,0 1 0 0 0,-1 0 0 0 0,0-1 0 0 0,0 2 0 0 0,-1-1 0 0 0,5 11 0 0 0,-8 3 284 0 0,-1-21-268 0 0,0 1-1 0 0,0-1 1 0 0,0 1-1 0 0,0-1 1 0 0,0 1 0 0 0,0-1-1 0 0,0 1 1 0 0,0-1-1 0 0,0 1 1 0 0,0-1 0 0 0,-1 1-1 0 0,1-1 1 0 0,0 0-1 0 0,0 1 1 0 0,0-1-1 0 0,0 1 1 0 0,-1-1 0 0 0,1 1-1 0 0,0-1 1 0 0,0 0-1 0 0,-1 1 1 0 0,1-1-1 0 0,0 0 1 0 0,-1 1 0 0 0,1-1-1 0 0,-1 0 1 0 0,1 1-1 0 0,0-1 1 0 0,-1 0-1 0 0,1 0 1 0 0,-1 0 0 0 0,1 1-1 0 0,-1-1 1 0 0,0-1-5 0 0,0 1 1 0 0,0-1-1 0 0,1 0 1 0 0,-1 0 0 0 0,0 1-1 0 0,1-1 1 0 0,-1 0-1 0 0,0 0 1 0 0,1 0-1 0 0,-1 0 1 0 0,1 0 0 0 0,-1 0-1 0 0,1 0 1 0 0,0 0-1 0 0,-1 0 1 0 0,1 0-1 0 0,0 0 1 0 0,0 0-1 0 0,-1 0 1 0 0,1 0 0 0 0,0 0-1 0 0,0 0 1 0 0,0 0-1 0 0,1-2 1 0 0,4-28-20 0 0,-4 24 32 0 0,1-1-40 0 0,0 1 1 0 0,1-1-1 0 0,0 1 1 0 0,0 0-1 0 0,0 0 1 0 0,1 0-1 0 0,0 1 1 0 0,0-1-1 0 0,0 1 1 0 0,1 0-1 0 0,0 0 1 0 0,1 1-1 0 0,-1-1 1 0 0,1 1 0 0 0,0 0-1 0 0,0 1 1 0 0,1-1-1 0 0,-1 1 1 0 0,1 1-1 0 0,10-5 1 0 0,-13 7 37 0 0,-1 0 0 0 0,1 1 0 0 0,-1 0 1 0 0,1-1-1 0 0,0 1 0 0 0,-1 1 0 0 0,1-1 0 0 0,0 0 1 0 0,-1 1-1 0 0,1 0 0 0 0,-1 0 0 0 0,1 0 0 0 0,-1 0 1 0 0,1 0-1 0 0,-1 1 0 0 0,0 0 0 0 0,1-1 1 0 0,-1 1-1 0 0,0 0 0 0 0,0 1 0 0 0,-1-1 0 0 0,1 1 1 0 0,0-1-1 0 0,3 5 0 0 0,2 4 43 0 0,1-1-1 0 0,-2 1 1 0 0,0 0-1 0 0,0 1 1 0 0,6 13 0 0 0,-9-15-184 0 0,-1-1 1 0 0,0 1 0 0 0,0-1 0 0 0,-1 1-1 0 0,0 0 1 0 0,0 19 0 0 0,-5 28-5953 0 0</inkml:trace>
</inkml:ink>
</file>

<file path=ppt/ink/ink6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1:00.6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2 249 1648 0 0,'3'-1'311'0'0,"0"1"-1"0"0,-1-1 0 0 0,1 1 1 0 0,0 0-1 0 0,0 0 1 0 0,0 0-1 0 0,0 0 0 0 0,-1 0 1 0 0,1 0-1 0 0,0 1 1 0 0,0-1-1 0 0,0 1 0 0 0,-1 0 1 0 0,1 0-1 0 0,0 0 0 0 0,-1 0 1 0 0,1 1-1 0 0,2 1 1 0 0,-1 0-53 0 0,0 0-1 0 0,0 1 1 0 0,-1-1 0 0 0,1 1 0 0 0,-1 0 0 0 0,0 0 0 0 0,0 0 0 0 0,0 0-1 0 0,3 8 1 0 0,0 2-219 0 0,0 1 0 0 0,-1 0 0 0 0,-1 1 0 0 0,0-1 0 0 0,2 25 0 0 0,-5-32-967 0 0,0 0 0 0 0,-1 1 0 0 0,0-1 0 0 0,-1 0 0 0 0,-1 9 0 0 0,0-8-1458 0 0</inkml:trace>
  <inkml:trace contextRef="#ctx0" brushRef="#br0" timeOffset="1">32 141 2300 0 0,'-4'-20'2148'0'0,"0"6"-507"0"0,2 0-193 0 0,-2 1-236 0 0,2-1-148 0 0,0 3-252 0 0,-2 2-152 0 0,4-2-112 0 0,-4 2 216 0 0,2-7-680 0 0,-2 7-664 0 0</inkml:trace>
</inkml:ink>
</file>

<file path=ppt/ink/ink6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1:01.0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1524 0 0,'6'3'563'0'0,"-1"1"-1"0"0,0-1 0 0 0,1 1 1 0 0,-1 0-1 0 0,-1 1 1 0 0,1-1-1 0 0,0 1 0 0 0,-1 0 1 0 0,0 0-1 0 0,0 0 1 0 0,-1 1-1 0 0,6 10 0 0 0,2 8 704 0 0,15 45 0 0 0,-24-63-1057 0 0,61 223 2962 0 0,-36-74-5025 0 0,-26-148 1150 0 0,2 11-238 0 0,2-5-4113 0 0,0-4 1267 0 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0.4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9 244 0 0,'3'1'1748'0'0,"-2"-1"-1577"0"0,0 0 1 0 0,0 1 0 0 0,0-1-1 0 0,0 1 1 0 0,0-1 0 0 0,0 1 0 0 0,0-1-1 0 0,0 1 1 0 0,0 0 0 0 0,0-1 0 0 0,0 1-1 0 0,0 0 1 0 0,0 0 0 0 0,-1-1 0 0 0,1 1-1 0 0,0 0 1 0 0,-1 0 0 0 0,1 0 0 0 0,0 0-1 0 0,-1 0 1 0 0,1 0 0 0 0,-1 0-1 0 0,0 0 1 0 0,1 0 0 0 0,-1 1 0 0 0,0-1-1 0 0,1 0 1 0 0,-1 0 0 0 0,0 0 0 0 0,0 0-1 0 0,0 0 1 0 0,0 1 0 0 0,0-1 0 0 0,0 0-1 0 0,-1 2 1 0 0,0 1 43 0 0,0 1 1 0 0,0-1-1 0 0,0 1 0 0 0,1 0 1 0 0,0 0-1 0 0,0-1 0 0 0,0 1 0 0 0,0 0 1 0 0,1-1-1 0 0,0 1 0 0 0,0 0 1 0 0,0-1-1 0 0,0 1 0 0 0,1-1 0 0 0,0 1 1 0 0,-1-1-1 0 0,2 0 0 0 0,-1 0 1 0 0,1 0-1 0 0,-1 0 0 0 0,1 0 0 0 0,0 0 1 0 0,0-1-1 0 0,1 0 0 0 0,-1 1 1 0 0,1-1-1 0 0,-1 0 0 0 0,1-1 0 0 0,0 1 1 0 0,8 3-1 0 0,-8-4-116 0 0,1 0 1 0 0,0-1-1 0 0,0 0 0 0 0,1 1 0 0 0,-1-2 1 0 0,0 1-1 0 0,0-1 0 0 0,0 1 0 0 0,0-2 1 0 0,1 1-1 0 0,-1 0 0 0 0,0-1 1 0 0,0 0-1 0 0,0 0 0 0 0,0-1 0 0 0,0 1 1 0 0,0-1-1 0 0,9-5 0 0 0,-11 6-77 0 0,0-1-1 0 0,-1 1 1 0 0,1-1-1 0 0,-1 0 1 0 0,1 0-1 0 0,-1 0 1 0 0,1 0-1 0 0,-1-1 1 0 0,0 1-1 0 0,0 0 1 0 0,0-1-1 0 0,0 0 1 0 0,-1 1-1 0 0,1-1 1 0 0,-1 0-1 0 0,0 0 1 0 0,1 0-1 0 0,-1 0 1 0 0,0 0 0 0 0,-1 0-1 0 0,1 0 1 0 0,-1 0-1 0 0,1 0 1 0 0,-1 0-1 0 0,0-1 1 0 0,0 1-1 0 0,0 0 1 0 0,-1 0-1 0 0,1 0 1 0 0,-1 0-1 0 0,1 0 1 0 0,-3-4-1 0 0,2 2-145 0 0,-1 0 1 0 0,0 0-1 0 0,-1 1 0 0 0,1-1 0 0 0,-1 1 0 0 0,0 0 0 0 0,0 0 1 0 0,0 0-1 0 0,-1 0 0 0 0,1 0 0 0 0,-1 1 0 0 0,0-1 0 0 0,0 1 0 0 0,0 0 1 0 0,0 0-1 0 0,-1 1 0 0 0,-6-4 0 0 0,4 4-681 0 0,0-1 0 0 0,0 1 0 0 0,0 0 1 0 0,-1 1-1 0 0,1 0 0 0 0,-1 0 0 0 0,1 0 0 0 0,-1 1 0 0 0,1 0 0 0 0,-1 1 0 0 0,-8 1 1 0 0</inkml:trace>
</inkml:ink>
</file>

<file path=ppt/ink/ink6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1:01.4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2 50 1420 0 0,'14'-25'4117'0'0,"-14"24"-4041"0"0,1 1 1 0 0,-1-1 0 0 0,1 0 0 0 0,-1 1-1 0 0,0-1 1 0 0,0 1 0 0 0,1-1-1 0 0,-1 0 1 0 0,0 1 0 0 0,0-1 0 0 0,0 1-1 0 0,0-1 1 0 0,0 0 0 0 0,0 1-1 0 0,0-1 1 0 0,0 0 0 0 0,0 1 0 0 0,0-1-1 0 0,0 0 1 0 0,0 1 0 0 0,0-1-1 0 0,0 0 1 0 0,-1 1 0 0 0,1-1 0 0 0,0 1-1 0 0,0-1 1 0 0,-1 0 0 0 0,1 1-1 0 0,0-1 1 0 0,-1 1 0 0 0,1-1 0 0 0,-1 1-1 0 0,1-1 1 0 0,-1 1 0 0 0,1 0-1 0 0,-1-1 1 0 0,1 1 0 0 0,-1-1 0 0 0,1 1-1 0 0,-1 0 1 0 0,1-1 0 0 0,-2 1-1 0 0,-4-1 96 0 0,-1 1 0 0 0,1 0 0 0 0,0 1 0 0 0,-1-1 0 0 0,1 1 0 0 0,0 0 0 0 0,0 1 0 0 0,-1 0 0 0 0,1 0 0 0 0,0 0 0 0 0,1 0 0 0 0,-7 4-1 0 0,-15 9 223 0 0,-28 19-1 0 0,52-32-351 0 0,-13 9 93 0 0,1 0-1 0 0,0 1 1 0 0,-21 24 0 0 0,28-28-76 0 0,1 0 0 0 0,1 1 0 0 0,-1 0 0 0 0,1 0 0 0 0,1 1 0 0 0,0-1 0 0 0,-6 19 0 0 0,10-27-52 0 0,1 0 1 0 0,0 0 0 0 0,0 0-1 0 0,0 0 1 0 0,0 1-1 0 0,0-1 1 0 0,0 0 0 0 0,1 0-1 0 0,-1 0 1 0 0,0 0-1 0 0,0 0 1 0 0,1 0-1 0 0,-1 1 1 0 0,1-1 0 0 0,-1 0-1 0 0,1 0 1 0 0,-1 0-1 0 0,1 0 1 0 0,0-1-1 0 0,0 1 1 0 0,-1 0 0 0 0,1 0-1 0 0,0 0 1 0 0,0 0-1 0 0,0-1 1 0 0,0 1 0 0 0,0 0-1 0 0,0-1 1 0 0,0 1-1 0 0,0-1 1 0 0,0 1-1 0 0,0-1 1 0 0,0 0 0 0 0,0 1-1 0 0,0-1 1 0 0,0 0-1 0 0,0 0 1 0 0,1 0 0 0 0,-1 0-1 0 0,0 0 1 0 0,0 0-1 0 0,2 0 1 0 0,2-1-45 0 0,0 0-1 0 0,1 0 1 0 0,-1-1 0 0 0,0 0 0 0 0,0 0-1 0 0,0 0 1 0 0,0-1 0 0 0,8-5 0 0 0,36-32-255 0 0,-17 13 304 0 0,25-14 605 0 0,-54 39-434 0 0,0 2 85 0 0,-1 0-216 0 0,0 0-1 0 0,0 1 0 0 0,1-1 1 0 0,-1 1-1 0 0,0-1 0 0 0,0 1 1 0 0,1 0-1 0 0,-1 0 0 0 0,0 0 1 0 0,0 0-1 0 0,0 0 1 0 0,0 0-1 0 0,-1 1 0 0 0,1-1 1 0 0,0 1-1 0 0,0-1 0 0 0,-1 1 1 0 0,1 0-1 0 0,-1-1 0 0 0,1 1 1 0 0,-1 0-1 0 0,0 0 0 0 0,0 0 1 0 0,1 3-1 0 0,6 9-319 0 0,-2 0 0 0 0,8 21 0 0 0,-11-27-210 0 0,5 14-1465 0 0,1 2-4285 0 0,-6-15 3112 0 0</inkml:trace>
</inkml:ink>
</file>

<file path=ppt/ink/ink6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1:01.8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505 2028 0 0,'6'-5'562'0'0,"0"1"0"0"0,0 0 0 0 0,1 0 0 0 0,0 0-1 0 0,-1 1 1 0 0,1-1 0 0 0,1 2 0 0 0,-1-1 0 0 0,0 1 0 0 0,1 0 0 0 0,-1 1 0 0 0,1 0-1 0 0,8-1 1 0 0,-14 2-472 0 0,0-1 0 0 0,-1 1 0 0 0,1 0-1 0 0,0 0 1 0 0,0 0 0 0 0,0 0 0 0 0,0 1-1 0 0,-1-1 1 0 0,1 0 0 0 0,0 1 0 0 0,0-1 0 0 0,-1 1-1 0 0,1-1 1 0 0,0 1 0 0 0,-1 0 0 0 0,1 0-1 0 0,0 0 1 0 0,-1 0 0 0 0,1 0 0 0 0,-1 0-1 0 0,0 0 1 0 0,1 1 0 0 0,-1-1 0 0 0,0 0 0 0 0,0 1-1 0 0,0-1 1 0 0,1 1 0 0 0,-2-1 0 0 0,1 1-1 0 0,0 0 1 0 0,0-1 0 0 0,0 1 0 0 0,-1 0 0 0 0,1 0-1 0 0,-1-1 1 0 0,0 1 0 0 0,1 0 0 0 0,-1 0-1 0 0,0 0 1 0 0,0 2 0 0 0,0 3 68 0 0,-1-1 0 0 0,1 1 0 0 0,-1-1 0 0 0,0 0 0 0 0,-1 1 0 0 0,1-1 0 0 0,-1 0 0 0 0,-1 0 0 0 0,-2 6 0 0 0,4-10-1 0 0,13-23-1556 0 0,20-36 1065 0 0,67-90 0 0 0,-79 127 1185 0 0,-20 19-800 0 0,1 1 0 0 0,0-1 0 0 0,0 1 0 0 0,0 0 0 0 0,0-1 0 0 0,0 1 0 0 0,-1-1 0 0 0,1 1 0 0 0,0 0 0 0 0,0 0 0 0 0,0 0 0 0 0,0-1 0 0 0,0 1 0 0 0,0 0 0 0 0,0 0 0 0 0,0 0 0 0 0,0 1 0 0 0,0-1 0 0 0,0 0 0 0 0,0 0 0 0 0,0 0 0 0 0,0 1 0 0 0,0-1 0 0 0,0 0 0 0 0,-1 1 0 0 0,1-1 0 0 0,0 1 0 0 0,0-1-1 0 0,1 2 1 0 0,5 4 71 0 0,-1 1-1 0 0,0 0 1 0 0,0 0-1 0 0,0 0 0 0 0,-1 1 1 0 0,0 0-1 0 0,0 0 0 0 0,-1 0 1 0 0,6 17-1 0 0,-6-14-819 0 0,0 1 0 0 0,-2-1 0 0 0,1 1 0 0 0,1 15 0 0 0,-7-8-1887 0 0,-2 2-5775 0 0</inkml:trace>
  <inkml:trace contextRef="#ctx0" brushRef="#br0" timeOffset="1">299 169 528 0 0,'-18'-77'10382'0'0,"-3"5"-4567"0"0,19 65-5461 0 0,-1-6-4953 0 0,31 16-5477 0 0</inkml:trace>
  <inkml:trace contextRef="#ctx0" brushRef="#br0" timeOffset="2">427 30 1352 0 0,'9'3'651'0'0,"0"0"0"0"0,0 1 1 0 0,0 0-1 0 0,0 0 0 0 0,-1 1 0 0 0,0 0 0 0 0,0 1 0 0 0,0 0 1 0 0,-1 0-1 0 0,0 0 0 0 0,0 1 0 0 0,0 0 0 0 0,-1 1 0 0 0,10 14 0 0 0,1 4 78 0 0,-2 1-1 0 0,-1 1 0 0 0,15 38 0 0 0,-21-45-556 0 0,0 1 0 0 0,-2 0 0 0 0,6 30 1 0 0,-11-43-574 0 0,0 1 0 0 0,-1 0 0 0 0,0-1 0 0 0,-2 13 0 0 0,1-15-381 0 0,0-1-1 0 0,0 0 1 0 0,-1 0-1 0 0,0 1 1 0 0,0-1-1 0 0,-1 0 0 0 0,-4 7 1 0 0,-2 0-3270 0 0</inkml:trace>
</inkml:ink>
</file>

<file path=ppt/ink/ink6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1:02.2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17 312 0 0,'0'-3'299'0'0,"0"0"1"0"0,-1 0-1 0 0,2 0 1 0 0,-1 0-1 0 0,0 0 0 0 0,1 0 1 0 0,-1 0-1 0 0,1 0 0 0 0,0 1 1 0 0,0-1-1 0 0,0 0 1 0 0,0 0-1 0 0,1 1 0 0 0,-1-1 1 0 0,1 1-1 0 0,-1-1 0 0 0,1 1 1 0 0,0 0-1 0 0,0 0 1 0 0,0-1-1 0 0,0 2 0 0 0,0-1 1 0 0,4-3-1 0 0,7-4 348 0 0,1-1-1 0 0,27-13 1 0 0,-31 17-216 0 0,222-96 4590 0 0,-230 101-4902 0 0,-1 1-79 0 0,-1 0-1 0 0,1 1 1 0 0,0-1-1 0 0,-1 1 1 0 0,1-1-1 0 0,0 0 1 0 0,-1 1-1 0 0,1 0 1 0 0,0-1-1 0 0,-1 1 1 0 0,1-1 0 0 0,-1 1-1 0 0,1 0 1 0 0,-1-1-1 0 0,1 2 1 0 0,-4 36 522 0 0,2-27-462 0 0,0 0-1 0 0,1 0 0 0 0,1 16 1 0 0,-1-24-79 0 0,1 1 0 0 0,0-1 0 0 0,0 1 0 0 0,0-1-1 0 0,0 0 1 0 0,0 1 0 0 0,1-1 0 0 0,-1 0 0 0 0,1 0 0 0 0,0 0 0 0 0,0 0 0 0 0,0 0 0 0 0,1 0 0 0 0,4 4 0 0 0,-6-6-91 0 0,1 0 0 0 0,0-1 0 0 0,0 1 0 0 0,-1 0 0 0 0,1 0 0 0 0,0-1 0 0 0,0 1 0 0 0,0-1 0 0 0,0 0 0 0 0,0 0 0 0 0,0 1 0 0 0,0-1 0 0 0,0 0 0 0 0,0-1 0 0 0,0 1 0 0 0,0 0 0 0 0,3-1 0 0 0,2-1-201 0 0,-1 1 0 0 0,0-1 0 0 0,0-1-1 0 0,8-3 1 0 0,39-27-1001 0 0,-35 21 797 0 0,30-15 0 0 0,-47 26 472 0 0,1 1-1 0 0,-1-1 1 0 0,1 0 0 0 0,-1 1-1 0 0,1-1 1 0 0,-1 1-1 0 0,1 0 1 0 0,0 0 0 0 0,-1 0-1 0 0,1-1 1 0 0,-1 1 0 0 0,1 1-1 0 0,0-1 1 0 0,-1 0-1 0 0,1 0 1 0 0,-1 1 0 0 0,1-1-1 0 0,-1 0 1 0 0,1 1 0 0 0,2 1-1 0 0,-2-1 41 0 0,0 1 1 0 0,0 0-1 0 0,0 0 0 0 0,0-1 0 0 0,0 1 0 0 0,0 0 0 0 0,-1 1 0 0 0,1-1 1 0 0,-1 0-1 0 0,1 0 0 0 0,0 4 0 0 0,2 3 154 0 0,0 1 0 0 0,-1 0 0 0 0,-1 0 0 0 0,0 0 0 0 0,2 12 1 0 0,-1 15 399 0 0,-1 0 1 0 0,-1 0 0 0 0,-3 1 0 0 0,-1-1 0 0 0,-1-1 0 0 0,-11 42 0 0 0,10-59-407 0 0,0-1 0 0 0,-1 0 0 0 0,-1 0 0 0 0,-1-1 0 0 0,0 1 0 0 0,-2-2 0 0 0,0 0 0 0 0,0 0 0 0 0,-1 0 0 0 0,-1-2 0 0 0,-1 1 0 0 0,0-1 0 0 0,-27 21 0 0 0,35-32-113 0 0,1 0 1 0 0,-1 0 0 0 0,0 0-1 0 0,0 0 1 0 0,0-1 0 0 0,0 0-1 0 0,-1 0 1 0 0,1 0-1 0 0,0-1 1 0 0,-1 0 0 0 0,1 0-1 0 0,-1 0 1 0 0,-7 0-1 0 0,10-2-57 0 0,0 1 0 0 0,-1 0 0 0 0,1-1-1 0 0,0 0 1 0 0,0 0 0 0 0,0 0-1 0 0,-1 0 1 0 0,1-1 0 0 0,0 1-1 0 0,1-1 1 0 0,-1 1 0 0 0,0-1 0 0 0,0 0-1 0 0,1 0 1 0 0,-1 0 0 0 0,1-1-1 0 0,0 1 1 0 0,-1-1 0 0 0,1 1 0 0 0,0-1-1 0 0,1 0 1 0 0,-1 1 0 0 0,-2-6-1 0 0,0-1-179 0 0,1-1 0 0 0,0 1 0 0 0,0-1 0 0 0,1 0 0 0 0,0 0 0 0 0,0 0 0 0 0,1 0 0 0 0,1 0 0 0 0,0-1 0 0 0,0 1 0 0 0,1 0-1 0 0,0 0 1 0 0,1 0 0 0 0,0 0 0 0 0,0 0 0 0 0,5-11 0 0 0,0 1-1036 0 0,1 1 0 0 0,17-29-1 0 0,-11 25-2250 0 0,22-29 0 0 0,-15 26-2531 0 0</inkml:trace>
</inkml:ink>
</file>

<file path=ppt/ink/ink6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2.2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2 940 0 0,'5'-21'10553'0'0,"6"54"-8557"0"0,-8-23-1712 0 0,15 60 1030 0 0,14 123-1 0 0,-15-81-2434 0 0,-15-102 280 0 0,-1 1-1 0 0,0-1 1 0 0,0 1-1 0 0,-2 15 1 0 0</inkml:trace>
</inkml:ink>
</file>

<file path=ppt/ink/ink6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2.6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93 188 0 0,'-1'-10'933'0'0,"1"7"-602"0"0,0 0-1 0 0,0 0 1 0 0,0 0-1 0 0,0 0 1 0 0,0 0-1 0 0,1 0 1 0 0,-1 0-1 0 0,1 0 1 0 0,0 1 0 0 0,3-7 809 0 0,12 11 512 0 0,-10 1-1393 0 0,-1 0 1 0 0,0 0-1 0 0,0 1 0 0 0,0 0 0 0 0,-1 0 0 0 0,1 0 0 0 0,-1 0 0 0 0,0 0 1 0 0,0 1-1 0 0,5 7 0 0 0,7 8 242 0 0,319 353 5172 0 0,-334-372-5501 0 0,1 0 1 0 0,-1 1-1 0 0,0-1 0 0 0,1 0 0 0 0,-1 1 1 0 0,0-1-1 0 0,1 0 0 0 0,0 0 0 0 0,-1 0 0 0 0,1 0 1 0 0,0-1-1 0 0,-1 1 0 0 0,1 0 0 0 0,0-1 1 0 0,2 1-1 0 0,-2-1-116 0 0,-1 0 0 0 0,0 0 0 0 0,0-1 0 0 0,1 1 0 0 0,-1 0 0 0 0,0-1 0 0 0,0 1 0 0 0,0-1 0 0 0,1 1 0 0 0,-1-1 0 0 0,0 0 0 0 0,0 0 0 0 0,0 1 0 0 0,0-1 0 0 0,0 0 0 0 0,0 0 0 0 0,-1 0 0 0 0,1 0 0 0 0,0 0 0 0 0,0 0 0 0 0,-1 0 0 0 0,1 0 0 0 0,0 0 0 0 0,0-2 1 0 0,4-8 58 0 0,0-1 1 0 0,-1 1 0 0 0,0-1-1 0 0,-1 0 1 0 0,0 0 0 0 0,2-24-1 0 0,-1-77 504 0 0,-4 111-602 0 0,2-77 349 0 0,-4-85-2411 0 0,-1 141-239 0 0</inkml:trace>
</inkml:ink>
</file>

<file path=ppt/ink/ink6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2.9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92 284 0 0,'4'1'1836'0'0,"-2"-1"-1616"0"0,0 0 0 0 0,-1 1 0 0 0,1-1 0 0 0,0 1 0 0 0,-1-1 0 0 0,1 1 0 0 0,-1 0 0 0 0,1 0 0 0 0,-1 0 0 0 0,1 0 1 0 0,-1 0-1 0 0,0 0 0 0 0,1 0 0 0 0,-1 0 0 0 0,0 0 0 0 0,0 1 0 0 0,0-1 0 0 0,0 0 0 0 0,0 1 0 0 0,0-1 1 0 0,0 1-1 0 0,0-1 0 0 0,-1 1 0 0 0,1 0 0 0 0,0-1 0 0 0,-1 1 0 0 0,0 0 0 0 0,1-1 0 0 0,-1 1 0 0 0,0 0 1 0 0,0-1-1 0 0,0 1 0 0 0,0 0 0 0 0,0 3 0 0 0,-4 14 1338 0 0,-11 35-1 0 0,9-39-1128 0 0,2 0 0 0 0,0 1 0 0 0,1-1 0 0 0,-2 22 0 0 0,5-25-247 0 0,0 1 0 0 0,1 0 0 0 0,1-1 0 0 0,0 1 1 0 0,1-1-1 0 0,0 0 0 0 0,1 0 0 0 0,1 0 0 0 0,-1 0 1 0 0,13 20-1 0 0,-13-25-142 0 0,0-1-1 0 0,0 1 1 0 0,0-1 0 0 0,1 0 0 0 0,0-1 0 0 0,1 1 0 0 0,-1-1-1 0 0,1 0 1 0 0,0 0 0 0 0,0-1 0 0 0,0 0 0 0 0,1 0 0 0 0,-1 0 0 0 0,1-1-1 0 0,0 0 1 0 0,0 0 0 0 0,0-1 0 0 0,1 0 0 0 0,8 2 0 0 0,-13-4-19 0 0,0 0-1 0 0,1 0 1 0 0,-1 0 0 0 0,0 0 0 0 0,0 0 0 0 0,1-1 0 0 0,-1 0 0 0 0,0 1 0 0 0,0-1 0 0 0,0 0 0 0 0,0-1-1 0 0,1 1 1 0 0,-2 0 0 0 0,1-1 0 0 0,0 0 0 0 0,0 1 0 0 0,0-1 0 0 0,-1 0 0 0 0,1-1 0 0 0,-1 1-1 0 0,0 0 1 0 0,0-1 0 0 0,0 1 0 0 0,0-1 0 0 0,0 0 0 0 0,0 1 0 0 0,0-1 0 0 0,-1 0 0 0 0,0 0 0 0 0,0 0-1 0 0,1 0 1 0 0,-1-4 0 0 0,2-3 4 0 0,-1 1 1 0 0,0 0-1 0 0,-1-1 0 0 0,0 1 0 0 0,0 0 1 0 0,-1-1-1 0 0,0 1 0 0 0,-1-1 0 0 0,-3-15 1 0 0,0 11-31 0 0,-1 1 1 0 0,0-1-1 0 0,0 1 0 0 0,-2 1 1 0 0,1-1-1 0 0,-2 1 1 0 0,0 0-1 0 0,0 1 0 0 0,-1 0 1 0 0,-18-18-1 0 0,17 19-673 0 0,-1 1-1 0 0,-1 0 0 0 0,1 0 0 0 0,-1 2 0 0 0,0-1 1 0 0,-20-7-1 0 0,3 8-3230 0 0</inkml:trace>
  <inkml:trace contextRef="#ctx0" brushRef="#br0" timeOffset="1">426 34 592 0 0,'73'-32'9682'0'0,"-71"32"-9522"0"0,-1 0-1 0 0,0-1 0 0 0,0 1 0 0 0,0 0 1 0 0,1 0-1 0 0,-1 0 0 0 0,0 0 0 0 0,0 0 1 0 0,0 0-1 0 0,1 0 0 0 0,-1 0 0 0 0,0 0 1 0 0,0 0-1 0 0,0 1 0 0 0,0-1 0 0 0,1 1 1 0 0,-1-1-1 0 0,0 1 0 0 0,0-1 0 0 0,0 1 1 0 0,2 1-1 0 0,-2-1 33 0 0,1 1 1 0 0,-1 0-1 0 0,1 0 1 0 0,-1-1-1 0 0,0 1 0 0 0,1 0 1 0 0,-1 0-1 0 0,0 1 1 0 0,0-1-1 0 0,1 4 1 0 0,0 4 426 0 0,0 0 0 0 0,0 0 0 0 0,0 19 0 0 0,-2-28-539 0 0,-6 166 3221 0 0,-2-32-2186 0 0,8-100-951 0 0,2 68 43 0 0,-1-88-587 0 0,1-1-1 0 0,1 0 1 0 0,0 0 0 0 0,1 0-1 0 0,5 14 1 0 0,-7-24-28 0 0,0 0-1 0 0,1 0 1 0 0,-1-1 0 0 0,1 1-1 0 0,-1-1 1 0 0,1 0 0 0 0,0 0-1 0 0,0 0 1 0 0,0 0 0 0 0,6 4-1 0 0,-7-7-71 0 0,0 1-1 0 0,0-1 1 0 0,0 1-1 0 0,0-1 1 0 0,0 0-1 0 0,0 0 1 0 0,0 0-1 0 0,1 0 1 0 0,-1 0-1 0 0,0-1 1 0 0,0 1-1 0 0,0-1 1 0 0,0 1 0 0 0,0-1-1 0 0,0 0 1 0 0,2-1-1 0 0,10-6-5411 0 0</inkml:trace>
</inkml:ink>
</file>

<file path=ppt/ink/ink6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3.2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5 76 408 0 0,'-138'-69'13296'0'0,"136"68"-12914"0"0,2 1-360 0 0,0 0 0 0 0,0 0 0 0 0,0 0 0 0 0,0 0-1 0 0,-1 0 1 0 0,1 0 0 0 0,0 0 0 0 0,0 0 0 0 0,0 0 0 0 0,0 0 0 0 0,-1 0 0 0 0,1 0 0 0 0,0 0-1 0 0,0 0 1 0 0,0 0 0 0 0,0-1 0 0 0,-1 1 0 0 0,1 0 0 0 0,0 0 0 0 0,0 0 0 0 0,0 0 0 0 0,0 0 0 0 0,0 0-1 0 0,0-1 1 0 0,0 1 0 0 0,-1 0 0 0 0,1 0 0 0 0,0 0 0 0 0,0 0 0 0 0,0-1 0 0 0,0 1 0 0 0,0 0 0 0 0,0 0-1 0 0,0 0 1 0 0,0 0 0 0 0,0-1 0 0 0,0 1 0 0 0,0 0 0 0 0,0 0 0 0 0,0 0 0 0 0,0-1 0 0 0,0 1-1 0 0,0 0 1 0 0,29 1-516 0 0,0 2 0 0 0,40 8-1 0 0,16 8-7110 0 0,-67-14 4048 0 0</inkml:trace>
</inkml:ink>
</file>

<file path=ppt/ink/ink6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3.6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3 71 2272 0 0,'0'0'4783'0'0,"23"10"1746"0"0,-7-9-6215 0 0,-1-2 0 0 0,20-3 0 0 0,-30 3-311 0 0,-1 0 0 0 0,0 0 0 0 0,0 0 1 0 0,0 0-1 0 0,0-1 0 0 0,0 1 0 0 0,0-1 0 0 0,-1 0 1 0 0,1-1-1 0 0,-1 1 0 0 0,1-1 0 0 0,-1 1 0 0 0,5-6 1 0 0,-6 6-12 0 0,-1 0 1 0 0,0 0 0 0 0,0 1-1 0 0,0-1 1 0 0,0 0 0 0 0,0 0-1 0 0,-1 0 1 0 0,1 0 0 0 0,0-4-1 0 0,-1 5 8 0 0,1 0 0 0 0,-1 0 0 0 0,0 1 0 0 0,0-1 0 0 0,0 0 0 0 0,0 0 0 0 0,0 1 0 0 0,0-1 0 0 0,-1 0 0 0 0,1 0-1 0 0,0 1 1 0 0,0-1 0 0 0,0 0 0 0 0,-1 1 0 0 0,1-1 0 0 0,0 0 0 0 0,-1 1 0 0 0,1-1 0 0 0,-1 0 0 0 0,1 1 0 0 0,-1-1 0 0 0,1 1-1 0 0,-1-1 1 0 0,1 1 0 0 0,-1-1 0 0 0,1 1 0 0 0,-1-1 0 0 0,0 1 0 0 0,1-1 0 0 0,-1 1 0 0 0,0 0 0 0 0,0-1 0 0 0,-4 0 86 0 0,0 1 0 0 0,0-1 0 0 0,0 1 1 0 0,0 0-1 0 0,0 0 0 0 0,0 0 1 0 0,0 1-1 0 0,0 0 0 0 0,0 0 0 0 0,1 0 1 0 0,-1 0-1 0 0,0 1 0 0 0,0 0 0 0 0,1 0 1 0 0,0 0-1 0 0,-1 1 0 0 0,1-1 1 0 0,-7 7-1 0 0,-4 2 372 0 0,0 1 0 0 0,1 0 1 0 0,-22 26-1 0 0,30-31-296 0 0,1 1 0 0 0,-1 0-1 0 0,2 0 1 0 0,-1 0 0 0 0,1 0 0 0 0,0 1-1 0 0,0 0 1 0 0,1 0 0 0 0,0 0 0 0 0,1 0-1 0 0,0 1 1 0 0,1-1 0 0 0,0 0 0 0 0,0 1-1 0 0,1-1 1 0 0,0 1 0 0 0,1-1 0 0 0,0 1-1 0 0,3 14 1 0 0,-1-13-342 0 0,0-1-1 0 0,0 1 1 0 0,1 0 0 0 0,1-1-1 0 0,0 0 1 0 0,0 0 0 0 0,1 0-1 0 0,1-1 1 0 0,-1 0-1 0 0,1 0 1 0 0,1-1 0 0 0,0 1-1 0 0,0-2 1 0 0,0 1-1 0 0,1-1 1 0 0,10 7 0 0 0,-14-12-366 0 0,0 1 1 0 0,0-1-1 0 0,-1 0 1 0 0,1 0 0 0 0,1 0-1 0 0,4 0 1 0 0,18 1-5061 0 0,-10-5-702 0 0</inkml:trace>
  <inkml:trace contextRef="#ctx0" brushRef="#br0" timeOffset="1">507 296 2288 0 0,'3'-2'2208'0'0,"18"-9"4330"0"0,-18 10-5425 0 0,12-5-473 0 0,0 1-1 0 0,1 0 1 0 0,0 1 0 0 0,0 1-1 0 0,25-2 1 0 0,41 2-6039 0 0,-58 4-2783 0 0</inkml:trace>
</inkml:ink>
</file>

<file path=ppt/ink/ink6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4.1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 476 0 0,'6'-7'5715'0'0,"-5"6"-5479"0"0,1 5 253 0 0,0 0 1 0 0,0-1-1 0 0,0 1 1 0 0,-1 0-1 0 0,0 0 1 0 0,0-1 0 0 0,0 1-1 0 0,0 0 1 0 0,0 5-1 0 0,3 45 1178 0 0,-3-37-1048 0 0,26 224 2523 0 0,-2-9-4357 0 0,-20-188-324 0 0,-1-6-1184 0 0,-3-14-2706 0 0</inkml:trace>
</inkml:ink>
</file>

<file path=ppt/ink/ink6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4.4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4 111 2364 0 0,'-64'-52'10358'0'0,"64"51"-10316"0"0,0 0 0 0 0,0 1-1 0 0,0-1 1 0 0,0 1 0 0 0,0-1-1 0 0,1 0 1 0 0,-1 1 0 0 0,0-1-1 0 0,0 1 1 0 0,0-1 0 0 0,1 1-1 0 0,-1-1 1 0 0,0 1-1 0 0,1-1 1 0 0,-1 1 0 0 0,0-1-1 0 0,1 1 1 0 0,-1-1 0 0 0,1 1-1 0 0,-1 0 1 0 0,1-1 0 0 0,-1 1-1 0 0,1-1 31 0 0,6-3 69 0 0,1 1 0 0 0,-1 0 0 0 0,0 0 0 0 0,1 1 0 0 0,0 0 0 0 0,-1 0 1 0 0,1 1-1 0 0,15-1 0 0 0,-2-1 107 0 0,61-5 850 0 0,96 2 1 0 0,-75 4-392 0 0,-7 1 330 0 0,-10-1-1239 0 0,-59 0-10992 0 0,-42 7 5783 0 0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0.75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 12 716 0 0,'-2'-11'9849'0'0,"0"15"-9659"0"0,0-1 0 0 0,0 1 1 0 0,0 0-1 0 0,0 0 0 0 0,1 0 0 0 0,-1 0 1 0 0,1 0-1 0 0,1 0 0 0 0,-1 0 0 0 0,0 0 1 0 0,1 8-1 0 0,3 56 920 0 0,-1-38-751 0 0,1 26-31 0 0,1-10-2638 0 0,-4 48 1 0 0,-1-65-2043 0 0,-1-15 1082 0 0</inkml:trace>
</inkml:ink>
</file>

<file path=ppt/ink/ink6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4.9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2 0 612 0 0,'1'3'1572'0'0,"0"1"-1128"0"0,-1-1 1 0 0,0 1-1 0 0,1 0 0 0 0,-1-1 0 0 0,-1 1 0 0 0,1 0 0 0 0,0 0 1 0 0,-1-1-1 0 0,0 1 0 0 0,0 0 0 0 0,-1 3 0 0 0,-21 46 1658 0 0,5-13-856 0 0,13-24-846 0 0,1-1 0 0 0,0 1 0 0 0,0 0 0 0 0,2 0 0 0 0,0 0 0 0 0,1 0 0 0 0,2 29 0 0 0,-1-38-251 0 0,1 1 1 0 0,1 0 0 0 0,-1-1-1 0 0,2 1 1 0 0,-1-1 0 0 0,1 0-1 0 0,0 0 1 0 0,0 0 0 0 0,1 0-1 0 0,0 0 1 0 0,0-1 0 0 0,0 0 0 0 0,1 0-1 0 0,0 0 1 0 0,0 0 0 0 0,1-1-1 0 0,-1 0 1 0 0,11 7 0 0 0,-13-9-82 0 0,1-1 1 0 0,-1 1 0 0 0,1-1 0 0 0,0 0 0 0 0,0 0-1 0 0,0-1 1 0 0,0 1 0 0 0,0-1 0 0 0,0 0 0 0 0,0 0 0 0 0,1 0-1 0 0,-1 0 1 0 0,0-1 0 0 0,1 0 0 0 0,-1 0 0 0 0,0 0-1 0 0,1 0 1 0 0,-1-1 0 0 0,0 0 0 0 0,1 1 0 0 0,-1-2 0 0 0,0 1-1 0 0,0 0 1 0 0,0-1 0 0 0,0 0 0 0 0,0 0 0 0 0,0 0 0 0 0,-1 0-1 0 0,1-1 1 0 0,-1 1 0 0 0,1-1 0 0 0,-1 0 0 0 0,0 0-1 0 0,0 0 1 0 0,0-1 0 0 0,-1 1 0 0 0,1-1 0 0 0,-1 1 0 0 0,0-1-1 0 0,0 0 1 0 0,0 0 0 0 0,0 0 0 0 0,-1 0 0 0 0,2-5-1 0 0,-1 2-56 0 0,0 1-1 0 0,-1-1 0 0 0,0 0 0 0 0,0 0 1 0 0,0 0-1 0 0,-1 0 0 0 0,0 0 0 0 0,0 0 1 0 0,-1 0-1 0 0,0 0 0 0 0,0 0 0 0 0,-1 0 1 0 0,0 0-1 0 0,0 1 0 0 0,0-1 0 0 0,-1 1 1 0 0,0-1-1 0 0,-4-6 0 0 0,2 6-250 0 0,-1-1-1 0 0,1 1 0 0 0,-1-1 1 0 0,-1 2-1 0 0,1-1 0 0 0,-1 1 1 0 0,0 0-1 0 0,-1 0 0 0 0,1 1 1 0 0,-1 0-1 0 0,0 0 0 0 0,-1 1 1 0 0,-10-5-1 0 0,5 4-723 0 0,-1 0 0 0 0,0 1 0 0 0,-19-2 1 0 0,25 5-613 0 0,-1 0 1 0 0,0 1 0 0 0,-14 1 0 0 0,7 1-2735 0 0</inkml:trace>
</inkml:ink>
</file>

<file path=ppt/ink/ink6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5.6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3 1052 0 0,'0'-10'2616'0'0,"1"-13"5592"0"0,1 44-3947 0 0,1 23-3480 0 0,11 211 1852 0 0,-13-173-4950 0 0,-11 92 0 0 0,6-132-90 0 0,-1 4-3622 0 0,3-29 1952 0 0</inkml:trace>
</inkml:ink>
</file>

<file path=ppt/ink/ink6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6.5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 164 1968 0 0,'0'-1'152'0'0,"-5"-2"677"0"0,1-1-1 0 0,1 0 0 0 0,-1 0 1 0 0,0 0-1 0 0,1 0 0 0 0,-3-5 1 0 0,5 8-757 0 0,1 0 0 0 0,-1 0 0 0 0,1-1 1 0 0,0 1-1 0 0,-1 0 0 0 0,1 0 1 0 0,0 0-1 0 0,0-1 0 0 0,0 1 1 0 0,-1 0-1 0 0,1 0 0 0 0,1 0 1 0 0,-1-1-1 0 0,0 1 0 0 0,0 0 0 0 0,0 0 1 0 0,1 0-1 0 0,-1-1 0 0 0,0 1 1 0 0,1 0-1 0 0,-1 0 0 0 0,1 0 1 0 0,-1 0-1 0 0,1 0 0 0 0,0 0 1 0 0,0 0-1 0 0,-1 0 0 0 0,1 0 0 0 0,0 0 1 0 0,0 0-1 0 0,0 1 0 0 0,0-1 1 0 0,1-1-1 0 0,4-2 18 0 0,0 1 1 0 0,0-1-1 0 0,0 1 0 0 0,0 0 1 0 0,1 0-1 0 0,-1 1 0 0 0,12-3 1 0 0,52-8 134 0 0,-49 10-148 0 0,209-20 1110 0 0,-104 13 927 0 0,-116 9-1991 0 0,-1 0 0 0 0,1 1 1 0 0,0 0-1 0 0,-1 0 1 0 0,1 1-1 0 0,-1 1 0 0 0,1 0 1 0 0,-1 0-1 0 0,0 1 1 0 0,15 6-1 0 0,-16-5-68 0 0,-1 0 0 0 0,0 1-1 0 0,0 0 1 0 0,0 0 0 0 0,0 1 0 0 0,-1-1 0 0 0,0 1-1 0 0,0 1 1 0 0,-1-1 0 0 0,0 1 0 0 0,9 15 0 0 0,-6-9 1 0 0,0 2 0 0 0,-1-1 0 0 0,-1 1 0 0 0,0 0 1 0 0,-1 1-1 0 0,-1-1 0 0 0,4 26 0 0 0,-7-36-31 0 0,-1 0-1 0 0,0 1 1 0 0,1-1-1 0 0,-2 0 1 0 0,1 0 0 0 0,-1 1-1 0 0,0-1 1 0 0,0 0-1 0 0,0 0 1 0 0,-1 0 0 0 0,0 0-1 0 0,0 0 1 0 0,0 0-1 0 0,0-1 1 0 0,-1 1 0 0 0,0-1-1 0 0,0 1 1 0 0,0-1-1 0 0,0 0 1 0 0,-1 0-1 0 0,0-1 1 0 0,1 1 0 0 0,-1-1-1 0 0,-1 1 1 0 0,1-1-1 0 0,-9 4 1 0 0,11-6-31 0 0,-1-1 0 0 0,1 1 0 0 0,0-1 0 0 0,-1 0 0 0 0,1 1 0 0 0,0-1 0 0 0,-1 0 0 0 0,1-1 0 0 0,0 1 0 0 0,-1 0-1 0 0,1-1 1 0 0,0 1 0 0 0,-1-1 0 0 0,1 0 0 0 0,0 1 0 0 0,0-1 0 0 0,0 0 0 0 0,0-1 0 0 0,0 1 0 0 0,0 0 0 0 0,0 0 0 0 0,0-1 0 0 0,0 1 0 0 0,0-1 0 0 0,1 0 0 0 0,-1 0 0 0 0,1 1 0 0 0,-1-1 0 0 0,1 0 0 0 0,-2-4 0 0 0,1 2-80 0 0,1 0 0 0 0,0 0 0 0 0,0 0 0 0 0,1 0 0 0 0,-1 0 0 0 0,1 0 0 0 0,0 0 0 0 0,0 0 0 0 0,0 0 0 0 0,0 0 0 0 0,1-1 0 0 0,0 1 0 0 0,0 1 0 0 0,0-1 0 0 0,0 0 0 0 0,1 0 0 0 0,-1 0 0 0 0,1 0 0 0 0,0 1 0 0 0,0-1 0 0 0,0 1 0 0 0,1 0 0 0 0,-1-1 0 0 0,5-3 0 0 0,3-4-89 0 0,0 0 1 0 0,1 1 0 0 0,0 1 0 0 0,1-1-1 0 0,18-9 1 0 0,-3 3-65 0 0,2 1 1 0 0,54-19-1 0 0,64-10-129 0 0,22-9 2069 0 0,-166 52-1613 0 0,-1 0 0 0 0,1 0 1 0 0,0 0-1 0 0,-1-1 0 0 0,0 1 0 0 0,1-1 1 0 0,-1 0-1 0 0,0 1 0 0 0,1-1 0 0 0,-1 0 1 0 0,0 0-1 0 0,3-5 0 0 0,-5 6 18 0 0,-13 3-100 0 0,0 1 1 0 0,0 1-1 0 0,1 0 0 0 0,-1 0 1 0 0,1 2-1 0 0,0-1 0 0 0,0 1 0 0 0,-11 9 1 0 0,7-4-21 0 0,0 0 0 0 0,1 2 0 0 0,0 0 0 0 0,-23 27 0 0 0,35-37 11 0 0,1 0-1 0 0,0-1 0 0 0,0 2 0 0 0,0-1 1 0 0,0 0-1 0 0,0 0 0 0 0,1 1 0 0 0,-2 4 1 0 0,2-6 1 0 0,1-1-1 0 0,0 0 1 0 0,0 1 0 0 0,0-1 0 0 0,0 0 0 0 0,0 1 0 0 0,0-1 0 0 0,0 0 0 0 0,0 1 0 0 0,1-1 0 0 0,-1 0 0 0 0,0 1 0 0 0,1-1-1 0 0,-1 0 1 0 0,1 0 0 0 0,0 0 0 0 0,-1 1 0 0 0,1-1 0 0 0,0 0 0 0 0,0 0 0 0 0,-1 0 0 0 0,1 0 0 0 0,0 0 0 0 0,1 1-1 0 0,0-1-35 0 0,0 0-1 0 0,0 0 0 0 0,0 0 0 0 0,0-1 0 0 0,0 1 0 0 0,0 0 0 0 0,0-1 0 0 0,0 1 0 0 0,1-1 0 0 0,-1 0 0 0 0,0 0 0 0 0,0 0 0 0 0,0 0 0 0 0,0 0 0 0 0,1 0 0 0 0,-1 0 0 0 0,0-1 0 0 0,3 0 0 0 0,2-1-168 0 0,0 0-1 0 0,0 0 1 0 0,13-7-1 0 0,-9 3-41 0 0,-1-1 0 0 0,0 0 0 0 0,0-1-1 0 0,-1 0 1 0 0,0-1 0 0 0,14-16 0 0 0,-4 0 208 0 0,24-39 0 0 0,-41 56 131 0 0,-7 10 228 0 0,-7 11 126 0 0,9-6-344 0 0,0 0 1 0 0,1 1 0 0 0,0-1-1 0 0,0 1 1 0 0,1-1 0 0 0,0 1-1 0 0,1 0 1 0 0,-1-1-1 0 0,1 1 1 0 0,1 0 0 0 0,0 0-1 0 0,0-1 1 0 0,0 1 0 0 0,1-1-1 0 0,4 12 1 0 0,-4-14-64 0 0,0 0 0 0 0,0-1-1 0 0,0 1 1 0 0,1-1 0 0 0,0 1-1 0 0,0-1 1 0 0,0 0 0 0 0,1 0 0 0 0,-1 0-1 0 0,1-1 1 0 0,0 1 0 0 0,0-1 0 0 0,0 0-1 0 0,1 0 1 0 0,-1 0 0 0 0,1-1 0 0 0,-1 1-1 0 0,1-1 1 0 0,0 0 0 0 0,0-1 0 0 0,0 1-1 0 0,0-1 1 0 0,7 1 0 0 0,-7-2-66 0 0,1 1 0 0 0,-1-1 0 0 0,0-1 0 0 0,0 1 0 0 0,1-1 0 0 0,-1 0 0 0 0,0 0 0 0 0,0 0 0 0 0,0-1 0 0 0,0 0 0 0 0,0 0 0 0 0,0 0 0 0 0,0-1 0 0 0,-1 1 0 0 0,1-1 0 0 0,-1 0 0 0 0,5-5 0 0 0,6-6-23 0 0,0-1 0 0 0,-1 0 1 0 0,13-20-1 0 0,8-8 1199 0 0,-26 32-661 0 0,-6 7-334 0 0,0 0 0 0 0,0 0 0 0 0,0 0 0 0 0,0 0 0 0 0,1 0 0 0 0,0 1 0 0 0,6-6 0 0 0,-8 10-128 0 0,-1-1 1 0 0,1 1-1 0 0,-1 0 1 0 0,0-1-1 0 0,1 1 1 0 0,-1 0-1 0 0,0 0 1 0 0,0 0-1 0 0,0 0 1 0 0,1 0-1 0 0,-1 0 1 0 0,0 0-1 0 0,0 0 1 0 0,0 1-1 0 0,-1-1 0 0 0,1 0 1 0 0,0 0-1 0 0,0 1 1 0 0,-1-1-1 0 0,1 1 1 0 0,-1-1-1 0 0,1 0 1 0 0,-1 1-1 0 0,0-1 1 0 0,1 1-1 0 0,-1 1 1 0 0,7 47-618 0 0,-7-45 292 0 0,0 0-235 0 0,2 38-1937 0 0,-6-13-5205 0 0,0-16 2715 0 0</inkml:trace>
</inkml:ink>
</file>

<file path=ppt/ink/ink6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6.8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 125 108 0 0,'-8'-72'8483'0'0,"5"52"-7209"0"0,3 19-1343 0 0,-1-1 0 0 0,1 1 0 0 0,-1-1 0 0 0,1 0 0 0 0,0 1 0 0 0,0-1 0 0 0,0 0 0 0 0,0 1 0 0 0,0-1 0 0 0,0 0 0 0 0,0 1 0 0 0,0-1 0 0 0,1 0 0 0 0,-1 1 0 0 0,1-1 0 0 0,-1 0 0 0 0,1 1 0 0 0,0-2 0 0 0,14 5-2448 0 0,-8 1 568 0 0,6 3 265 0 0</inkml:trace>
</inkml:ink>
</file>

<file path=ppt/ink/ink6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7.2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040 0 0,'13'24'2094'0'0,"-2"1"0"0"0,9 28 0 0 0,24 110 2863 0 0,-16-48-2 0 0,-28-113-4325 0 0,12-39 76 0 0,-9 27-729 0 0,1 1-1 0 0,0-1 1 0 0,1 1 0 0 0,0-1-1 0 0,0 1 1 0 0,1 1-1 0 0,0-1 1 0 0,0 1-1 0 0,1 0 1 0 0,0 0-1 0 0,12-9 1 0 0,-17 15 15 0 0,1 1 1 0 0,0-1-1 0 0,-1 1 1 0 0,1 0-1 0 0,0 0 1 0 0,0 1-1 0 0,-1-1 1 0 0,1 0-1 0 0,0 1 1 0 0,0 0-1 0 0,0 0 1 0 0,0 0-1 0 0,0 0 1 0 0,0 0-1 0 0,-1 0 1 0 0,1 1-1 0 0,0-1 0 0 0,0 1 1 0 0,0 0-1 0 0,-1 0 1 0 0,1 0-1 0 0,0 0 1 0 0,-1 0-1 0 0,1 1 1 0 0,2 1-1 0 0,1 1-80 0 0,0 1 0 0 0,0-1 1 0 0,0 1-1 0 0,-1 0 0 0 0,0 1 0 0 0,0-1 0 0 0,0 1 0 0 0,6 10 0 0 0,-7-9-434 0 0,0 0 0 0 0,-1 0 0 0 0,1 0 0 0 0,-2 1 0 0 0,1 0 0 0 0,2 12 0 0 0,-4 11-6345 0 0,-3-16 2490 0 0</inkml:trace>
</inkml:ink>
</file>

<file path=ppt/ink/ink6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7.5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 27 1992 0 0,'-24'-27'6697'0'0,"11"53"-3734"0"0,11-4-2061 0 0,0 1 0 0 0,2-1 0 0 0,1 0 0 0 0,4 28 0 0 0,22 90 251 0 0,-7-45-724 0 0,-13-62-827 0 0,8 62-1210 0 0,-14-84 256 0 0,0 0 0 0 0,-1 0-1 0 0,-1 0 1 0 0,1 0-1 0 0,-2 0 1 0 0,-2 14-1 0 0,1-16-2514 0 0</inkml:trace>
</inkml:ink>
</file>

<file path=ppt/ink/ink6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7.9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3 62 1792 0 0,'-50'-21'6685'0'0,"50"21"-6645"0"0,0 0 0 0 0,0 0-1 0 0,0 0 1 0 0,0 0-1 0 0,0 0 1 0 0,-1 0-1 0 0,1 0 1 0 0,-2-1 790 0 0,2 1-791 0 0,0 0 1 0 0,0 0-1 0 0,0-1 1 0 0,0 1-1 0 0,0 0 1 0 0,0 0-1 0 0,0 0 1 0 0,0 0 0 0 0,0 0-1 0 0,0 0 1 0 0,0 0-1 0 0,0 0 1 0 0,0-1-1 0 0,0 1 1 0 0,0 0-1 0 0,0 0 1 0 0,0 0-1 0 0,0 0 1 0 0,0 0-1 0 0,0 0 1 0 0,0 0-1 0 0,0-1 1 0 0,1 1 237 0 0,-1 0-238 0 0,10-3 868 0 0,23 2-843 0 0,-23 1 253 0 0,223-20 712 0 0,-124 9-682 0 0,-102 10-284 0 0,0 1 0 0 0,1 0 0 0 0,-1 0 1 0 0,0 0-1 0 0,1 1 0 0 0,-1 1 1 0 0,0-1-1 0 0,0 1 0 0 0,0 0 1 0 0,0 0-1 0 0,0 1 0 0 0,0 0 1 0 0,-1 1-1 0 0,1-1 0 0 0,6 6 0 0 0,-5-3 80 0 0,-1 1-1 0 0,0 0 0 0 0,0 0 0 0 0,0 1 0 0 0,-1 0 1 0 0,0 0-1 0 0,-1 0 0 0 0,0 1 0 0 0,0 0 0 0 0,6 16 0 0 0,1 9 309 0 0,-2 1-1 0 0,-1 0 0 0 0,-2 1 1 0 0,6 65-1 0 0,-13-92 126 0 0,1 0 720 0 0,0-12-222 0 0,3-31-602 0 0,2 12-501 0 0,0 1 0 0 0,2 0 0 0 0,20-37 0 0 0,-25 51 12 0 0,1 1 0 0 0,0 0 0 0 0,0 0 0 0 0,0 0 0 0 0,1 1 0 0 0,-1 0 0 0 0,1-1-1 0 0,1 2 1 0 0,-1-1 0 0 0,1 0 0 0 0,0 1 0 0 0,0 0 0 0 0,0 1 0 0 0,0-1 0 0 0,13-4 0 0 0,-16 8 10 0 0,1-1 0 0 0,-1 1 0 0 0,0 0 0 0 0,1 0 0 0 0,-1 0 0 0 0,1 0 0 0 0,-1 1-1 0 0,0-1 1 0 0,1 1 0 0 0,-1 0 0 0 0,0 0 0 0 0,1 0 0 0 0,-1 1 0 0 0,0-1 0 0 0,0 1 0 0 0,0-1 0 0 0,0 1 0 0 0,3 3 0 0 0,2 2-4 0 0,0-1 0 0 0,0 2 0 0 0,-1-1 0 0 0,9 12 0 0 0,-6-6-370 0 0,-1 1 0 0 0,0 0-1 0 0,-1 1 1 0 0,-1-1 0 0 0,8 23-1 0 0,8 42-6769 0 0,-20-67 3336 0 0</inkml:trace>
</inkml:ink>
</file>

<file path=ppt/ink/ink6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8.4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1 77 528 0 0,'-10'33'10481'0'0,"13"-33"-9838"0"0,1 1-514 0 0,0-1 1 0 0,-1 0-1 0 0,1 0 1 0 0,0 0-1 0 0,0 0 1 0 0,-1-1-1 0 0,1 0 1 0 0,0 0-1 0 0,-1 0 1 0 0,1 0 0 0 0,-1 0-1 0 0,1 0 1 0 0,-1-1-1 0 0,0 0 1 0 0,1 0-1 0 0,-1 0 1 0 0,3-3-1 0 0,0 1-65 0 0,0-1-1 0 0,-1-1 0 0 0,1 1 1 0 0,-1-1-1 0 0,0 0 0 0 0,-1 0 1 0 0,6-9-1 0 0,-9 14-61 0 0,-1 0 1 0 0,1 1-1 0 0,-1-1 0 0 0,1 0 1 0 0,-1 0-1 0 0,1 1 0 0 0,-1-1 1 0 0,1 0-1 0 0,-1 0 0 0 0,0 0 0 0 0,0 1 1 0 0,1-1-1 0 0,-1 0 0 0 0,0 0 1 0 0,0 0-1 0 0,0 0 0 0 0,0 0 1 0 0,0 0-1 0 0,0 0 0 0 0,0 1 1 0 0,0-1-1 0 0,0 0 0 0 0,-1 0 1 0 0,1 0-1 0 0,0 0 0 0 0,-1 0 0 0 0,1 1 1 0 0,0-1-1 0 0,-1 0 0 0 0,1 0 1 0 0,-1 1-1 0 0,1-1 0 0 0,-1 0 1 0 0,1 0-1 0 0,-1 1 0 0 0,0-1 1 0 0,1 1-1 0 0,-1-1 0 0 0,0 1 1 0 0,1-1-1 0 0,-1 1 0 0 0,0-1 0 0 0,0 1 1 0 0,0-1-1 0 0,1 1 0 0 0,-1 0 1 0 0,0 0-1 0 0,0-1 0 0 0,-2 1 1 0 0,-1-1 3 0 0,-1 0 1 0 0,0 1 0 0 0,0 0-1 0 0,0 0 1 0 0,0 0-1 0 0,-6 1 1 0 0,-2 1 123 0 0,1 1 0 0 0,0 1-1 0 0,0 0 1 0 0,0 0 0 0 0,1 1 0 0 0,0 1 0 0 0,-1 0-1 0 0,2 0 1 0 0,-1 1 0 0 0,1 1 0 0 0,0 0-1 0 0,1 0 1 0 0,-1 0 0 0 0,-12 18 0 0 0,20-24-91 0 0,0 1-1 0 0,0 0 1 0 0,0 0 0 0 0,1-1-1 0 0,-1 1 1 0 0,1 1 0 0 0,0-1-1 0 0,0 0 1 0 0,0 0 0 0 0,0 0 0 0 0,0 0-1 0 0,1 1 1 0 0,-1-1 0 0 0,1 0-1 0 0,0 1 1 0 0,0-1 0 0 0,0 0 0 0 0,2 7-1 0 0,-1-5-7 0 0,1 0-1 0 0,0-1 0 0 0,0 1 1 0 0,1-1-1 0 0,-1 1 0 0 0,1-1 1 0 0,0 0-1 0 0,0 0 0 0 0,0 0 1 0 0,1 0-1 0 0,4 4 0 0 0,6 3-326 0 0,0-1 0 0 0,1 0-1 0 0,0-1 1 0 0,0 0-1 0 0,1-1 1 0 0,19 6-1 0 0,-15-7-1009 0 0,1 0 0 0 0,31 4 0 0 0,13-4-4081 0 0,-32-7 1473 0 0</inkml:trace>
</inkml:ink>
</file>

<file path=ppt/ink/ink6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49.4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204 0 0,'2'2'6049'0'0,"2"7"-5439"0"0,-1 0 0 0 0,0 0 0 0 0,-1 0 0 0 0,1 1 0 0 0,-2-1 0 0 0,1 1 0 0 0,-1 15 1 0 0,2 2 383 0 0,37 161 2881 0 0,-16-92-1790 0 0,-26-113-1939 0 0,1-1-1 0 0,1 0 1 0 0,0 0 0 0 0,2 1 0 0 0,0-1-1 0 0,5-19 1 0 0,-3 18-318 0 0,0 0-1 0 0,1 1 1 0 0,2-1-1 0 0,0 1 1 0 0,0 0-1 0 0,19-30 0 0 0,-24 45 150 0 0,0 0-1 0 0,1 0 0 0 0,-1 0 0 0 0,1 0 0 0 0,0 0 0 0 0,-1 1 0 0 0,1-1 0 0 0,0 1 0 0 0,1 0 1 0 0,-1 0-1 0 0,0 0 0 0 0,0 0 0 0 0,1 0 0 0 0,-1 1 0 0 0,1 0 0 0 0,0 0 0 0 0,-1 0 0 0 0,1 0 1 0 0,0 0-1 0 0,0 1 0 0 0,6-1 0 0 0,-5 2 12 0 0,0-1-1 0 0,0 1 1 0 0,-1 1 0 0 0,1-1-1 0 0,-1 0 1 0 0,1 1 0 0 0,-1 0-1 0 0,1 0 1 0 0,-1 1 0 0 0,0-1 0 0 0,0 1-1 0 0,0 0 1 0 0,0 0 0 0 0,-1 0-1 0 0,1 0 1 0 0,4 7 0 0 0,2 2 48 0 0,-1 1 1 0 0,0 1-1 0 0,-1-1 1 0 0,-1 1 0 0 0,0 1-1 0 0,10 29 1 0 0,-7-10 1622 0 0,10 71 1186 0 0,-21-105-2832 0 0,1 0 0 0 0,-1-1 0 0 0,0 1 0 0 0,1 0 0 0 0,-1-1 0 0 0,0 1 0 0 0,1-1 0 0 0,-1 1 0 0 0,1-1 0 0 0,-1 1 0 0 0,1-1 1 0 0,-1 1-1 0 0,1-1 0 0 0,-1 0 0 0 0,1 1 0 0 0,0-1 0 0 0,-1 1 0 0 0,1-1 0 0 0,0 0 0 0 0,-1 0 0 0 0,1 1 0 0 0,0-1 0 0 0,0 0 0 0 0,0 0 0 0 0,0 1 0 0 0,0-1 0 0 0,0 0 0 0 0,0 0 0 0 0,-2-26-149 0 0,2 16 51 0 0,1 0 0 0 0,1 0 0 0 0,0 0 0 0 0,0 0 0 0 0,1 0 0 0 0,1 1 1 0 0,0-1-1 0 0,0 1 0 0 0,7-11 0 0 0,-8 15 24 0 0,0 0 0 0 0,0 0 1 0 0,1 1-1 0 0,0 0 0 0 0,0-1 0 0 0,1 2 0 0 0,-1-1 0 0 0,1 0 0 0 0,0 1 1 0 0,0 0-1 0 0,1 0 0 0 0,-1 0 0 0 0,1 1 0 0 0,0 0 0 0 0,0 0 1 0 0,8-2-1 0 0,-9 4 22 0 0,-1 0 0 0 0,1 1-1 0 0,0 0 1 0 0,0 0 0 0 0,0 0 0 0 0,0 0 0 0 0,0 1 0 0 0,0 0 0 0 0,-1 0 0 0 0,1 0 0 0 0,0 1 0 0 0,-1-1 0 0 0,9 5 0 0 0,4 3-38 0 0,-1 1 1 0 0,17 13 0 0 0,-22-16 48 0 0,2 2-2 0 0,67 44 36 0 0,-69-47-23 0 0,1 0-1 0 0,-1-1 1 0 0,1-1 0 0 0,0 1 0 0 0,16 2-1 0 0,-22-6-57 0 0,1-1-1 0 0,-1 1 1 0 0,0-1-1 0 0,1-1 1 0 0,-1 1-1 0 0,0-1 1 0 0,1 0-1 0 0,-1-1 1 0 0,0 1-1 0 0,0-1 1 0 0,0 0-1 0 0,9-6 1 0 0,-4 3-138 0 0,-1-1 0 0 0,-1 0 0 0 0,1-1 0 0 0,-1 0 0 0 0,14-14 0 0 0,-15 14 90 0 0,-1-1-1 0 0,-1 0 0 0 0,1-1 0 0 0,-2 0 0 0 0,6-9 0 0 0,-10 17 119 0 0,-1 1-1 0 0,1-1 1 0 0,-1 0 0 0 0,0 1-1 0 0,1-1 1 0 0,-1 1-1 0 0,0-1 1 0 0,0 1 0 0 0,0-1-1 0 0,1 0 1 0 0,-1 1 0 0 0,0-1-1 0 0,0 0 1 0 0,0 1 0 0 0,0-1-1 0 0,0 0 1 0 0,0 1 0 0 0,0-1-1 0 0,0 1 1 0 0,0-1-1 0 0,-1 0 1 0 0,1 1 0 0 0,0-1-1 0 0,0 0 1 0 0,0 1 0 0 0,-1-1-1 0 0,1 1 1 0 0,0-1 0 0 0,-1 1-1 0 0,1-1 1 0 0,-1 1-1 0 0,1-1 1 0 0,0 1 0 0 0,-1-1-1 0 0,1 1 1 0 0,-1-1 0 0 0,1 1-1 0 0,-1 0 1 0 0,1-1 0 0 0,-1 1-1 0 0,0 0 1 0 0,1 0-1 0 0,-1-1 1 0 0,1 1 0 0 0,-1 0-1 0 0,0 0 1 0 0,1 0 0 0 0,-1 0-1 0 0,0-1 1 0 0,1 1 0 0 0,-1 0-1 0 0,1 0 1 0 0,-1 0 0 0 0,0 1-1 0 0,1-1 1 0 0,-1 0-1 0 0,0 0 1 0 0,0 0 0 0 0,-3 1-8 0 0,0-1 0 0 0,0 1 0 0 0,0 0 0 0 0,0 0 0 0 0,1 0 0 0 0,-1 0 0 0 0,-6 3 0 0 0,7-2 19 0 0,0 0-1 0 0,0 0 1 0 0,0 0 0 0 0,1 1-1 0 0,-1-1 1 0 0,0 1 0 0 0,1-1-1 0 0,0 1 1 0 0,-1 0 0 0 0,1 0-1 0 0,0 0 1 0 0,1 0 0 0 0,-1 0 0 0 0,0 1-1 0 0,1-1 1 0 0,0 0 0 0 0,0 1-1 0 0,0-1 1 0 0,0 1 0 0 0,0 0-1 0 0,1-1 1 0 0,0 1 0 0 0,-1-1-1 0 0,1 1 1 0 0,1 0 0 0 0,-1-1-1 0 0,0 1 1 0 0,3 6 0 0 0,-1-4 23 0 0,0-1 1 0 0,0 0-1 0 0,1 1 1 0 0,-1-1-1 0 0,1 0 0 0 0,1-1 1 0 0,-1 1-1 0 0,1 0 1 0 0,0-1-1 0 0,0 0 1 0 0,0 0-1 0 0,0 0 0 0 0,1 0 1 0 0,-1-1-1 0 0,1 0 1 0 0,0 0-1 0 0,8 4 1 0 0,-5-4 3 0 0,0 0-1 0 0,-1 0 1 0 0,1-1 0 0 0,1 0 0 0 0,-1 0 0 0 0,0-1-1 0 0,0 0 1 0 0,1 0 0 0 0,16-1 0 0 0,-20-1-20 0 0,0 0 0 0 0,0 0 1 0 0,0 0-1 0 0,0-1 0 0 0,0 1 0 0 0,0-1 1 0 0,0 0-1 0 0,-1-1 0 0 0,1 1 0 0 0,0-1 1 0 0,-1 0-1 0 0,0 0 0 0 0,0 0 0 0 0,0-1 1 0 0,0 1-1 0 0,6-9 0 0 0,-5 5-19 0 0,0-1 0 0 0,0 0 1 0 0,0 0-1 0 0,-1 0 0 0 0,-1 0 0 0 0,1-1 0 0 0,-2 1 1 0 0,1-1-1 0 0,-1 0 0 0 0,0 0 0 0 0,-1 1 0 0 0,0-1 1 0 0,0-1-1 0 0,-1-12 0 0 0,-1 16-188 0 0,1 1 0 0 0,-1 0 0 0 0,0-1 0 0 0,-1 1 0 0 0,1 0 0 0 0,-1 0 0 0 0,0 0 0 0 0,0 0 0 0 0,0 0 0 0 0,-1 0 0 0 0,0 1 0 0 0,0-1 0 0 0,0 1 0 0 0,0 0 0 0 0,-1 0 0 0 0,1 0 0 0 0,-1 0 0 0 0,0 1 0 0 0,-1-1 0 0 0,1 1 1 0 0,0 0-1 0 0,-1 0 0 0 0,0 1 0 0 0,0-1 0 0 0,-8-2 0 0 0,2 2-1281 0 0,0 0 1 0 0,0 1-1 0 0,0 0 1 0 0,-15 0 0 0 0,10 1-2799 0 0</inkml:trace>
</inkml:ink>
</file>

<file path=ppt/ink/ink6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0.1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3 13 1628 0 0,'2'-1'306'0'0,"0"-1"0"0"0,-1 1 0 0 0,1 0 0 0 0,0 0 0 0 0,0 0 1 0 0,0 0-1 0 0,1 0 0 0 0,-1 0 0 0 0,0 0 0 0 0,0 1 0 0 0,0-1 0 0 0,0 1 0 0 0,1-1 0 0 0,-1 1 0 0 0,3 0 0 0 0,-3 1-129 0 0,-1-1-1 0 0,1 0 1 0 0,0 1-1 0 0,-1 0 0 0 0,1-1 1 0 0,0 1-1 0 0,-1 0 1 0 0,1 0-1 0 0,-1 0 1 0 0,1 0-1 0 0,-1 0 0 0 0,0 1 1 0 0,1-1-1 0 0,-1 0 1 0 0,0 0-1 0 0,0 1 1 0 0,0-1-1 0 0,0 1 0 0 0,0-1 1 0 0,1 4-1 0 0,3 6 368 0 0,0 1 0 0 0,0-1-1 0 0,-1 1 1 0 0,-1 1 0 0 0,0-1-1 0 0,-1 0 1 0 0,0 1 0 0 0,-1 12-1 0 0,0 8 469 0 0,-7 61-1 0 0,4-74-822 0 0,-2 0-1 0 0,0 0 0 0 0,-1-1 0 0 0,-1 0 1 0 0,-1 0-1 0 0,-10 21 0 0 0,11-30-119 0 0,1 0 0 0 0,-1-1 0 0 0,-1 1 0 0 0,0-1 0 0 0,0 0 1 0 0,-1-1-1 0 0,0 0 0 0 0,0 0 0 0 0,-1 0 0 0 0,0-1 0 0 0,0-1 0 0 0,-12 7 0 0 0,18-11-121 0 0,-1 0-1 0 0,0-1 1 0 0,0 0 0 0 0,0 1-1 0 0,0-1 1 0 0,-1-1 0 0 0,1 1 0 0 0,0 0-1 0 0,0-1 1 0 0,0 0 0 0 0,-1 0-1 0 0,1 0 1 0 0,0-1 0 0 0,0 1 0 0 0,0-1-1 0 0,0 0 1 0 0,-1-1 0 0 0,-5-1 0 0 0,8 1-36 0 0,-1 1 0 0 0,1 0 0 0 0,0-1 0 0 0,0 1 0 0 0,0-1 0 0 0,0 1 0 0 0,0-1 1 0 0,0 0-1 0 0,1 0 0 0 0,-1 0 0 0 0,0 0 0 0 0,1 0 0 0 0,0 0 0 0 0,-1 0 1 0 0,1-1-1 0 0,0 1 0 0 0,0-1 0 0 0,0 1 0 0 0,1 0 0 0 0,-1-1 0 0 0,0 1 0 0 0,1-1 1 0 0,0 0-1 0 0,0 1 0 0 0,0-1 0 0 0,0 1 0 0 0,0-1 0 0 0,0 1 0 0 0,0-1 1 0 0,1 1-1 0 0,0-4 0 0 0,0 3 44 0 0,0 0 0 0 0,0 1 1 0 0,0-1-1 0 0,0 1 1 0 0,0-1-1 0 0,0 1 0 0 0,1-1 1 0 0,-1 1-1 0 0,1 0 0 0 0,-1 0 1 0 0,1 0-1 0 0,0 0 0 0 0,0 0 1 0 0,0 0-1 0 0,0 0 1 0 0,1 0-1 0 0,-1 1 0 0 0,0-1 1 0 0,1 1-1 0 0,-1 0 0 0 0,1 0 1 0 0,-1 0-1 0 0,1 0 0 0 0,-1 0 1 0 0,1 0-1 0 0,0 1 1 0 0,-1-1-1 0 0,1 1 0 0 0,0 0 1 0 0,3 0-1 0 0,21 5 41 0 0,-1 2 1 0 0,0 1-1 0 0,0 0 1 0 0,45 24-1 0 0,39 13 343 0 0,-95-40-265 0 0,0-1 0 0 0,1 0-1 0 0,-1-2 1 0 0,1 1 0 0 0,22-1 0 0 0,-27-2-90 0 0,-1 0 1 0 0,1-1-1 0 0,0-1 0 0 0,0 0 1 0 0,-1 0-1 0 0,1-1 1 0 0,-1 0-1 0 0,0-1 0 0 0,12-6 1 0 0,-15 6-40 0 0,1 0 0 0 0,-1-1 0 0 0,-1 0 0 0 0,1-1 0 0 0,-1 1 0 0 0,0-1 0 0 0,0 0 0 0 0,-1 0 0 0 0,0-1 0 0 0,0 0 0 0 0,0 0 1 0 0,5-11-1 0 0,-7 12 35 0 0,-1 2-15 0 0,0 1 0 0 0,0-1-1 0 0,-1 0 1 0 0,1 0 0 0 0,-1 1 0 0 0,1-6 0 0 0,-2 8 29 0 0,0 0 0 0 0,0 0 0 0 0,0 0 0 0 0,0 0 0 0 0,0 0 0 0 0,-1 1 0 0 0,1-1 0 0 0,0 0 0 0 0,0 0 0 0 0,-1 0 0 0 0,1 0 0 0 0,-1 1 0 0 0,1-1 0 0 0,0 0 0 0 0,-1 0 0 0 0,1 1 0 0 0,-1-1 0 0 0,0 0 0 0 0,1 1 0 0 0,-1-1 0 0 0,0 1 0 0 0,1-1 0 0 0,-1 1 0 0 0,0-1 0 0 0,1 1 0 0 0,-1-1 0 0 0,0 1 0 0 0,0 0 0 0 0,0-1 0 0 0,1 1 0 0 0,-1 0 0 0 0,0 0 0 0 0,-1-1 0 0 0,0 1 19 0 0,0 0-1 0 0,0 0 1 0 0,0 0-1 0 0,1 0 0 0 0,-1 0 1 0 0,0 0-1 0 0,0 0 1 0 0,0 1-1 0 0,0-1 0 0 0,0 1 1 0 0,0-1-1 0 0,1 1 1 0 0,-1 0-1 0 0,0 0 1 0 0,1-1-1 0 0,-1 1 0 0 0,-2 2 1 0 0,-22 20 521 0 0,23-19-459 0 0,0-1 0 0 0,1 1-1 0 0,-1 0 1 0 0,1 0 0 0 0,0 0 0 0 0,0 0 0 0 0,0 0-1 0 0,0 0 1 0 0,1 0 0 0 0,0 1 0 0 0,-1-1 0 0 0,2 1-1 0 0,-1-1 1 0 0,1 1 0 0 0,-1-1 0 0 0,1 1 0 0 0,0-1-1 0 0,1 1 1 0 0,-1-1 0 0 0,1 1 0 0 0,0-1 0 0 0,0 0-1 0 0,0 1 1 0 0,1-1 0 0 0,-1 0 0 0 0,1 0 0 0 0,0 1-1 0 0,0-2 1 0 0,1 1 0 0 0,3 4 0 0 0,-2-2-26 0 0,1 0 0 0 0,-1-1 0 0 0,1 1 1 0 0,1-1-1 0 0,-1 0 0 0 0,1-1 0 0 0,0 0 1 0 0,0 0-1 0 0,0 0 0 0 0,1 0 0 0 0,-1-1 1 0 0,1 0-1 0 0,0-1 0 0 0,0 1 0 0 0,0-1 1 0 0,0-1-1 0 0,0 1 0 0 0,9 0 0 0 0,-9-2-110 0 0,1 0 0 0 0,-1-1 1 0 0,1 1-1 0 0,-1-1 0 0 0,1-1 0 0 0,-1 0 0 0 0,0 0 0 0 0,0 0 0 0 0,0-1 0 0 0,0 0 0 0 0,0 0 0 0 0,12-8 0 0 0,-9 4-137 0 0,-1-1 0 0 0,-1 1 0 0 0,1-2 0 0 0,-1 1 0 0 0,-1-1-1 0 0,0 0 1 0 0,11-17 0 0 0,-4-1-152 0 0,0-1 0 0 0,-2-1 1 0 0,-1 0-1 0 0,-1-1 0 0 0,8-41 0 0 0,-14 53 359 0 0,-1 0 0 0 0,-1 0-1 0 0,-1-27 1 0 0,-1 37 33 0 0,0 0 0 0 0,-1 1-1 0 0,0-1 1 0 0,0 0 0 0 0,-1 0 0 0 0,0 0 0 0 0,-1 1 0 0 0,1-1 0 0 0,-1 1-1 0 0,-6-9 1 0 0,8 14 3 0 0,0 0-1 0 0,0 0 0 0 0,-1 0 1 0 0,1 1-1 0 0,-1-1 0 0 0,1 0 0 0 0,-1 1 1 0 0,0 0-1 0 0,0-1 0 0 0,1 1 1 0 0,-1 0-1 0 0,0 0 0 0 0,0 0 1 0 0,0 0-1 0 0,-1 0 0 0 0,1 0 1 0 0,0 0-1 0 0,0 1 0 0 0,0-1 0 0 0,0 1 1 0 0,-1 0-1 0 0,1 0 0 0 0,0 0 1 0 0,0 0-1 0 0,-1 0 0 0 0,1 0 1 0 0,0 0-1 0 0,0 1 0 0 0,-1-1 1 0 0,-1 2-1 0 0,0-1 39 0 0,0 1-1 0 0,0 0 1 0 0,0 0 0 0 0,0 0 0 0 0,0 0 0 0 0,1 1-1 0 0,-1 0 1 0 0,1 0 0 0 0,0 0 0 0 0,0 0 0 0 0,0 0-1 0 0,0 0 1 0 0,0 1 0 0 0,-3 6 0 0 0,2-2-30 0 0,0-1-1 0 0,1 1 1 0 0,0 0 0 0 0,0 1-1 0 0,1-1 1 0 0,0 1 0 0 0,1-1 0 0 0,0 1-1 0 0,0-1 1 0 0,0 11 0 0 0,2-6 18 0 0,0 1 1 0 0,1-1-1 0 0,1 1 1 0 0,0-1-1 0 0,8 23 1 0 0,5 0-546 0 0,2 0-1 0 0,1-2 1 0 0,31 45 0 0 0,-45-72 181 0 0,42 60-2742 0 0,-12-27-2593 0 0,-21-25 1342 0 0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1.3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16 1204 0 0,'8'-9'4183'0'0,"7"3"-3449"0"0,0 1 0 0 0,0 0 0 0 0,1 0-1 0 0,0 2 1 0 0,0 0 0 0 0,0 1 0 0 0,19 0-1 0 0,-13 0-506 0 0,1-1-1 0 0,42-10 0 0 0,-57 11-186 0 0,0-1-1 0 0,0 1 1 0 0,0-1-1 0 0,-1-1 0 0 0,0 0 1 0 0,1 0-1 0 0,-1 0 1 0 0,-1-1-1 0 0,1 0 0 0 0,-1 0 1 0 0,0 0-1 0 0,0-1 0 0 0,5-7 1 0 0,-10 13-37 0 0,0-1 0 0 0,-1 0 1 0 0,1 0-1 0 0,-1 0 0 0 0,1 1 0 0 0,-1-1 0 0 0,1 0 1 0 0,-1 0-1 0 0,0 0 0 0 0,1 0 0 0 0,-1 0 1 0 0,0 0-1 0 0,0 0 0 0 0,0 0 0 0 0,1 0 1 0 0,-1 0-1 0 0,0 0 0 0 0,-1 0 0 0 0,1 0 1 0 0,0 0-1 0 0,0 0 0 0 0,-1-2 0 0 0,1 2-4 0 0,-1 1-1 0 0,0-1 1 0 0,1 0 0 0 0,-1 0-1 0 0,0 1 1 0 0,0-1-1 0 0,1 0 1 0 0,-1 1-1 0 0,0-1 1 0 0,0 1 0 0 0,0-1-1 0 0,0 1 1 0 0,0 0-1 0 0,0-1 1 0 0,0 1-1 0 0,0 0 1 0 0,-2-1 0 0 0,-2 1 2 0 0,-1-1 0 0 0,1 1 0 0 0,-1 0 0 0 0,1 0 0 0 0,-1 1 0 0 0,1 0 0 0 0,-7 1-1 0 0,2 1 74 0 0,1 1 0 0 0,0 0 0 0 0,-1 0 0 0 0,2 1 0 0 0,-1 0 0 0 0,0 0 0 0 0,1 1-1 0 0,0 0 1 0 0,0 1 0 0 0,1-1 0 0 0,0 2 0 0 0,-8 9 0 0 0,13-14-3 0 0,-1 0 1 0 0,1 0 0 0 0,0 1-1 0 0,0-1 1 0 0,0 1 0 0 0,0-1 0 0 0,1 1-1 0 0,0 0 1 0 0,-1-1 0 0 0,1 1-1 0 0,1 0 1 0 0,-1 0 0 0 0,0 0-1 0 0,1 0 1 0 0,0 0 0 0 0,0 0-1 0 0,0 0 1 0 0,1 0 0 0 0,-1 0-1 0 0,1 0 1 0 0,0 0 0 0 0,0 0 0 0 0,0 0-1 0 0,1-1 1 0 0,-1 1 0 0 0,1 0-1 0 0,0-1 1 0 0,0 0 0 0 0,0 1-1 0 0,0-1 1 0 0,1 0 0 0 0,-1 0-1 0 0,5 4 1 0 0,2 1-8 0 0,-1-1-1 0 0,1 0 1 0 0,0-1-1 0 0,0 0 0 0 0,1-1 1 0 0,0 1-1 0 0,0-2 1 0 0,0 0-1 0 0,0 0 1 0 0,1 0-1 0 0,13 1 1 0 0,-6-1-19 0 0,1-2-1 0 0,-1 0 1 0 0,1-1 0 0 0,-1 0 0 0 0,37-5 0 0 0,-43 2-39 0 0,0-1-1 0 0,0 0 1 0 0,0-1 0 0 0,0 0 0 0 0,-1-1-1 0 0,0 0 1 0 0,1 0 0 0 0,-2-2 0 0 0,1 1 0 0 0,-1-1-1 0 0,0-1 1 0 0,-1 0 0 0 0,1 0 0 0 0,12-15-1 0 0,-11 9 33 0 0,0-1 0 0 0,-1 0 0 0 0,0 0-1 0 0,-1-1 1 0 0,-1-1 0 0 0,-1 1 0 0 0,0-1-1 0 0,-1 0 1 0 0,5-24 0 0 0,1-10-152 0 0,-12 49 93 0 0,0 2-3 0 0,0 0 21 0 0,0-1 0 0 0,0 1 0 0 0,0 0 1 0 0,0-1-1 0 0,0 1 0 0 0,0 0 0 0 0,0-1 0 0 0,0 1 0 0 0,0 0 0 0 0,0 0 1 0 0,-1-1-1 0 0,1 1 0 0 0,0 0 0 0 0,0-1 0 0 0,0 1 0 0 0,-1 0 0 0 0,1 0 1 0 0,0-1-1 0 0,0 1 0 0 0,0 0 0 0 0,-1 0 0 0 0,1 0 0 0 0,0-1 0 0 0,0 1 1 0 0,-1 0-1 0 0,1 0 0 0 0,0 0 0 0 0,-1 0 0 0 0,1 0 0 0 0,0 0 0 0 0,-1-1 1 0 0,1 1-1 0 0,-1 0 0 0 0,0 1 0 0 0,-1 0-1 0 0,1 0 1 0 0,-1 0 0 0 0,1 1 0 0 0,0-1-1 0 0,-1 0 1 0 0,1 0 0 0 0,0 1 0 0 0,0-1-1 0 0,0 1 1 0 0,0-1 0 0 0,0 1 0 0 0,0 0-1 0 0,0-1 1 0 0,1 1 0 0 0,-1 0 0 0 0,1-1-1 0 0,-1 1 1 0 0,1 0 0 0 0,0 0 0 0 0,-1 0-1 0 0,1 2 1 0 0,1 1-7 0 0,-1 0 0 0 0,1 1-1 0 0,0-1 1 0 0,1 1 0 0 0,0-1-1 0 0,-1 0 1 0 0,2 0 0 0 0,-1 0 0 0 0,0 0-1 0 0,1 0 1 0 0,0-1 0 0 0,4 5-1 0 0,8 11-52 0 0,26 24-1 0 0,-19-21-45 0 0,3 4-121 0 0,-12-14-19 0 0,-1 0 0 0 0,0 1 1 0 0,18 27-1 0 0,-30-40 243 0 0,1 1 0 0 0,0-1 0 0 0,-1 0 0 0 0,0 0 1 0 0,1 0-1 0 0,-1 1 0 0 0,0-1 0 0 0,1 0 0 0 0,-1 1 0 0 0,0-1 0 0 0,0 0 1 0 0,0 1-1 0 0,0-1 0 0 0,-1 0 0 0 0,1 1 0 0 0,0-1 0 0 0,0 0 0 0 0,-1 0 1 0 0,1 1-1 0 0,-1-1 0 0 0,1 0 0 0 0,-1 0 0 0 0,1 0 0 0 0,-1 0 0 0 0,0 1 1 0 0,0-1-1 0 0,1 0 0 0 0,-1 0 0 0 0,0 0 0 0 0,0-1 0 0 0,0 1 1 0 0,-2 1-1 0 0,2-1 7 0 0,0 0 1 0 0,-1 0-1 0 0,1 0 1 0 0,-1 0-1 0 0,1 0 1 0 0,-1-1-1 0 0,1 1 1 0 0,-1-1-1 0 0,1 1 1 0 0,-1-1-1 0 0,1 0 1 0 0,-1 1 0 0 0,0-1-1 0 0,1 0 1 0 0,-1 0-1 0 0,1 0 1 0 0,-1 0-1 0 0,0 0 1 0 0,1-1-1 0 0,-1 1 1 0 0,1 0-1 0 0,-1-1 1 0 0,0 1-1 0 0,1-1 1 0 0,-3-1-1 0 0,2 1-17 0 0,1 0 0 0 0,-1 0 0 0 0,0-1-1 0 0,0 1 1 0 0,0 0 0 0 0,1-1 0 0 0,-1 0-1 0 0,1 0 1 0 0,-1 1 0 0 0,1-1 0 0 0,0 0 0 0 0,0 0-1 0 0,0 0 1 0 0,0 0 0 0 0,-1-3 0 0 0,1 2-76 0 0,1 0 1 0 0,0 0 0 0 0,0 0-1 0 0,0 0 1 0 0,0 0 0 0 0,0 0-1 0 0,0 0 1 0 0,1 0 0 0 0,0 0 0 0 0,-1 0-1 0 0,1 0 1 0 0,2-4 0 0 0,75-151-3107 0 0,-27 60 1879 0 0,-50 96 1244 0 0,3-5 837 0 0,4 114 1125 0 0,-1 4-786 0 0,-7-107-1123 0 0,0 0 0 0 0,0 0 0 0 0,-1 0 0 0 0,0 0 0 0 0,0 0 0 0 0,0 0 0 0 0,0 0 0 0 0,0-1 0 0 0,-1 1 0 0 0,1 0 0 0 0,-1-1 0 0 0,0 1 0 0 0,0-1 1 0 0,-1 0-1 0 0,1 0 0 0 0,-1 0 0 0 0,-4 5 0 0 0,3-5-584 0 0,1-1 1 0 0,-1 1-1 0 0,1-1 0 0 0,-1 0 1 0 0,0 0-1 0 0,0 0 1 0 0,0-1-1 0 0,0 1 0 0 0,0-1 1 0 0,0 0-1 0 0,-6 1 0 0 0,-13 1-2396 0 0</inkml:trace>
</inkml:ink>
</file>

<file path=ppt/ink/ink6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3.2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6 1332 0 0,'7'-5'6161'0'0,"-6"7"-5953"0"0,0 0-1 0 0,0 1 1 0 0,0-1-1 0 0,0 0 1 0 0,0 1-1 0 0,-1-1 0 0 0,1 0 1 0 0,-1 1-1 0 0,0-1 1 0 0,0 1-1 0 0,0 4 1 0 0,-4 37 980 0 0,0-7-471 0 0,3 19 101 0 0,0 42 202 0 0,2-85-814 0 0,0 0-1 0 0,1 0 1 0 0,0-1-1 0 0,1 1 0 0 0,7 16 1 0 0,-10-28-173 0 0,1 1 0 0 0,-1-1 1 0 0,1 1-1 0 0,0-1 0 0 0,-1 0 0 0 0,1 1 1 0 0,0-1-1 0 0,0 0 0 0 0,0 0 1 0 0,0 0-1 0 0,0 0 0 0 0,0 0 0 0 0,0 0 1 0 0,0 0-1 0 0,1 0 0 0 0,-1 0 1 0 0,0 0-1 0 0,1-1 0 0 0,-1 1 1 0 0,0 0-1 0 0,3 0 0 0 0,-2-1-22 0 0,0 0-1 0 0,1 0 1 0 0,-1 0-1 0 0,0 0 1 0 0,0 0-1 0 0,0-1 1 0 0,0 1-1 0 0,0-1 1 0 0,0 1-1 0 0,1-1 1 0 0,-1 0-1 0 0,0 0 1 0 0,2-1 0 0 0,3-2-107 0 0,0-1 1 0 0,0 0 0 0 0,0 0 0 0 0,-1-1-1 0 0,0 0 1 0 0,9-10 0 0 0,2-6-578 0 0,13-25-1 0 0,-29 46 545 0 0,11 19-304 0 0,-5-14 547 0 0,-1 0 1 0 0,1 0-1 0 0,-1-1 1 0 0,1 0-1 0 0,0 0 1 0 0,0-1-1 0 0,1 0 1 0 0,-1 0-1 0 0,0-1 1 0 0,1 0-1 0 0,-1 0 1 0 0,1-1-1 0 0,-1 1 1 0 0,1-2-1 0 0,-1 1 1 0 0,1-1-1 0 0,-1 0 1 0 0,0-1-1 0 0,9-2 1 0 0,-7 2 48 0 0,-1-1 0 0 0,0 0 0 0 0,1-1 0 0 0,-1 0 0 0 0,0 0 0 0 0,-1-1 0 0 0,1 0 0 0 0,-1 0 0 0 0,0 0 0 0 0,0-1 0 0 0,-1 0 1 0 0,1-1-1 0 0,-1 1 0 0 0,-1-1 0 0 0,1-1 0 0 0,4-7 0 0 0,-6 8-180 0 0,-1 1-1 0 0,0-1 1 0 0,-1 0-1 0 0,1 0 1 0 0,-1 0-1 0 0,-1 0 1 0 0,1 0-1 0 0,-1-1 1 0 0,0 1-1 0 0,-1 0 1 0 0,0 0-1 0 0,0-1 1 0 0,0 1 0 0 0,-1 0-1 0 0,0-1 1 0 0,-1 1-1 0 0,1 0 1 0 0,-2 0-1 0 0,1 0 1 0 0,-1 0-1 0 0,0 1 1 0 0,0-1-1 0 0,0 1 1 0 0,-1-1-1 0 0,0 1 1 0 0,-1 0-1 0 0,1 1 1 0 0,-1-1 0 0 0,0 1-1 0 0,0 0 1 0 0,-1 0-1 0 0,0 0 1 0 0,0 1-1 0 0,0 0 1 0 0,-8-4-1 0 0,3 2-833 0 0,-1 1-1 0 0,1 0 0 0 0,-1 1 1 0 0,-23-5-1 0 0,27 8-638 0 0,-1 0 0 0 0,0 0 0 0 0,0 1-1 0 0,-10 0 1 0 0</inkml:trace>
</inkml:ink>
</file>

<file path=ppt/ink/ink6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3.6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44 1228 0 0,'9'2'1392'0'0,"1"0"0"0"0,-1-1-1 0 0,1 0 1 0 0,13-1 0 0 0,-15-1-1033 0 0,1 0 0 0 0,-1-1-1 0 0,1 0 1 0 0,-1 0 0 0 0,0-1 0 0 0,0 0 0 0 0,15-8 0 0 0,-22 11-323 0 0,0-1 0 0 0,0 1 1 0 0,0-1-1 0 0,1 0 0 0 0,-1 1 0 0 0,0-1 1 0 0,0 0-1 0 0,0 0 0 0 0,0 0 0 0 0,0 0 1 0 0,-1 0-1 0 0,2-1 0 0 0,-2 1-30 0 0,0 1 0 0 0,1 0 0 0 0,-1-1-1 0 0,0 1 1 0 0,0 0 0 0 0,0 0 0 0 0,0-1-1 0 0,0 1 1 0 0,0 0 0 0 0,0 0 0 0 0,0-1 0 0 0,0 1-1 0 0,0 0 1 0 0,0 0 0 0 0,-1-1 0 0 0,1 1-1 0 0,0 0 1 0 0,0 0 0 0 0,0-1 0 0 0,0 1-1 0 0,0 0 1 0 0,0 0 0 0 0,-1-1 0 0 0,1 1 0 0 0,0 0-1 0 0,0 0 1 0 0,0 0 0 0 0,-1-1 0 0 0,1 1-1 0 0,0 0 1 0 0,0 0 0 0 0,-1 0 0 0 0,0-1-2 0 0,-1 0 0 0 0,0 0 0 0 0,1 1 0 0 0,-1-1 0 0 0,0 1 0 0 0,0-1 0 0 0,1 1 0 0 0,-1 0 0 0 0,0 0 0 0 0,0 0 0 0 0,1 0 0 0 0,-3 0 0 0 0,-3 2 99 0 0,1 0 0 0 0,-1 0 0 0 0,1 1 0 0 0,0 0 0 0 0,0 0 0 0 0,0 0 0 0 0,0 1-1 0 0,0 0 1 0 0,1 0 0 0 0,0 0 0 0 0,0 1 0 0 0,0 0 0 0 0,-5 5 0 0 0,2 0 179 0 0,0 0 0 0 0,1 1 0 0 0,0-1 0 0 0,1 1 0 0 0,0 0 0 0 0,-4 14 0 0 0,7-19-150 0 0,1 0-1 0 0,1 0 0 0 0,-1 0 0 0 0,1 1 0 0 0,0-1 1 0 0,1 0-1 0 0,-1 1 0 0 0,1-1 0 0 0,1 1 0 0 0,-1-1 1 0 0,1 0-1 0 0,0 1 0 0 0,0-1 0 0 0,1 0 0 0 0,0 0 1 0 0,0 0-1 0 0,0 0 0 0 0,1 0 0 0 0,0 0 0 0 0,0-1 1 0 0,1 1-1 0 0,-1-1 0 0 0,1 0 0 0 0,0 0 0 0 0,0 0 1 0 0,1-1-1 0 0,0 1 0 0 0,5 3 0 0 0,2 1-47 0 0,0-1 0 0 0,0 0-1 0 0,0-1 1 0 0,1-1 0 0 0,0 0-1 0 0,0 0 1 0 0,1-1 0 0 0,0-1-1 0 0,0-1 1 0 0,0 0 0 0 0,23 2-1 0 0,-19-4-476 0 0,0-1 0 0 0,0-1 0 0 0,0-1 0 0 0,0-1 0 0 0,17-5 0 0 0,44-14-8522 0 0,-68 19 6525 0 0</inkml:trace>
</inkml:ink>
</file>

<file path=ppt/ink/ink6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4.7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2 116 580 0 0,'0'3'1570'0'0,"-10"203"6923"0"0,2 69-5179 0 0,33 9-1357 0 0,-15-208-1589 0 0,-9-74-445 0 0,-1-4-271 0 0,1-7 171 0 0,0 1 0 0 0,-1-1 0 0 0,0 0 0 0 0,0 1-1 0 0,-1-1 1 0 0,0 1 0 0 0,-3-12 0 0 0,-1-6-141 0 0,-15-106-726 0 0,-17-160-456 0 0,35 257 1393 0 0,2 0 0 0 0,1 0 0 0 0,2 0 0 0 0,2 0 0 0 0,1 0 1 0 0,13-42-1 0 0,-15 63 74 0 0,1 1-1 0 0,1 0 1 0 0,0 0 0 0 0,1 0 0 0 0,11-16 0 0 0,-15 25 37 0 0,0 0 0 0 0,-1 1-1 0 0,1 0 1 0 0,0-1 0 0 0,1 1 0 0 0,-1 0 0 0 0,0 1 0 0 0,1-1-1 0 0,0 0 1 0 0,0 1 0 0 0,-1 0 0 0 0,1 0 0 0 0,1 0-1 0 0,-1 1 1 0 0,0-1 0 0 0,0 1 0 0 0,1 0 0 0 0,-1 0 0 0 0,0 0-1 0 0,1 1 1 0 0,4-1 0 0 0,-6 2 8 0 0,0-1 0 0 0,-1 1 0 0 0,1-1-1 0 0,0 1 1 0 0,0 0 0 0 0,-1 0 0 0 0,1 0 0 0 0,-1 0 0 0 0,1 1 0 0 0,-1-1-1 0 0,1 1 1 0 0,-1 0 0 0 0,0-1 0 0 0,0 1 0 0 0,1 0 0 0 0,-1 0-1 0 0,-1 0 1 0 0,1 1 0 0 0,0-1 0 0 0,0 0 0 0 0,-1 1 0 0 0,0-1 0 0 0,1 1-1 0 0,-1 0 1 0 0,0-1 0 0 0,0 1 0 0 0,0 0 0 0 0,-1-1 0 0 0,1 4 0 0 0,1 3 23 0 0,0 0 0 0 0,-1 1-1 0 0,-1-1 1 0 0,0 0 0 0 0,0 0 0 0 0,0 0 0 0 0,-4 17 0 0 0,-2-3 34 0 0,0-1 0 0 0,-2 0 1 0 0,0 0-1 0 0,-2-1 0 0 0,0 0 0 0 0,-19 27 0 0 0,19-32-216 0 0,-2-1 0 0 0,1 0 0 0 0,-2-1 0 0 0,0-1 0 0 0,-1 0 0 0 0,0 0 0 0 0,-1-2 0 0 0,-21 15 0 0 0,31-24-623 0 0,0 0-1 0 0,0-1 1 0 0,0 1 0 0 0,0-1-1 0 0,0 0 1 0 0,-8 1-1 0 0</inkml:trace>
</inkml:ink>
</file>

<file path=ppt/ink/ink6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5.6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79 312 0 0,'15'2'549'0'0,"0"1"0"0"0,0 1 0 0 0,0 1 0 0 0,0 0 0 0 0,-1 1 0 0 0,0 0 0 0 0,0 1 1 0 0,0 1-1 0 0,-1 0 0 0 0,0 1 0 0 0,-1 0 0 0 0,0 1 0 0 0,0 1 0 0 0,15 17 0 0 0,-21-21-439 0 0,0 0 0 0 0,-1 0-1 0 0,0 1 1 0 0,0-1 0 0 0,-1 1 0 0 0,0 0 0 0 0,0 1 0 0 0,-1-1 0 0 0,0 0-1 0 0,-1 1 1 0 0,0 0 0 0 0,0 0 0 0 0,0-1 0 0 0,-1 1 0 0 0,-1 0-1 0 0,0 0 1 0 0,0 0 0 0 0,0 0 0 0 0,-1 0 0 0 0,-1 0 0 0 0,1 0 0 0 0,-2 0-1 0 0,1-1 1 0 0,-1 1 0 0 0,0-1 0 0 0,-6 11 0 0 0,6-13-36 0 0,0-1 1 0 0,0 0 0 0 0,0 0-1 0 0,-1 0 1 0 0,0 0 0 0 0,0 0-1 0 0,0-1 1 0 0,-1 0 0 0 0,1 0-1 0 0,-1 0 1 0 0,-9 6 0 0 0,13-10-72 0 0,1 0 0 0 0,-1 0 0 0 0,1 0 0 0 0,-1 0 1 0 0,1 1-1 0 0,-1-1 0 0 0,0 0 0 0 0,1 0 0 0 0,-1 0 0 0 0,1 0 0 0 0,-1 0 1 0 0,1 0-1 0 0,-1 0 0 0 0,0-1 0 0 0,1 1 0 0 0,-1 0 0 0 0,1 0 1 0 0,-1 0-1 0 0,1-1 0 0 0,-1 1 0 0 0,1 0 0 0 0,-1 0 0 0 0,1-1 0 0 0,-1 1 1 0 0,1 0-1 0 0,0-1 0 0 0,-1 1 0 0 0,1-1 0 0 0,-1 1 0 0 0,1 0 1 0 0,0-1-1 0 0,-1 1 0 0 0,1-1 0 0 0,0 1 0 0 0,0-1 0 0 0,-1 1 0 0 0,1-1 1 0 0,0 0-1 0 0,0 1 0 0 0,0-1 0 0 0,0 1 0 0 0,0-1 0 0 0,-1 0 1 0 0,-1-23-42 0 0,3 17 23 0 0,1 1-1 0 0,1-1 0 0 0,-1 0 1 0 0,1 1-1 0 0,0 0 1 0 0,1 0-1 0 0,-1 0 0 0 0,1 0 1 0 0,5-6-1 0 0,3-1-54 0 0,0 0 0 0 0,19-16 0 0 0,-13 15 28 0 0,1 0 1 0 0,1 1-1 0 0,0 1 0 0 0,0 0 1 0 0,31-11-1 0 0,-5 6 6 0 0,73-16 0 0 0,-83 26 21 0 0,-24 5 33 0 0,-8 1 55 0 0,0 1-1 0 0,1-1 1 0 0,-1 0-1 0 0,0 0 1 0 0,1-1-1 0 0,-1 1 0 0 0,0-1 1 0 0,0 0-1 0 0,0 0 1 0 0,4-3-1 0 0,-7 4-79 0 0,1 0-1 0 0,-1 0 1 0 0,0 0-1 0 0,0 0 1 0 0,0 0-1 0 0,0 0 1 0 0,0 0-1 0 0,0 0 1 0 0,-1-1 0 0 0,1 1-1 0 0,0 0 1 0 0,0-1-1 0 0,-1 1 1 0 0,1-1-1 0 0,-1 1 1 0 0,0-1-1 0 0,1 1 1 0 0,-1-1-1 0 0,0 1 1 0 0,0-1-1 0 0,0 1 1 0 0,0-1-1 0 0,0 1 1 0 0,0-1 0 0 0,0 1-1 0 0,0-1 1 0 0,-1 1-1 0 0,1-1 1 0 0,-1 1-1 0 0,1 0 1 0 0,-1-1-1 0 0,1 1 1 0 0,-1-1-1 0 0,0 1 1 0 0,0 0-1 0 0,0 0 1 0 0,0-1-1 0 0,0 1 1 0 0,0 0 0 0 0,0 0-1 0 0,0 0 1 0 0,0 0-1 0 0,0 0 1 0 0,0 0-1 0 0,-1 1 1 0 0,1-1-1 0 0,0 0 1 0 0,-1 0-1 0 0,1 1 1 0 0,-1-1-1 0 0,1 1 1 0 0,-1 0 0 0 0,1-1-1 0 0,-1 1 1 0 0,1 0-1 0 0,-1 0 1 0 0,1 0-1 0 0,-1 0 1 0 0,1 0-1 0 0,-3 0 1 0 0,-5 1-1 0 0,0 1 1 0 0,1 0 0 0 0,-1 0 0 0 0,1 0-1 0 0,-1 1 1 0 0,1 1 0 0 0,0-1-1 0 0,0 1 1 0 0,0 1 0 0 0,-10 7-1 0 0,9-5 57 0 0,-1 1 0 0 0,1-1 0 0 0,1 2 0 0 0,0 0 0 0 0,0 0 0 0 0,0 0 0 0 0,-11 20 0 0 0,15-23-5 0 0,1 1 0 0 0,0 0 0 0 0,0 0 0 0 0,0 1-1 0 0,1-1 1 0 0,0 1 0 0 0,0-1 0 0 0,0 1-1 0 0,1 0 1 0 0,1 0 0 0 0,-1-1 0 0 0,2 11 0 0 0,0-12-19 0 0,0 0 0 0 0,0 0 0 0 0,1 0 0 0 0,0-1 0 0 0,0 1 0 0 0,0 0 0 0 0,1-1 0 0 0,0 1 0 0 0,0-1 0 0 0,0 0 0 0 0,1 0 0 0 0,0 0 1 0 0,0-1-1 0 0,0 1 0 0 0,0-1 0 0 0,1 0 0 0 0,6 5 0 0 0,-4-4-18 0 0,1 0 0 0 0,-1 0-1 0 0,1-1 1 0 0,0 0 0 0 0,1 0 0 0 0,-1-1 0 0 0,1 0 0 0 0,-1 0-1 0 0,1-1 1 0 0,0 0 0 0 0,0-1 0 0 0,0 0 0 0 0,0 0 0 0 0,0-1-1 0 0,0 0 1 0 0,0-1 0 0 0,0 0 0 0 0,0 0 0 0 0,16-5 0 0 0,-13 2-44 0 0,0 0 0 0 0,0-2 0 0 0,0 1 0 0 0,-1-1 0 0 0,0-1 0 0 0,0 0 1 0 0,-1-1-1 0 0,1 0 0 0 0,-2 0 0 0 0,1-1 0 0 0,-1 0 0 0 0,-1-1 0 0 0,11-14 1 0 0,39-78 632 0 0,-33 56-70 0 0,-25 45-374 0 0,2 3-8 0 0,-1 0-87 0 0,1 1 1 0 0,-1 0-1 0 0,0-1 1 0 0,0 1-1 0 0,0 0 1 0 0,-1 0-1 0 0,1 0 1 0 0,-1 0-1 0 0,1 0 0 0 0,-1 4 1 0 0,-1 40 515 0 0,0-15-278 0 0,8 313 1278 0 0,-1-164-1252 0 0,-15-295-2316 0 0,2 48 1474 0 0,2-15 8 0 0,7-128-1 0 0,0 178 469 0 0,2 1 0 0 0,1-1 0 0 0,1 1 0 0 0,2 1 0 0 0,1-1 0 0 0,1 1 1 0 0,20-38-1 0 0,-24 57 30 0 0,0 0 0 0 0,0 1 0 0 0,1-1 0 0 0,1 2 0 0 0,0-1 0 0 0,0 1-1 0 0,0 0 1 0 0,12-7 0 0 0,-16 12 8 0 0,0 1 0 0 0,0-1 0 0 0,0 1 0 0 0,0 1 0 0 0,0-1 0 0 0,0 0 0 0 0,0 1 0 0 0,1 0 0 0 0,-1 0 0 0 0,7-1 0 0 0,-8 2 3 0 0,0 1 0 0 0,0-1 0 0 0,0 0 0 0 0,0 1 0 0 0,0-1-1 0 0,0 1 1 0 0,-1 0 0 0 0,1 0 0 0 0,0 0 0 0 0,0 0 0 0 0,-1 0 0 0 0,1 1 0 0 0,-1-1-1 0 0,1 1 1 0 0,-1 0 0 0 0,0 0 0 0 0,3 3 0 0 0,-1-2 2 0 0,-1 1 0 0 0,-1 0 1 0 0,1 0-1 0 0,-1 0 0 0 0,1 0 0 0 0,-1 0 1 0 0,0 1-1 0 0,-1-1 0 0 0,1 1 0 0 0,-1-1 1 0 0,0 1-1 0 0,0 0 0 0 0,0-1 0 0 0,-1 1 1 0 0,1 0-1 0 0,-1 0 0 0 0,0-1 0 0 0,-1 1 1 0 0,1 0-1 0 0,-1-1 0 0 0,0 1 0 0 0,0 0 1 0 0,0-1-1 0 0,-3 5 0 0 0,-1 5 9 0 0,0-1 0 0 0,-1 0 1 0 0,-1 0-1 0 0,0-1 0 0 0,0 0 0 0 0,-17 20 0 0 0,8-14-129 0 0,0 0 1 0 0,-2-1-1 0 0,-29 23 1 0 0,36-32-671 0 0,-2 0 1 0 0,1-1 0 0 0,-1 0 0 0 0,-16 5 0 0 0,21-9 12 0 0</inkml:trace>
</inkml:ink>
</file>

<file path=ppt/ink/ink6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6.3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9 154 320 0 0,'13'-6'783'0'0,"0"-1"-1"0"0,-1 0 1 0 0,0-1-1 0 0,-1-1 1 0 0,0 0-1 0 0,0 0 1 0 0,-1-1 0 0 0,0 0-1 0 0,0-1 1 0 0,-1 0-1 0 0,10-18 1 0 0,-18 29-756 0 0,-1-1 1 0 0,1 1-1 0 0,-1-1 0 0 0,0 1 1 0 0,1-1-1 0 0,-1 0 0 0 0,0 1 1 0 0,1-1-1 0 0,-1 1 0 0 0,0-1 1 0 0,0 0-1 0 0,0 1 0 0 0,1-1 1 0 0,-1 0-1 0 0,0 1 0 0 0,0-1 1 0 0,0 0-1 0 0,0 1 1 0 0,0-1-1 0 0,0 0 0 0 0,-1 1 1 0 0,1-1-1 0 0,0 0 0 0 0,0 1 1 0 0,0-1-1 0 0,0 1 0 0 0,-1-1 1 0 0,1 0-1 0 0,0 1 0 0 0,-1-1 1 0 0,1 1-1 0 0,-1-1 0 0 0,1 1 1 0 0,0-1-1 0 0,-1 1 0 0 0,1-1 1 0 0,-1 1-1 0 0,1-1 1 0 0,-1 1-1 0 0,1 0 0 0 0,-2-1 1 0 0,0 0 25 0 0,1 1 0 0 0,-1-1 1 0 0,0 1-1 0 0,0-1 1 0 0,1 1-1 0 0,-1 0 0 0 0,0 0 1 0 0,0 0-1 0 0,0 0 1 0 0,1 0-1 0 0,-1 0 0 0 0,-2 1 1 0 0,-6 2 147 0 0,1 0-1 0 0,0 1 1 0 0,0 1 0 0 0,0-1 0 0 0,1 1-1 0 0,0 1 1 0 0,-14 11 0 0 0,2 1 255 0 0,-27 31 1 0 0,38-39-340 0 0,1 1 1 0 0,1-1-1 0 0,0 1 0 0 0,1 0 1 0 0,-1 1-1 0 0,2-1 1 0 0,0 1-1 0 0,-4 16 1 0 0,7-24-80 0 0,1 1 0 0 0,0 0 0 0 0,0 0 0 0 0,0 0 0 0 0,1 0 1 0 0,-1 0-1 0 0,1 0 0 0 0,1 0 0 0 0,-1 0 0 0 0,1 0 0 0 0,-1 0 0 0 0,1-1 1 0 0,1 1-1 0 0,-1 0 0 0 0,1 0 0 0 0,0-1 0 0 0,0 1 0 0 0,0-1 1 0 0,1 1-1 0 0,-1-1 0 0 0,1 0 0 0 0,0 0 0 0 0,0 0 0 0 0,4 4 0 0 0,-5-7-44 0 0,0 0-1 0 0,0 1 1 0 0,-1-1-1 0 0,1 0 1 0 0,0 0-1 0 0,0 0 1 0 0,0 0-1 0 0,0 0 0 0 0,0 0 1 0 0,0-1-1 0 0,0 1 1 0 0,0-1-1 0 0,1 1 1 0 0,-1-1-1 0 0,0 0 1 0 0,0 0-1 0 0,5 0 0 0 0,-3-1-72 0 0,0 0 0 0 0,0 0-1 0 0,0 0 1 0 0,0 0-1 0 0,0-1 1 0 0,0 0-1 0 0,-1 1 1 0 0,8-6-1 0 0,-2 0-112 0 0,1-1 0 0 0,-1 0 0 0 0,0-1 0 0 0,0 0-1 0 0,10-14 1 0 0,1-6-60 0 0,23-27 56 0 0,-42 54 267 0 0,1 3-16 0 0,-1 0 0 0 0,1 1-1 0 0,-1-1 1 0 0,0 0 0 0 0,1 0 0 0 0,-1 1 0 0 0,0-1 0 0 0,0 0-1 0 0,0 1 1 0 0,0-1 0 0 0,0 1 0 0 0,0 0 0 0 0,0-1 0 0 0,0 3-1 0 0,9 31 479 0 0,-3-9-199 0 0,-3-15-202 0 0,43 95 676 0 0,-42-96-740 0 0,0 0-1 0 0,1-1 0 0 0,1 1 1 0 0,-1-2-1 0 0,1 1 1 0 0,1-1-1 0 0,0 0 1 0 0,10 9-1 0 0,-15-16-67 0 0,-1 0 0 0 0,0 0 1 0 0,0 0-1 0 0,0 0 0 0 0,1 0 0 0 0,-1 0 0 0 0,1 0 0 0 0,-1-1 0 0 0,0 0 0 0 0,1 1 0 0 0,-1-1 0 0 0,1 0 1 0 0,-1 0-1 0 0,1 0 0 0 0,-1 0 0 0 0,1-1 0 0 0,-1 1 0 0 0,1 0 0 0 0,-1-1 0 0 0,0 0 0 0 0,1 0 0 0 0,-1 0 1 0 0,0 0-1 0 0,0 0 0 0 0,1 0 0 0 0,-1 0 0 0 0,0-1 0 0 0,0 1 0 0 0,0-1 0 0 0,-1 0 0 0 0,4-2 0 0 0,4-6-192 0 0,0 0-1 0 0,0 0 0 0 0,-1-1 1 0 0,9-15-1 0 0,61-120-757 0 0,-26 44 383 0 0,-52 101 562 0 0,0 1 0 0 0,0-1 0 0 0,1 1 0 0 0,-1-1 0 0 0,0 1 0 0 0,0 0 0 0 0,1-1 0 0 0,-1 1 0 0 0,0-1 0 0 0,1 1-1 0 0,-1 0 1 0 0,0-1 0 0 0,1 1 0 0 0,-1 0 0 0 0,1 0 0 0 0,-1-1 0 0 0,1 1 0 0 0,-1 0 0 0 0,1 0 0 0 0,-1-1 0 0 0,0 1 0 0 0,1 0 0 0 0,-1 0 0 0 0,1 0 0 0 0,-1 0 0 0 0,1 0 0 0 0,0 0 0 0 0,0 0 0 0 0,12 9 40 0 0,8 27 248 0 0,-18-29-222 0 0,6 9 100 0 0,1 1 0 0 0,1-1 0 0 0,0-1-1 0 0,1 0 1 0 0,0-1 0 0 0,2 0 0 0 0,-1-1 0 0 0,18 13 0 0 0,-23-21-136 0 0,-1 0-1 0 0,1 0 1 0 0,-1-1 0 0 0,1-1 0 0 0,0 1 0 0 0,1-1 0 0 0,-1 0 0 0 0,1-1-1 0 0,-1 0 1 0 0,1 0 0 0 0,0-1 0 0 0,-1 0 0 0 0,1-1 0 0 0,0 0 0 0 0,0 0-1 0 0,0-1 1 0 0,-1 0 0 0 0,1 0 0 0 0,14-5 0 0 0,-12 2-135 0 0,1-1 0 0 0,-1-1-1 0 0,-1 0 1 0 0,1 0 0 0 0,-1-1 0 0 0,0 0 0 0 0,0-1 0 0 0,-1 0 0 0 0,0-1-1 0 0,-1 0 1 0 0,0 0 0 0 0,0-1 0 0 0,-1 0 0 0 0,0 0 0 0 0,0-1 0 0 0,-2 0-1 0 0,1 0 1 0 0,-1 0 0 0 0,5-19 0 0 0,-9 27 98 0 0,0 0 1 0 0,0 1-1 0 0,-1-1 0 0 0,1 0 1 0 0,-1 0-1 0 0,0 0 0 0 0,0 0 1 0 0,0 0-1 0 0,0 0 0 0 0,0 0 1 0 0,0 0-1 0 0,-1 0 0 0 0,0 0 1 0 0,1 0-1 0 0,-1 1 0 0 0,-2-6 1 0 0,1 7 23 0 0,1-1 0 0 0,-1 1 1 0 0,1 0-1 0 0,0-1 1 0 0,-1 1-1 0 0,0 0 0 0 0,1 0 1 0 0,-1 0-1 0 0,0 0 1 0 0,1 1-1 0 0,-1-1 0 0 0,0 0 1 0 0,0 1-1 0 0,0-1 1 0 0,0 1-1 0 0,0 0 0 0 0,0 0 1 0 0,1 0-1 0 0,-1-1 1 0 0,0 2-1 0 0,0-1 0 0 0,0 0 1 0 0,0 0-1 0 0,0 1 1 0 0,-3 0-1 0 0,1 0 7 0 0,1 0 1 0 0,-1 0-1 0 0,1 0 1 0 0,-1 0-1 0 0,1 1 1 0 0,-1-1-1 0 0,1 1 1 0 0,0 0-1 0 0,0 0 1 0 0,0 0-1 0 0,0 0 1 0 0,0 1-1 0 0,1-1 1 0 0,-1 1-1 0 0,1 0 1 0 0,-1-1-1 0 0,1 1 1 0 0,0 0-1 0 0,0 1 1 0 0,0-1-1 0 0,1 0 1 0 0,-1 0-1 0 0,1 1 1 0 0,0-1-1 0 0,0 1 1 0 0,0-1-1 0 0,0 1 1 0 0,0 0-1 0 0,1-1 1 0 0,0 1-1 0 0,0 0 0 0 0,0 5 1 0 0,0-1-95 0 0,1-1 1 0 0,0 1 0 0 0,0-1-1 0 0,1 1 1 0 0,-1-1-1 0 0,2 0 1 0 0,-1 0-1 0 0,1 0 1 0 0,0 0-1 0 0,0 0 1 0 0,1-1-1 0 0,0 1 1 0 0,0-1-1 0 0,9 10 1 0 0,-2-6-1037 0 0,-1-1 0 0 0,15 11 0 0 0,-20-17 251 0 0,0 0 0 0 0,-1-1 0 0 0,1 0 0 0 0,0 0 0 0 0,8 3 0 0 0,4-1-2347 0 0</inkml:trace>
</inkml:ink>
</file>

<file path=ppt/ink/ink6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6.7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308 0 0,'3'1'5059'0'0,"-2"0"-4854"0"0,1 0-1 0 0,-1 0 1 0 0,1 0 0 0 0,-1 0-1 0 0,0 1 1 0 0,1-1 0 0 0,-1 0-1 0 0,0 1 1 0 0,0-1-1 0 0,0 1 1 0 0,0 0 0 0 0,0-1-1 0 0,0 1 1 0 0,-1 0-1 0 0,1-1 1 0 0,0 1 0 0 0,-1 0-1 0 0,1 3 1 0 0,6 42 1518 0 0,-5-29-1183 0 0,55 251 2884 0 0,-4-18-5824 0 0,-46-214 648 0 0,2 9-3659 0 0,-9-32 1436 0 0</inkml:trace>
</inkml:ink>
</file>

<file path=ppt/ink/ink6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7.3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4 237 452 0 0,'-5'-4'951'0'0,"0"1"-109"0"0,0-1-1 0 0,1 0 0 0 0,-1 1 0 0 0,1-2 1 0 0,-1 1-1 0 0,1 0 0 0 0,1-1 0 0 0,-1 0 0 0 0,-5-9 1 0 0,9 12-775 0 0,0 1 1 0 0,-1-1 0 0 0,1 0 0 0 0,0 0 0 0 0,0 0 0 0 0,1 1 0 0 0,-1-1 0 0 0,0 0-1 0 0,1 0 1 0 0,-1 0 0 0 0,1 1 0 0 0,-1-1 0 0 0,1 0 0 0 0,0 0 0 0 0,0 1 0 0 0,0-1-1 0 0,0 1 1 0 0,0-1 0 0 0,0 1 0 0 0,0-1 0 0 0,0 1 0 0 0,1 0 0 0 0,-1 0 0 0 0,3-3-1 0 0,11-6 43 0 0,1 1 0 0 0,0 0-1 0 0,0 1 1 0 0,27-10-1 0 0,73-18 107 0 0,-79 26-117 0 0,-6 1 40 0 0,53-14 109 0 0,-74 21-165 0 0,0 0 1 0 0,-1 1-1 0 0,1 0 1 0 0,0 1-1 0 0,0 0 1 0 0,14 2 0 0 0,-20-1-8 0 0,0 0 0 0 0,0 1 1 0 0,0-1-1 0 0,0 1 0 0 0,0 0 1 0 0,0 0-1 0 0,0 0 0 0 0,-1 1 1 0 0,1-1-1 0 0,-1 1 0 0 0,0 0 1 0 0,1 0-1 0 0,-1 0 0 0 0,-1 0 1 0 0,1 0-1 0 0,0 1 0 0 0,-1 0 1 0 0,0-1-1 0 0,0 1 0 0 0,2 5 1 0 0,3 8 258 0 0,0 1 1 0 0,-1-1-1 0 0,4 26 1 0 0,-6-27-103 0 0,5 31 637 0 0,4 87 0 0 0,-8-76-324 0 0,-4-34 997 0 0,-1-21-1040 0 0,-4 3 521 0 0,4-22-1111 0 0,0-1-1 0 0,1 1 1 0 0,1 0-1 0 0,1 0 0 0 0,0 0 1 0 0,1 0-1 0 0,1 0 1 0 0,0 1-1 0 0,1 0 1 0 0,14-25-1 0 0,-19 38 70 0 0,0 0 0 0 0,0 0 1 0 0,0 1-1 0 0,0-1 0 0 0,0 0 0 0 0,1 0 0 0 0,-1 1 1 0 0,1-1-1 0 0,0 0 0 0 0,-1 1 0 0 0,1 0 0 0 0,0-1 1 0 0,0 1-1 0 0,0 0 0 0 0,-1 0 0 0 0,1 0 1 0 0,1 0-1 0 0,-1 0 0 0 0,0 1 0 0 0,0-1 0 0 0,0 0 1 0 0,0 1-1 0 0,0 0 0 0 0,1-1 0 0 0,-1 1 0 0 0,0 0 1 0 0,0 0-1 0 0,1 1 0 0 0,-1-1 0 0 0,0 0 0 0 0,0 1 1 0 0,0-1-1 0 0,0 1 0 0 0,1 0 0 0 0,2 1 1 0 0,7 4 5 0 0,-1 0 1 0 0,0 1-1 0 0,0 1 1 0 0,-1-1-1 0 0,10 11 1 0 0,-3-5-26 0 0,19 18 17 0 0,-13-12 42 0 0,27 19 1 0 0,-43-34-1 0 0,0 1 0 0 0,1-1 0 0 0,0 0 0 0 0,0-1 0 0 0,0 0 0 0 0,0 0 1 0 0,1-1-1 0 0,10 2 0 0 0,-13-3-89 0 0,0-1 0 0 0,0-1 0 0 0,-1 1 0 0 0,1-1 0 0 0,0 0 0 0 0,0 0 0 0 0,-1-1 0 0 0,1 0 0 0 0,-1 0 0 0 0,1 0 0 0 0,-1 0 0 0 0,0-1 0 0 0,0 0 0 0 0,0 0 0 0 0,0-1 0 0 0,-1 1 0 0 0,1-1 0 0 0,-1 0 0 0 0,8-9 0 0 0,-2 1-157 0 0,0 0 1 0 0,-1-1 0 0 0,0 0-1 0 0,-1-1 1 0 0,13-28 0 0 0,-16 31 132 0 0,13-38-232 0 0,-18 47 304 0 0,1 0 0 0 0,-1 0 1 0 0,1 0-1 0 0,-1 0 0 0 0,0 0 0 0 0,0 0 1 0 0,0-1-1 0 0,0 1 0 0 0,0 0 1 0 0,0 0-1 0 0,0 0 0 0 0,-1 0 1 0 0,1 0-1 0 0,-1 0 0 0 0,0-1 0 0 0,0 1 1 0 0,1 1-1 0 0,-1-1 0 0 0,-2-2 1 0 0,2 3 8 0 0,0 0 1 0 0,0 0 0 0 0,0 0-1 0 0,0 1 1 0 0,-1-1-1 0 0,1 0 1 0 0,0 1 0 0 0,-1-1-1 0 0,1 1 1 0 0,0-1 0 0 0,-1 1-1 0 0,1 0 1 0 0,-1 0 0 0 0,1-1-1 0 0,0 1 1 0 0,-1 0 0 0 0,1 0-1 0 0,-1 0 1 0 0,1 1 0 0 0,-1-1-1 0 0,-1 1 1 0 0,0-1-4 0 0,-1 1 0 0 0,1 0 0 0 0,0 0 0 0 0,0 0 0 0 0,-1 0 1 0 0,1 1-1 0 0,-5 3 0 0 0,4-3 14 0 0,1 1 0 0 0,0 0 0 0 0,0 0 0 0 0,0 0 0 0 0,1 0 0 0 0,-1 1 0 0 0,1-1 0 0 0,-1 1 0 0 0,1-1 0 0 0,0 1 0 0 0,1 0 1 0 0,-1 0-1 0 0,0 0 0 0 0,1 0 0 0 0,0 0 0 0 0,0 0 0 0 0,0 0 0 0 0,1 0 0 0 0,0 0 0 0 0,-1 0 0 0 0,1 1 0 0 0,1-1 0 0 0,-1 0 0 0 0,0 0 0 0 0,1 0 0 0 0,0 0 0 0 0,0 0 0 0 0,0 0 0 0 0,3 6 1 0 0,1 1-169 0 0,0-1 1 0 0,0 1 0 0 0,1-1 0 0 0,0 0 0 0 0,1 0 0 0 0,0-1 0 0 0,0 0 0 0 0,1 0 0 0 0,12 10 0 0 0,-8-9-759 0 0,0-1 0 0 0,19 11 1 0 0,11-2-4362 0 0,-21-12 760 0 0</inkml:trace>
</inkml:ink>
</file>

<file path=ppt/ink/ink6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8.1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0 69 548 0 0,'-7'-18'2472'0'0,"6"15"-2281"0"0,0 0-1 0 0,1 1 0 0 0,-1-1 0 0 0,0 1 0 0 0,0-1 0 0 0,0 1 0 0 0,-1-1 0 0 0,1 1 0 0 0,-1 0 1 0 0,1-1-1 0 0,-1 1 0 0 0,0 0 0 0 0,0 0 0 0 0,0 0 0 0 0,0 0 0 0 0,0 1 0 0 0,0-1 0 0 0,0 1 0 0 0,-1-1 1 0 0,-4-1-1 0 0,4 2-87 0 0,0 0 0 0 0,1 1 1 0 0,-1-1-1 0 0,0 1 0 0 0,0 0 0 0 0,0 0 1 0 0,0 0-1 0 0,0 0 0 0 0,1 0 1 0 0,-1 1-1 0 0,0 0 0 0 0,0-1 1 0 0,0 1-1 0 0,1 0 0 0 0,-1 0 1 0 0,0 0-1 0 0,1 1 0 0 0,-1-1 1 0 0,1 1-1 0 0,0-1 0 0 0,-3 3 0 0 0,1-1 1 0 0,1 1 0 0 0,0 0-1 0 0,0 0 1 0 0,0 0-1 0 0,0 0 1 0 0,0 0-1 0 0,1 0 1 0 0,0 1-1 0 0,0-1 1 0 0,0 1 0 0 0,1 0-1 0 0,-2 6 1 0 0,0 2 14 0 0,2 0 1 0 0,0 1 0 0 0,0-1 0 0 0,1 0-1 0 0,1 0 1 0 0,0 0 0 0 0,1 1-1 0 0,0-1 1 0 0,1-1 0 0 0,6 18 0 0 0,7 14 170 0 0,35 65 0 0 0,-35-78-200 0 0,48 114 541 0 0,-64-144-608 0 0,0 0 0 0 0,1 0 0 0 0,-1 0 0 0 0,0 1 0 0 0,0-1 0 0 0,0 0 0 0 0,0 0 0 0 0,0 1 0 0 0,0-1 0 0 0,0 0 0 0 0,0 0-1 0 0,0 0 1 0 0,0 1 0 0 0,-1-1 0 0 0,1 0 0 0 0,-1 0 0 0 0,1 0 0 0 0,-1 0 0 0 0,1 0 0 0 0,-1 0 0 0 0,1 0 0 0 0,-1 0 0 0 0,0 0 0 0 0,0 0 0 0 0,1 0 0 0 0,-1 0 0 0 0,0 0-1 0 0,0 0 1 0 0,0-1 0 0 0,0 1 0 0 0,0 0 0 0 0,0-1 0 0 0,0 1 0 0 0,0-1 0 0 0,-1 1 0 0 0,1-1 0 0 0,0 1 0 0 0,0-1 0 0 0,-2 0 0 0 0,-4 2 14 0 0,1 0 1 0 0,-1-1-1 0 0,0 0 1 0 0,-9 0 0 0 0,16-1-37 0 0,-11 1-13 0 0,0-1 0 0 0,0-1 0 0 0,0 0 1 0 0,0-1-1 0 0,1 0 0 0 0,-1 0 0 0 0,0-1 0 0 0,1-1 0 0 0,0 0 0 0 0,0 0 1 0 0,0-1-1 0 0,-12-7 0 0 0,18 9-132 0 0,-1-1 1 0 0,0 1-1 0 0,1-1 1 0 0,0 0-1 0 0,0 0 1 0 0,0 0-1 0 0,0-1 1 0 0,1 0-1 0 0,0 1 1 0 0,0-1-1 0 0,0 0 1 0 0,0 0-1 0 0,1-1 1 0 0,0 1-1 0 0,0 0 1 0 0,0-1-1 0 0,1 0 1 0 0,-1 1-1 0 0,2-1 1 0 0,-1 0-1 0 0,0 1 1 0 0,1-1-1 0 0,0 0 1 0 0,1-6-1 0 0,21-82-571 0 0,-25 96 830 0 0,0-1 0 0 0,1 1 0 0 0,-1 0 0 0 0,0 0 1 0 0,0 0-1 0 0,1 0 0 0 0,0 1 0 0 0,-1-1 1 0 0,1 1-1 0 0,0 0 0 0 0,-3 4 0 0 0,0 0 182 0 0,-132 137 1168 0 0,106-112-1991 0 0,14-12-895 0 0</inkml:trace>
</inkml:ink>
</file>

<file path=ppt/ink/ink6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8.5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65 1132 0 0,'15'-8'1789'0'0,"-1"-1"-1"0"0,0 0 1 0 0,0-1-1 0 0,19-19 834 0 0,-51 47-1469 0 0,10-9-984 0 0,0 0 0 0 0,1 1 0 0 0,0 0 0 0 0,1 0 0 0 0,0 0-1 0 0,0 1 1 0 0,1 0 0 0 0,1 0 0 0 0,0 1 0 0 0,-4 18 0 0 0,6-24-132 0 0,1 1 1 0 0,0-1-1 0 0,0 0 0 0 0,0 1 1 0 0,1-1-1 0 0,0 1 0 0 0,0-1 1 0 0,1 1-1 0 0,0-1 0 0 0,0 1 1 0 0,0-1-1 0 0,1 0 0 0 0,0 0 1 0 0,0 0-1 0 0,1 0 1 0 0,0 0-1 0 0,0 0 0 0 0,0-1 1 0 0,1 1-1 0 0,-1-1 0 0 0,6 6 1 0 0,-6-8-48 0 0,-1-1 0 0 0,1 0 0 0 0,-1 0 0 0 0,1 0 1 0 0,0 0-1 0 0,0 0 0 0 0,0 0 0 0 0,0-1 0 0 0,0 1 0 0 0,0-1 1 0 0,1 0-1 0 0,-1 0 0 0 0,0 0 0 0 0,1-1 0 0 0,-1 1 0 0 0,0-1 1 0 0,1 0-1 0 0,-1 0 0 0 0,1 0 0 0 0,-1 0 0 0 0,0 0 0 0 0,1-1 1 0 0,-1 1-1 0 0,1-1 0 0 0,-1 0 0 0 0,0 0 0 0 0,4-2 0 0 0,0-1-108 0 0,-1 1 0 0 0,0-1 1 0 0,1-1-1 0 0,-2 1 0 0 0,1-1 0 0 0,0 0 0 0 0,-1 0 0 0 0,0-1 0 0 0,0 1 0 0 0,0-1 0 0 0,5-10 0 0 0,5-12 692 0 0,-1 0 0 0 0,14-42 0 0 0,-27 67-181 0 0,0 3-382 0 0,0 0 1 0 0,0 1-1 0 0,-1-1 0 0 0,1 1 0 0 0,0-1 0 0 0,0 1 0 0 0,-1-1 0 0 0,1 1 0 0 0,-1-1 0 0 0,1 1 0 0 0,0-1 0 0 0,-1 1 0 0 0,1 0 0 0 0,-1-1 0 0 0,1 1 0 0 0,-1 0 0 0 0,1 0 1 0 0,-1-1-1 0 0,0 1 0 0 0,1 1 0 0 0,9 23 145 0 0,-5-11-79 0 0,8 12-72 0 0,-2-4-1556 0 0,0-1 1 0 0,1 0 0 0 0,18 23 0 0 0,-29-43 1210 0 0,0 0 1 0 0,-1-1-1 0 0,1 1 1 0 0,0 0-1 0 0,0 0 1 0 0,-1 0-1 0 0,1-1 0 0 0,0 1 1 0 0,0 0-1 0 0,0-1 1 0 0,0 1-1 0 0,0-1 1 0 0,1 1-1 0 0</inkml:trace>
</inkml:ink>
</file>

<file path=ppt/ink/ink6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8.9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2 720 0 0,'4'-6'1024'0'0,"-2"1"-28"0"0,1 0 0 0 0,0 0-1 0 0,0 0 1 0 0,0 0 0 0 0,1 1-1 0 0,0-1 1 0 0,7-6 0 0 0,-10 10-384 0 0,14 8 641 0 0,-13-4-1071 0 0,1 0-1 0 0,0 0 1 0 0,-1 0 0 0 0,0 1-1 0 0,1-1 1 0 0,-1 0 0 0 0,0 1-1 0 0,-1-1 1 0 0,1 1-1 0 0,-1 0 1 0 0,0 0 0 0 0,2 5-1 0 0,2 5 264 0 0,7 24 543 0 0,-2 0 0 0 0,9 65 0 0 0,-9-47-448 0 0,-4-74 522 0 0,37-102-2356 0 0,-40 111 1210 0 0,1 1 0 0 0,1 0 0 0 0,0 0 0 0 0,0 0 0 0 0,0 1-1 0 0,1-1 1 0 0,0 1 0 0 0,9-7 0 0 0,-14 13 75 0 0,0 0 0 0 0,1 0 0 0 0,0 0 0 0 0,-1 1 0 0 0,1-1 0 0 0,-1 0-1 0 0,1 1 1 0 0,0-1 0 0 0,-1 1 0 0 0,1-1 0 0 0,0 1 0 0 0,0 0 0 0 0,0-1 0 0 0,-1 1 0 0 0,1 0-1 0 0,0 0 1 0 0,0 1 0 0 0,-1-1 0 0 0,1 0 0 0 0,0 1 0 0 0,0-1 0 0 0,-1 1 0 0 0,1-1 0 0 0,0 1-1 0 0,-1 0 1 0 0,1-1 0 0 0,0 1 0 0 0,-1 0 0 0 0,1 0 0 0 0,-1 0 0 0 0,0 1 0 0 0,1-1 0 0 0,-1 0-1 0 0,0 0 1 0 0,0 1 0 0 0,0-1 0 0 0,2 3 0 0 0,4 6 28 0 0,-1 0 0 0 0,0 0-1 0 0,-1 0 1 0 0,7 17 0 0 0,-11-23-1 0 0,14 29 2217 0 0,-12-33-2104 0 0,1-1-105 0 0,-2 1-11 0 0,0-1-1 0 0,0 0 0 0 0,0 1 1 0 0,0-1-1 0 0,0 0 1 0 0,0 0-1 0 0,0 0 0 0 0,-1 0 1 0 0,1 0-1 0 0,0-1 0 0 0,-1 1 1 0 0,1-1-1 0 0,-1 1 0 0 0,3-4 1 0 0,-3 5-23 0 0,0-1 0 0 0,-1 0 0 0 0,1 1 0 0 0,0-1 0 0 0,0 1 0 0 0,-1-1 0 0 0,1 1 0 0 0,0-1 0 0 0,0 1 0 0 0,0-1-1 0 0,0 1 1 0 0,0 0 0 0 0,0-1 0 0 0,0 1 0 0 0,0 0 0 0 0,0 0 0 0 0,0 0 0 0 0,0 0 0 0 0,0 0 0 0 0,-1 0 0 0 0,1 0 0 0 0,0 0 0 0 0,0 0 0 0 0,0 0 0 0 0,0 1 0 0 0,1-1 0 0 0,0 2 9 0 0,0-1 0 0 0,0 0 0 0 0,0 0 0 0 0,-1 1 1 0 0,1-1-1 0 0,0 1 0 0 0,-1-1 0 0 0,1 1 0 0 0,-1 0 0 0 0,0 0 0 0 0,2 2 0 0 0,2 6-306 0 0,0-1-1 0 0,-1 1 1 0 0,6 20-1 0 0,-7-19-1003 0 0,0 0 0 0 0,-1 0-1 0 0,0 1 1 0 0,0 14 0 0 0,0-14-938 0 0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1.7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140 0 0,'0'0'6513'0'0,"0"18"-3380"0"0,25 119 486 0 0,0-14-3078 0 0,-23-103-1381 0 0,0-1 0 0 0,-2 0 0 0 0,0 0 0 0 0,-3 28 0 0 0,-2-23-3367 0 0,4-13 1072 0 0</inkml:trace>
</inkml:ink>
</file>

<file path=ppt/ink/ink6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5:59.3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0 84 1796 0 0,'18'-4'7006'0'0,"0"5"-4276"0"0,-14 0-2622 0 0,-1-1-1 0 0,0 1 0 0 0,1-1 0 0 0,-1 0 0 0 0,0 0 1 0 0,1 0-1 0 0,-1-1 0 0 0,0 1 0 0 0,0-1 0 0 0,1 0 0 0 0,-1 0 1 0 0,6-2-1 0 0,-7 2-82 0 0,0 0 0 0 0,0 0 1 0 0,0 0-1 0 0,0 0 0 0 0,0 0 1 0 0,0 0-1 0 0,0-1 0 0 0,0 1 1 0 0,0-1-1 0 0,0 0 0 0 0,-1 1 1 0 0,1-1-1 0 0,-1 0 0 0 0,1 0 1 0 0,-1 0-1 0 0,0 0 0 0 0,0 0 0 0 0,1 0 1 0 0,-2 0-1 0 0,1-1 0 0 0,0 1 1 0 0,0 0-1 0 0,-1-1 0 0 0,1 1 1 0 0,-1 0-1 0 0,1-5 0 0 0,-2 5-5 0 0,0 1-1 0 0,0-1 1 0 0,0 1 0 0 0,0 0-1 0 0,0-1 1 0 0,-1 1 0 0 0,1 0-1 0 0,0 0 1 0 0,-1 0-1 0 0,1 0 1 0 0,0 0 0 0 0,-1 0-1 0 0,1 0 1 0 0,-1 0 0 0 0,0 1-1 0 0,1-1 1 0 0,-1 0-1 0 0,0 1 1 0 0,1 0 0 0 0,-1-1-1 0 0,-1 1 1 0 0,2 0-18 0 0,-2-1 48 0 0,0 0 0 0 0,-1 1 0 0 0,1 0 0 0 0,-1-1-1 0 0,1 1 1 0 0,0 0 0 0 0,-1 1 0 0 0,1-1 0 0 0,0 1-1 0 0,-1-1 1 0 0,1 1 0 0 0,-4 1 0 0 0,1 0 90 0 0,-1 0 9 0 0,0 0 0 0 0,0 1-1 0 0,0 0 1 0 0,1 0-1 0 0,-1 0 1 0 0,1 1 0 0 0,0-1-1 0 0,0 2 1 0 0,0-1-1 0 0,1 1 1 0 0,-1-1 0 0 0,1 2-1 0 0,0-1 1 0 0,1 0-1 0 0,-1 1 1 0 0,-4 7 0 0 0,7-9-92 0 0,0 1 1 0 0,1-1-1 0 0,-1 0 1 0 0,1 1-1 0 0,-1-1 1 0 0,1 1-1 0 0,1-1 1 0 0,-1 1 0 0 0,1-1-1 0 0,-1 1 1 0 0,1 0-1 0 0,0-1 1 0 0,1 1-1 0 0,-1-1 1 0 0,1 1 0 0 0,0-1-1 0 0,0 1 1 0 0,1-1-1 0 0,-1 1 1 0 0,1-1-1 0 0,0 0 1 0 0,0 0-1 0 0,0 0 1 0 0,1 0 0 0 0,0 0-1 0 0,3 4 1 0 0,3 2-241 0 0,0 0 1 0 0,0 0-1 0 0,1-1 1 0 0,22 16 0 0 0,-25-20-563 0 0,1-1 0 0 0,0 1 0 0 0,-1-1 1 0 0,1-1-1 0 0,1 1 0 0 0,-1-1 0 0 0,0-1 1 0 0,13 3-1 0 0,13-5-8148 0 0</inkml:trace>
</inkml:ink>
</file>

<file path=ppt/ink/ink6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0.2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3 1272 0 0,'0'-1'470'0'0,"0"-1"-1"0"0,0 1 1 0 0,0-1-1 0 0,0 1 1 0 0,0-1-1 0 0,1 1 1 0 0,-1-1-1 0 0,0 1 1 0 0,1-1 0 0 0,-1 1-1 0 0,2-3 1 0 0,-1 4-372 0 0,-1 0 0 0 0,0-1 0 0 0,0 1 1 0 0,1 0-1 0 0,-1 0 0 0 0,0 0 0 0 0,0-1 0 0 0,1 1 1 0 0,-1 0-1 0 0,0 0 0 0 0,1 0 0 0 0,-1 0 1 0 0,0-1-1 0 0,1 1 0 0 0,-1 0 0 0 0,0 0 1 0 0,1 0-1 0 0,-1 0 0 0 0,0 0 0 0 0,1 0 1 0 0,-1 0-1 0 0,1 0 0 0 0,-1 0 0 0 0,0 0 1 0 0,1 0-1 0 0,-1 0 0 0 0,0 1 0 0 0,1-1 0 0 0,-1 0 1 0 0,1 0-1 0 0,2 2 115 0 0,0 0 0 0 0,0 0 0 0 0,0 0 0 0 0,-1 1 0 0 0,1-1 0 0 0,-1 1 0 0 0,1 0-1 0 0,3 4 1 0 0,21 35 1135 0 0,-1 0-1 0 0,-2 2 0 0 0,27 67 0 0 0,-36-75-806 0 0,-9-23-295 0 0,14 26 3899 0 0,-19-39-4108 0 0,0 0 1 0 0,0-1-1 0 0,0 1 0 0 0,0-1 0 0 0,0 1 0 0 0,0-1 0 0 0,0 0 0 0 0,0 1 0 0 0,0-1 1 0 0,0 0-1 0 0,-1 1 0 0 0,1-1 0 0 0,0 0 0 0 0,0 0 0 0 0,-1 0 0 0 0,1 0 0 0 0,0-1 0 0 0,10-22-94 0 0,1 1-1 0 0,1 0 0 0 0,0 1 0 0 0,33-39 0 0 0,-45 60 41 0 0,0 0 0 0 0,0 0 0 0 0,0 0 0 0 0,0 0 0 0 0,0 0-1 0 0,0 0 1 0 0,1 0 0 0 0,-1 0 0 0 0,0 1 0 0 0,1-1 0 0 0,-1 0 0 0 0,0 1 0 0 0,1-1 0 0 0,-1 1 0 0 0,1-1-1 0 0,-1 1 1 0 0,1 0 0 0 0,-1 0 0 0 0,1 0 0 0 0,2 0 0 0 0,-2 0 5 0 0,1 1-1 0 0,-1-1 1 0 0,1 1 0 0 0,-1 0-1 0 0,0 0 1 0 0,1 0 0 0 0,-1 0-1 0 0,0 1 1 0 0,0-1 0 0 0,0 1-1 0 0,3 2 1 0 0,3 4-13 0 0,0 0 0 0 0,-1 1 0 0 0,0 0 0 0 0,7 12 0 0 0,-13-20 20 0 0,13 23-225 0 0,-9-16-118 0 0,-1 1 1 0 0,1-1 0 0 0,1 0 0 0 0,0-1-1 0 0,0 1 1 0 0,0-1 0 0 0,1-1 0 0 0,0 1 0 0 0,9 6-1 0 0,-12-11 168 0 0,-1 0-1 0 0,1-1 0 0 0,0 0 0 0 0,-1 0 0 0 0,1 0 0 0 0,0 0 1 0 0,-1-1-1 0 0,1 0 0 0 0,0 1 0 0 0,0-1 0 0 0,-1-1 0 0 0,1 1 1 0 0,0 0-1 0 0,0-1 0 0 0,-1 0 0 0 0,1 0 0 0 0,0 0 1 0 0,-1 0-1 0 0,1-1 0 0 0,-1 1 0 0 0,1-1 0 0 0,-1 0 0 0 0,0 0 1 0 0,3-2-1 0 0,8-7-392 0 0,-1 0 0 0 0,0 0 0 0 0,20-25 0 0 0,-25 27 384 0 0,10-13 52 0 0,27-43 0 0 0,-27 37 641 0 0,-18 27-488 0 0,1 1-1 0 0,-1 0 1 0 0,0 0-1 0 0,1 0 1 0 0,-1-1-1 0 0,0 1 1 0 0,0 0 0 0 0,0-1-1 0 0,1 1 1 0 0,-1 0-1 0 0,0 0 1 0 0,0-1-1 0 0,0 1 1 0 0,0 0-1 0 0,0-1 1 0 0,1 1 0 0 0,-1 0-1 0 0,0-1 1 0 0,0 1-1 0 0,0-1 1 0 0,0 1-1 0 0,0 0 1 0 0,0-1 0 0 0,0 1-1 0 0,0 0 1 0 0,0-1-1 0 0,0 1 1 0 0,-1 0-1 0 0,1-1 1 0 0,0 1-1 0 0,0 0 1 0 0,0-1 0 0 0,0 1-1 0 0,0 0 1 0 0,-1-1-1 0 0,1 1 1 0 0,0 0-1 0 0,0 0 1 0 0,0-1 0 0 0,-1 1-1 0 0,1-1 1 0 0,-1 1 1 0 0,1 0 0 0 0,-1 0 0 0 0,1 0 0 0 0,0 0 1 0 0,-1 0-1 0 0,1 0 0 0 0,-1 1 0 0 0,1-1 0 0 0,0 0 1 0 0,-1 0-1 0 0,1 0 0 0 0,-1 0 0 0 0,1 0 0 0 0,0 1 0 0 0,-1-1 1 0 0,1 0-1 0 0,0 0 0 0 0,-1 0 0 0 0,1 1 0 0 0,0-1 1 0 0,-1 0-1 0 0,1 1 0 0 0,0-1 0 0 0,0 0 0 0 0,-1 1 1 0 0,1-1-1 0 0,0 0 0 0 0,0 1 0 0 0,0-1 0 0 0,0 0 0 0 0,-1 1 1 0 0,1 0-1 0 0,-2 3 65 0 0,0 1 0 0 0,0 0 0 0 0,0 0 0 0 0,1 0 0 0 0,0 0 0 0 0,0 0 0 0 0,0 0 0 0 0,1 0 0 0 0,-1 1 0 0 0,1-1 0 0 0,0 0 0 0 0,1 0 0 0 0,-1 0 1 0 0,1 1-1 0 0,3 8 0 0 0,-1-7-3 0 0,0-1 1 0 0,0 0-1 0 0,1 0 1 0 0,-1-1-1 0 0,1 1 1 0 0,1-1-1 0 0,-1 0 1 0 0,1 0 0 0 0,0 0-1 0 0,0 0 1 0 0,0-1-1 0 0,10 6 1 0 0,-12-9-45 0 0,-1 0 0 0 0,1-1 0 0 0,-1 1-1 0 0,1-1 1 0 0,-1 1 0 0 0,1-1 0 0 0,-1 0 0 0 0,1 0 0 0 0,-1 0 0 0 0,1 0 0 0 0,-1-1 0 0 0,1 1 0 0 0,-1-1 0 0 0,1 1 0 0 0,-1-1 0 0 0,1 0 0 0 0,-1 0-1 0 0,0 0 1 0 0,0 0 0 0 0,1 0 0 0 0,-1-1 0 0 0,4-2 0 0 0,-3 1-8 0 0,0 0 1 0 0,-1 0-1 0 0,1 0 0 0 0,-1 0 0 0 0,1 0 0 0 0,-1-1 1 0 0,0 1-1 0 0,0-1 0 0 0,-1 0 0 0 0,1 1 0 0 0,-1-1 1 0 0,0 0-1 0 0,0 0 0 0 0,0 0 0 0 0,0 0 1 0 0,-1 0-1 0 0,1 0 0 0 0,-1 0 0 0 0,0 0 0 0 0,0 0 1 0 0,-2-5-1 0 0,1 1-217 0 0,0 0 1 0 0,-1 0 0 0 0,0 0-1 0 0,0 0 1 0 0,-1 0 0 0 0,0 1-1 0 0,-1 0 1 0 0,0-1 0 0 0,-7-9-1 0 0,6 10-807 0 0,0 1 0 0 0,-1 0 0 0 0,0 1 0 0 0,0-1 0 0 0,0 1 0 0 0,-1 0 0 0 0,-14-7 0 0 0,3 2-3156 0 0</inkml:trace>
</inkml:ink>
</file>

<file path=ppt/ink/ink6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0.6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648 0 0,'10'7'1856'0'0,"4"6"2525"0"0,0-4-2661 0 0,0-2-636 0 0,0-4-488 0 0,6-3-1188 0 0,-6-3-5028 0 0</inkml:trace>
</inkml:ink>
</file>

<file path=ppt/ink/ink6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1.0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0 1 224 0 0,'-16'4'687'0'0,"1"0"0"0"0,-1 2 1 0 0,1 0-1 0 0,0 1 0 0 0,1 0 0 0 0,0 1 1 0 0,0 1-1 0 0,0 0 0 0 0,1 1 0 0 0,1 0 0 0 0,0 1 1 0 0,0 0-1 0 0,1 1 0 0 0,-12 16 0 0 0,20-24-578 0 0,1 0 0 0 0,-1 0-1 0 0,1 1 1 0 0,0-1-1 0 0,-1 1 1 0 0,2 0 0 0 0,-1-1-1 0 0,1 1 1 0 0,0 0 0 0 0,0 0-1 0 0,0 0 1 0 0,0 0-1 0 0,1 0 1 0 0,0 0 0 0 0,0 0-1 0 0,0 0 1 0 0,1 0-1 0 0,0 0 1 0 0,0 0 0 0 0,0 0-1 0 0,0 0 1 0 0,1 0 0 0 0,0-1-1 0 0,0 1 1 0 0,0-1-1 0 0,1 1 1 0 0,-1-1 0 0 0,1 0-1 0 0,0 0 1 0 0,0 0 0 0 0,1 0-1 0 0,-1 0 1 0 0,1-1-1 0 0,0 1 1 0 0,7 4 0 0 0,-3-3-7 0 0,0 0 1 0 0,0 0-1 0 0,0-1 1 0 0,0 0-1 0 0,1-1 1 0 0,-1 0-1 0 0,1 0 1 0 0,0-1-1 0 0,0 0 1 0 0,0-1-1 0 0,15 1 1 0 0,-21-2-82 0 0,1 0 0 0 0,-1 0 0 0 0,0 0 1 0 0,1 0-1 0 0,-1-1 0 0 0,0 1 0 0 0,0-1 0 0 0,1 0 1 0 0,-1 0-1 0 0,0 0 0 0 0,0 0 0 0 0,0-1 1 0 0,0 1-1 0 0,0-1 0 0 0,-1 0 0 0 0,1 0 0 0 0,0 0 1 0 0,-1 0-1 0 0,1 0 0 0 0,-1-1 0 0 0,0 1 1 0 0,0-1-1 0 0,0 0 0 0 0,0 1 0 0 0,0-1 0 0 0,-1 0 1 0 0,1 0-1 0 0,-1 0 0 0 0,0 0 0 0 0,1 0 1 0 0,-1 0-1 0 0,-1-1 0 0 0,1 1 0 0 0,0-6 1 0 0,0 3-150 0 0,-1 0 1 0 0,0-1 0 0 0,0 1-1 0 0,-1 0 1 0 0,0 0 0 0 0,0 0-1 0 0,0 0 1 0 0,-1 0 0 0 0,1 0-1 0 0,-1 1 1 0 0,-1-1 0 0 0,1 0-1 0 0,-1 1 1 0 0,-4-6 0 0 0,-5-5-2287 0 0,0-1 0 0 0,-28-26 0 0 0,35 38 1526 0 0,-9-9-3084 0 0</inkml:trace>
</inkml:ink>
</file>

<file path=ppt/ink/ink6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1.3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2 284 1212 0 0,'13'20'1371'0'0,"0"1"1"0"0,-2 0-1 0 0,0 1 0 0 0,-2 0 0 0 0,0 0 0 0 0,-1 1 1 0 0,4 24-1 0 0,-9-38-1026 0 0,0 6 734 0 0,1-1-1 0 0,-2 1 0 0 0,2 20 1 0 0,-4-35-1045 0 0,0 1 0 0 0,0-1 1 0 0,0 1-1 0 0,-1-1 0 0 0,1 1 0 0 0,0-1 0 0 0,0 1 1 0 0,0-1-1 0 0,-1 0 0 0 0,1 1 0 0 0,0-1 1 0 0,-1 1-1 0 0,1-1 0 0 0,0 0 0 0 0,-1 1 0 0 0,1-1 1 0 0,0 0-1 0 0,-1 0 0 0 0,1 1 0 0 0,-1-1 1 0 0,1 0-1 0 0,-1 0 0 0 0,1 1 0 0 0,0-1 0 0 0,-1 0 1 0 0,1 0-1 0 0,-1 0 0 0 0,1 0 0 0 0,-1 0 1 0 0,1 0-1 0 0,-1 0 0 0 0,1 0 0 0 0,-1 0 0 0 0,1 0 1 0 0,-2 0-1 0 0,-13-2 229 0 0,15 2-271 0 0,-3-1 41 0 0,0 0 0 0 0,0 0 0 0 0,0 0 0 0 0,1 0 0 0 0,-1-1 0 0 0,0 1 0 0 0,1-1 0 0 0,-1 0 0 0 0,1 0 0 0 0,0 0 0 0 0,0 0 0 0 0,0 0 0 0 0,0 0 0 0 0,0 0 0 0 0,-3-5 0 0 0,-1-2-3 0 0,1 0 0 0 0,1 0 0 0 0,-5-11 0 0 0,3 2-31 0 0,0 1 0 0 0,2-1-1 0 0,0 0 1 0 0,1-1-1 0 0,1 1 1 0 0,1-1 0 0 0,1-26-1 0 0,2 19-26 0 0,1 1 0 0 0,0-1-1 0 0,2 1 1 0 0,15-45 0 0 0,-14 55-92 0 0,0 0 1 0 0,1 1-1 0 0,1 0 1 0 0,12-18-1 0 0,-16 26-254 0 0,1 0-1 0 0,0 0 1 0 0,0 0-1 0 0,0 1 0 0 0,1 0 1 0 0,0 0-1 0 0,0 0 1 0 0,0 1-1 0 0,0 0 0 0 0,1 0 1 0 0,7-2-1 0 0,-13 5-45 0 0,1 1 0 0 0,-1-1-1 0 0,1 1 1 0 0,-1 0 0 0 0,0-1 0 0 0,1 1-1 0 0,-1 0 1 0 0,1 0 0 0 0,-1 0 0 0 0,1 1-1 0 0,-1-1 1 0 0,1 0 0 0 0,-1 0 0 0 0,1 1-1 0 0,-1-1 1 0 0,1 1 0 0 0,1 0 0 0 0</inkml:trace>
  <inkml:trace contextRef="#ctx0" brushRef="#br0" timeOffset="1">2 308 1556 0 0,'-1'2'1681'0'0,"1"-1"-1552"0"0,0-1 0 0 0,0 1 0 0 0,0-1 0 0 0,0 1 0 0 0,0-1 0 0 0,0 1 0 0 0,0-1 0 0 0,0 1 0 0 0,0 0 0 0 0,0-1 0 0 0,0 1 0 0 0,0-1 0 0 0,0 1 0 0 0,0-1 0 0 0,1 1 0 0 0,-1-1 0 0 0,0 1 0 0 0,0-1 0 0 0,1 1 0 0 0,-1-1 0 0 0,0 1 0 0 0,0-1 0 0 0,1 1 0 0 0,-1-1 0 0 0,1 1 0 0 0,-1-1 0 0 0,0 0 0 0 0,1 1 0 0 0,-1-1 0 0 0,1 1 0 0 0,22 5 1555 0 0,28-7-1111 0 0,-46 1-369 0 0,36-2-194 0 0,-12 1-1885 0 0,0-2 1 0 0,28-5 0 0 0,-41 4 194 0 0</inkml:trace>
</inkml:ink>
</file>

<file path=ppt/ink/ink6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2.24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 29 1088 0 0,'-30'9'9036'0'0,"34"-9"-8202"0"0,234-14 3212 0 0,-33 1-3857 0 0,-184 12-806 0 0,57-2-825 0 0,-31-4-5801 0 0</inkml:trace>
</inkml:ink>
</file>

<file path=ppt/ink/ink6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2.5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 1 2004 0 0,'0'0'1534'0'0,"-1"0"-1318"0"0,0-1 1 0 0,1 1-1 0 0,-1 0 1 0 0,0 0 0 0 0,0 1-1 0 0,0-1 1 0 0,1 0-1 0 0,-1 0 1 0 0,0 0-1 0 0,0 1 1 0 0,0-1 0 0 0,1 0-1 0 0,-1 0 1 0 0,0 1-1 0 0,0-1 1 0 0,1 1-1 0 0,-2 0 1 0 0,1 7 602 0 0,-1 1 0 0 0,1 0 0 0 0,0 0 1 0 0,1 0-1 0 0,0-1 0 0 0,2 15 0 0 0,12 56 1180 0 0,-8-52-1541 0 0,-4-14-317 0 0,28 143-108 0 0,-14-52-5649 0 0,-11-80 1057 0 0</inkml:trace>
</inkml:ink>
</file>

<file path=ppt/ink/ink6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2.9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4 872 0 0,'4'1'1475'0'0,"1"0"-1145"0"0,0 0-1 0 0,0 1 1 0 0,0 0 0 0 0,-1 0 0 0 0,1 0 0 0 0,0 0-1 0 0,-1 1 1 0 0,0-1 0 0 0,0 1 0 0 0,0 0-1 0 0,0 0 1 0 0,0 1 0 0 0,0-1 0 0 0,-1 1-1 0 0,0 0 1 0 0,0 0 0 0 0,4 6 0 0 0,28 46 1510 0 0,70 119 1990 0 0,-105-174-3690 0 0,0-1 0 0 0,1 1 0 0 0,-1 0 0 0 0,1 0 0 0 0,-1 0 0 0 0,1 0 0 0 0,-1 0 0 0 0,1-1 0 0 0,0 1 0 0 0,0 0 0 0 0,-1 0 0 0 0,1-1 0 0 0,0 1 0 0 0,0-1 0 0 0,-1 1 0 0 0,1-1 0 0 0,0 1 0 0 0,0-1 0 0 0,0 1 0 0 0,0-1 0 0 0,0 0 0 0 0,0 1 0 0 0,0-1 0 0 0,0 0 0 0 0,0 0 0 0 0,0 0 0 0 0,0 0 0 0 0,0 0 0 0 0,1 0 0 0 0,0 0-90 0 0,-1-1 1 0 0,1 0-1 0 0,-1 0 1 0 0,0 1-1 0 0,1-1 1 0 0,-1 0-1 0 0,0 0 1 0 0,0-1-1 0 0,1 1 1 0 0,-1 0-1 0 0,0 0 1 0 0,0 0-1 0 0,0-1 1 0 0,-1 1-1 0 0,1-1 1 0 0,0 1-1 0 0,0 0 1 0 0,0-3-1 0 0,12-27 143 0 0,-2-1 0 0 0,-1 0 0 0 0,6-38 0 0 0,0-43-3629 0 0,-16 88-552 0 0</inkml:trace>
</inkml:ink>
</file>

<file path=ppt/ink/ink6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3.2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27 996 0 0,'5'0'1228'0'0,"11"-1"8"0"0,1 0 1 0 0,-1-1-1 0 0,0 0 1 0 0,26-8-1 0 0,-27 5-748 0 0,1-1 0 0 0,-1 0 0 0 0,0-1 0 0 0,0-1-1 0 0,-1 0 1 0 0,0-1 0 0 0,0 0 0 0 0,12-13 0 0 0,-25 22-469 0 0,-1-1 0 0 0,1 1 0 0 0,-1-1 0 0 0,1 1 0 0 0,-1 0 0 0 0,1-1 0 0 0,-1 1 0 0 0,1-1 0 0 0,-1 0 1 0 0,0 1-1 0 0,1-1 0 0 0,-1 1 0 0 0,0-1 0 0 0,0 0 0 0 0,1 1 0 0 0,-1-1 0 0 0,0 1 0 0 0,0-1 1 0 0,0 0-1 0 0,0 1 0 0 0,0-1 0 0 0,0 0 0 0 0,0 1 0 0 0,0-1 0 0 0,0 0 0 0 0,0 1 0 0 0,0-1 0 0 0,0 0 1 0 0,0 1-1 0 0,-1-1 0 0 0,1 1 0 0 0,0-1 0 0 0,0 0 0 0 0,-1 1 0 0 0,0-2 0 0 0,0 1-7 0 0,0 0 0 0 0,0 1 0 0 0,0-1-1 0 0,0 0 1 0 0,0 1 0 0 0,0-1 0 0 0,0 0-1 0 0,0 1 1 0 0,0-1 0 0 0,-1 1 0 0 0,1 0 0 0 0,0-1-1 0 0,0 1 1 0 0,-1 0 0 0 0,1 0 0 0 0,0 0-1 0 0,0 0 1 0 0,-1 0 0 0 0,1 0 0 0 0,0 0-1 0 0,-2 1 1 0 0,-9 1 70 0 0,0 1 1 0 0,0 1-1 0 0,1 0 0 0 0,0 1 0 0 0,0 0 0 0 0,0 0 1 0 0,-17 13-1 0 0,22-14 26 0 0,0 0 0 0 0,0 1 0 0 0,0-1-1 0 0,1 1 1 0 0,0 1 0 0 0,0-1 0 0 0,0 1 0 0 0,1 0 0 0 0,0 0 0 0 0,0 0 0 0 0,0 1 0 0 0,1-1 0 0 0,0 1 0 0 0,-4 13-1 0 0,7-17-73 0 0,0 0-1 0 0,0 0 0 0 0,0 1 1 0 0,0-1-1 0 0,0 0 0 0 0,0 1 0 0 0,1-1 1 0 0,0 0-1 0 0,0 0 0 0 0,0 0 0 0 0,0 0 1 0 0,0 1-1 0 0,0-1 0 0 0,1-1 0 0 0,0 1 1 0 0,-1 0-1 0 0,1 0 0 0 0,0-1 0 0 0,0 1 1 0 0,1-1-1 0 0,-1 1 0 0 0,0-1 0 0 0,1 0 1 0 0,0 0-1 0 0,-1 0 0 0 0,5 2 1 0 0,6 4-9 0 0,0-1 0 0 0,1 0 0 0 0,0 0 0 0 0,18 5 1 0 0,-11-6-795 0 0,0 0 0 0 0,30 4 1 0 0,-40-8-464 0 0,-1-1 0 0 0,1-1 1 0 0,0 0-1 0 0,-1 0 0 0 0,1-1 1 0 0,20-4-1 0 0,-15 0-2480 0 0</inkml:trace>
</inkml:ink>
</file>

<file path=ppt/ink/ink6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5.0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8 405 332 0 0,'-1'2'1552'0'0,"0"-1"-1259"0"0,0 1 0 0 0,0 0-1 0 0,0-1 1 0 0,0 1 0 0 0,0 0-1 0 0,1 0 1 0 0,-1 0 0 0 0,1-1-1 0 0,-1 1 1 0 0,1 0 0 0 0,0 0-1 0 0,0 0 1 0 0,0 0 0 0 0,0 0 0 0 0,0 3-1 0 0,1-3 425 0 0,12 2 498 0 0,-11-3-1171 0 0,-1-1 1 0 0,0 0-1 0 0,1 1 1 0 0,-1-1-1 0 0,1 0 0 0 0,-1 0 1 0 0,0 0-1 0 0,1 0 1 0 0,-1 0-1 0 0,0 0 1 0 0,1-1-1 0 0,-1 1 0 0 0,1 0 1 0 0,-1-1-1 0 0,2 0 1 0 0,2-1 63 0 0,8-1-23 0 0,-1-1-1 0 0,1 0 1 0 0,-1 0-1 0 0,0-2 1 0 0,-1 0 0 0 0,0 0-1 0 0,1-1 1 0 0,-2 0-1 0 0,1 0 1 0 0,-1-2 0 0 0,0 1-1 0 0,-1-1 1 0 0,0-1-1 0 0,-1 1 1 0 0,0-2-1 0 0,9-13 1 0 0,-11 16-78 0 0,-1-1 0 0 0,0-1 1 0 0,-1 1-1 0 0,1-1 0 0 0,-2 1 0 0 0,1-1 1 0 0,-2 0-1 0 0,1 0 0 0 0,-1-1 1 0 0,-1 1-1 0 0,0 0 0 0 0,0-1 0 0 0,-1 1 1 0 0,0 0-1 0 0,-1-1 0 0 0,0 1 0 0 0,-1-1 1 0 0,0 1-1 0 0,-1 0 0 0 0,-5-14 0 0 0,5 18 4 0 0,0 0 0 0 0,-1 0 0 0 0,1 0-1 0 0,-1 1 1 0 0,-1-1 0 0 0,1 1 0 0 0,-1 0-1 0 0,0 1 1 0 0,0-1 0 0 0,0 1 0 0 0,0 0-1 0 0,-1 0 1 0 0,-11-5 0 0 0,14 7-4 0 0,0 1 0 0 0,0 0 1 0 0,0 0-1 0 0,0 0 0 0 0,0 0 0 0 0,0 0 0 0 0,0 1 1 0 0,0-1-1 0 0,0 1 0 0 0,0 0 0 0 0,-1 0 1 0 0,1 0-1 0 0,0 0 0 0 0,0 1 0 0 0,0-1 0 0 0,0 1 1 0 0,0 0-1 0 0,0 0 0 0 0,0 0 0 0 0,0 0 0 0 0,0 1 1 0 0,0-1-1 0 0,1 1 0 0 0,-1-1 0 0 0,0 1 0 0 0,1 0 1 0 0,0 0-1 0 0,-1 0 0 0 0,1 1 0 0 0,0-1 0 0 0,-3 5 1 0 0,0 1 14 0 0,0 0 1 0 0,1 0 0 0 0,0 1 0 0 0,0 0-1 0 0,1 0 1 0 0,0 0 0 0 0,1 0-1 0 0,0 0 1 0 0,0 1 0 0 0,1-1-1 0 0,0 0 1 0 0,1 1 0 0 0,1 17 0 0 0,3 9 52 0 0,2 1 0 0 0,11 40 0 0 0,-16-70-67 0 0,29 102 125 0 0,-15-62-47 0 0,-3 1 0 0 0,11 86-1 0 0,-22-128-49 0 0,-1 1-1 0 0,0-1 1 0 0,0 0 0 0 0,-1 1-1 0 0,0-1 1 0 0,0 0-1 0 0,0 1 1 0 0,-1-1 0 0 0,0 0-1 0 0,0 0 1 0 0,0 0-1 0 0,-1 0 1 0 0,-3 5 0 0 0,4-8-10 0 0,0-1-1 0 0,0 1 1 0 0,-1 0 0 0 0,1-1 0 0 0,-1 0 0 0 0,0 1 0 0 0,1-1 0 0 0,-1 0 0 0 0,0-1-1 0 0,0 1 1 0 0,0 0 0 0 0,-1-1 0 0 0,1 0 0 0 0,0 0 0 0 0,0 0 0 0 0,-1 0 0 0 0,1 0 0 0 0,-1 0-1 0 0,1-1 1 0 0,0 0 0 0 0,-1 0 0 0 0,1 0 0 0 0,-1 0 0 0 0,1 0 0 0 0,-6-2 0 0 0,1 0 10 0 0,0 0 1 0 0,0 0 0 0 0,0-1 0 0 0,0 0 0 0 0,1-1 0 0 0,0 0 0 0 0,-1 0-1 0 0,1 0 1 0 0,1-1 0 0 0,-1 0 0 0 0,1 0 0 0 0,0-1 0 0 0,0 1 0 0 0,-8-12-1 0 0,12 15-183 0 0,-1-1 0 0 0,1 0-1 0 0,0-1 1 0 0,0 1 0 0 0,0 0-1 0 0,1 0 1 0 0,-1-1-1 0 0,1 1 1 0 0,0-1 0 0 0,0 0-1 0 0,0 1 1 0 0,0-1 0 0 0,1 0-1 0 0,-1 1 1 0 0,1-1 0 0 0,0 0-1 0 0,0 0 1 0 0,0 1-1 0 0,1-1 1 0 0,0 0 0 0 0,-1 0-1 0 0,1 1 1 0 0,0-1 0 0 0,1 1-1 0 0,-1-1 1 0 0,0 1-1 0 0,1-1 1 0 0,0 1 0 0 0,0 0-1 0 0,0 0 1 0 0,0 0 0 0 0,1 0-1 0 0,3-3 1 0 0,27-23-3720 0 0,-13 14 1193 0 0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2.1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4 171 1308 0 0,'-79'-47'8759'0'0,"78"47"-8727"0"0,1-1 0 0 0,0 1 0 0 0,-1 0 0 0 0,1 0 0 0 0,0-1 0 0 0,0 1 0 0 0,-1 0 0 0 0,1-1 0 0 0,0 1 0 0 0,0 0 0 0 0,0-1 1 0 0,-1 1-1 0 0,1 0 0 0 0,0-1 0 0 0,0 1 0 0 0,0 0 0 0 0,0-1 0 0 0,0 1 0 0 0,0 0 0 0 0,0-1 0 0 0,0 1 0 0 0,0-1 0 0 0,0 1 0 0 0,0 0 0 0 0,0-1 0 0 0,0 1 0 0 0,0 0 0 0 0,0-1 0 0 0,0 1 0 0 0,0-1 1 0 0,0 1-1 0 0,0 0 0 0 0,1-1 0 0 0,-1 1 0 0 0,0 0 0 0 0,0-1 0 0 0,0 1 0 0 0,1 0 0 0 0,-1-1 0 0 0,14-10 586 0 0,1 6-445 0 0,0 1 0 0 0,0 1 0 0 0,0 0 1 0 0,18 0-1 0 0,71-1 317 0 0,-33 3-265 0 0,92-4 85 0 0,91-6 1996 0 0,-202 11-1425 0 0,-52 0-869 0 0,1 0 1 0 0,0 0-1 0 0,0 0 1 0 0,0 0-1 0 0,0 0 1 0 0,0 0-1 0 0,0 0 1 0 0,-1 1-1 0 0,1-1 1 0 0,0 0-1 0 0,0 0 1 0 0,0 1-1 0 0,-1-1 1 0 0,1 1-1 0 0,0-1 1 0 0,0 1-1 0 0,-1-1 1 0 0,1 1-1 0 0,0-1 0 0 0,-1 1 1 0 0,1 0-1 0 0,0-1 1 0 0,-1 1-1 0 0,1 0 1 0 0,-1-1-1 0 0,1 1 1 0 0,0 1-1 0 0,2 24 102 0 0,-2-9-21 0 0,1-10-61 0 0,0-1 0 0 0,0 0-1 0 0,0 0 1 0 0,1 0 0 0 0,0 0 0 0 0,0 0 0 0 0,8 10 0 0 0,-9-13-2 0 0,1-1 1 0 0,-1 1 0 0 0,1-1-1 0 0,-1 0 1 0 0,1 0 0 0 0,-1 0-1 0 0,1 0 1 0 0,0 0 0 0 0,0-1-1 0 0,0 1 1 0 0,0-1 0 0 0,0 0-1 0 0,1 0 1 0 0,-1 0 0 0 0,0 0-1 0 0,1 0 1 0 0,-1-1 0 0 0,7 1-1 0 0,-7-1 12 0 0,0 0-1 0 0,1-1 0 0 0,-1 1 0 0 0,0 0 0 0 0,1-1 0 0 0,-1 0 0 0 0,0 0 1 0 0,0 0-1 0 0,1 0 0 0 0,-1 0 0 0 0,0-1 0 0 0,0 0 0 0 0,-1 1 1 0 0,5-4-1 0 0,-6 4-43 0 0,1-1 0 0 0,0 0 1 0 0,-1 0-1 0 0,1 0 0 0 0,-1 0 1 0 0,0 0-1 0 0,0 0 0 0 0,0-1 0 0 0,0 1 1 0 0,0 0-1 0 0,0-1 0 0 0,0 1 1 0 0,-1 0-1 0 0,1-1 0 0 0,-1 1 1 0 0,0-1-1 0 0,0 1 0 0 0,1-1 0 0 0,-2 1 1 0 0,1-1-1 0 0,-1-3 0 0 0,0 0-116 0 0,0 0-1 0 0,-1 0 1 0 0,1 1-1 0 0,-1-1 1 0 0,-1 1-1 0 0,1-1 1 0 0,-1 1-1 0 0,0 0 1 0 0,0 0-1 0 0,0 0 1 0 0,-1 0-1 0 0,0 1 1 0 0,0-1 0 0 0,0 1-1 0 0,0 0 1 0 0,-1 0-1 0 0,0 1 1 0 0,1-1-1 0 0,-1 1 1 0 0,-1 0-1 0 0,-6-3 1 0 0,-1 0-996 0 0,0 1 0 0 0,0 1 0 0 0,-1 0 0 0 0,0 1 0 0 0,1 1 0 0 0,-1 0 0 0 0,0 0 0 0 0,-15 1 1 0 0,1 3-2870 0 0</inkml:trace>
</inkml:ink>
</file>

<file path=ppt/ink/ink6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5.4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9 776 0 0,'0'0'7385'0'0,"13"-6"-5708"0"0,24 1-1453 0 0,1 2 0 0 0,62 2 1 0 0,-52 2-2625 0 0,-47-1 2227 0 0,0 0 20 0 0,0 0 0 0 0,0 0 0 0 0,0 0 0 0 0,0 0 0 0 0,0 0 0 0 0,0 0 0 0 0,0 0 0 0 0,1 0 0 0 0,-1 0 0 0 0,0-1 0 0 0,0 1 0 0 0,0 0 0 0 0,0-1 1 0 0,0 1-1 0 0,0-1 0 0 0,0 1 0 0 0,2-2 0 0 0,-1 0-875 0 0,10-6-725 0 0</inkml:trace>
</inkml:ink>
</file>

<file path=ppt/ink/ink6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5.7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14 956 0 0,'15'-57'6491'0'0,"-14"54"-5900"0"0,5 1 538 0 0,-3 1-626 0 0,1 6-273 0 0,1 4 63 0 0,-1-1 1 0 0,0 1 0 0 0,-1 0 0 0 0,0 0 0 0 0,3 13 0 0 0,3 12 190 0 0,5 6 53 0 0,-1-2 153 0 0,1-1 0 0 0,21 39 0 0 0,-31-69-460 0 0,-1-2 119 0 0,-1 0 0 0 0,1 0 0 0 0,0 0 0 0 0,0 0 0 0 0,1-1 0 0 0,0 0 0 0 0,4 5 0 0 0,-7-8-282 0 0,0-1 1 0 0,0 1-1 0 0,-1-1 0 0 0,1 1 1 0 0,0-1-1 0 0,0 1 0 0 0,0-1 0 0 0,0 0 1 0 0,0 1-1 0 0,0-1 0 0 0,0 0 1 0 0,1 0-1 0 0,-1 0 0 0 0,0 0 1 0 0,0 0-1 0 0,0 0 0 0 0,1 0 1 0 0,0-1-50 0 0,0 1 1 0 0,0-1 0 0 0,0 0 0 0 0,0 0 0 0 0,0 0 0 0 0,-1 0 0 0 0,1 0 0 0 0,0 0 0 0 0,-1-1 0 0 0,1 1 0 0 0,-1 0 0 0 0,3-3 0 0 0,4-7 54 0 0,1 0 0 0 0,-1-1 0 0 0,-1 1 0 0 0,0-2 0 0 0,-1 1-1 0 0,0-1 1 0 0,-1 0 0 0 0,4-16 0 0 0,-2 3-441 0 0,-1 0 0 0 0,-2 0 0 0 0,3-38 0 0 0,-7 48-587 0 0,1-37-2414 0 0,-7 16-4826 0 0,3 25 4700 0 0</inkml:trace>
</inkml:ink>
</file>

<file path=ppt/ink/ink6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6.1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 99 244 0 0,'2'1'2146'0'0,"4"4"-1331"0"0,0-1 0 0 0,1 0 0 0 0,-1-1 0 0 0,1 1 0 0 0,0-1 0 0 0,0-1 0 0 0,7 3 0 0 0,-5-3-615 0 0,1-1 0 0 0,-1 0-1 0 0,0 0 1 0 0,0-1 0 0 0,1 0 0 0 0,-1 0-1 0 0,0-1 1 0 0,1-1 0 0 0,10-2 0 0 0,-8 1-106 0 0,0-1 0 0 0,0 0 0 0 0,-1 0 1 0 0,22-12-1 0 0,-28 13-67 0 0,-1 0-1 0 0,1 0 1 0 0,-1 0-1 0 0,0-1 1 0 0,0 0-1 0 0,0 1 1 0 0,0-1 0 0 0,-1-1-1 0 0,1 1 1 0 0,-1 0-1 0 0,0-1 1 0 0,0 0 0 0 0,2-6-1 0 0,-4 10-21 0 0,-1 0 0 0 0,0 0-1 0 0,0 0 1 0 0,1 0 0 0 0,-1 0-1 0 0,0 0 1 0 0,0 0 0 0 0,0 0 0 0 0,0 0-1 0 0,0 0 1 0 0,0 0 0 0 0,0 0 0 0 0,-1 0-1 0 0,1 0 1 0 0,0 0 0 0 0,0 1-1 0 0,-1-1 1 0 0,1 0 0 0 0,-1 0 0 0 0,1 0-1 0 0,-1 0 1 0 0,1 0 0 0 0,-1 1 0 0 0,1-1-1 0 0,-1 0 1 0 0,0 0 0 0 0,1 1 0 0 0,-1-1-1 0 0,0 0 1 0 0,0 1 0 0 0,1-1-1 0 0,-1 1 1 0 0,0-1 0 0 0,0 1 0 0 0,0-1-1 0 0,0 1 1 0 0,0 0 0 0 0,0 0 0 0 0,-1-1-1 0 0,-2 0 46 0 0,0 0 0 0 0,-1 0 0 0 0,1 0 0 0 0,0 1 0 0 0,0-1-1 0 0,-1 1 1 0 0,-6 1 0 0 0,-5 2 106 0 0,0 0-1 0 0,1 2 0 0 0,-1 0 1 0 0,1 0-1 0 0,0 2 1 0 0,1 0-1 0 0,0 0 1 0 0,0 2-1 0 0,0-1 0 0 0,1 2 1 0 0,1 0-1 0 0,0 0 1 0 0,0 1-1 0 0,1 1 0 0 0,0 0 1 0 0,1 0-1 0 0,-10 16 1 0 0,18-24-75 0 0,0-1 0 0 0,0 1 0 0 0,0 0 1 0 0,1 0-1 0 0,-1 0 0 0 0,1 0 0 0 0,0 0 0 0 0,0 0 1 0 0,0 0-1 0 0,1 0 0 0 0,0 0 0 0 0,0 0 1 0 0,0 0-1 0 0,0 1 0 0 0,0-1 0 0 0,3 8 0 0 0,-2-7-3 0 0,1 0-1 0 0,1 0 1 0 0,-1 0-1 0 0,1 0 1 0 0,0 0-1 0 0,0-1 1 0 0,0 1-1 0 0,1-1 1 0 0,-1 0-1 0 0,1 0 1 0 0,6 5-1 0 0,4 1-265 0 0,0 0 0 0 0,1-1 0 0 0,0-1 1 0 0,1 0-1 0 0,0-1 0 0 0,0-1 0 0 0,18 5 0 0 0,23 4-2814 0 0,-21-10-2569 0 0</inkml:trace>
</inkml:ink>
</file>

<file path=ppt/ink/ink6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7.0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6 140 380 0 0,'5'-7'666'0'0,"-1"-1"1"0"0,1 0-1 0 0,-1 1 1 0 0,0-1-1 0 0,-1-1 0 0 0,0 1 1 0 0,0 0-1 0 0,0-1 1 0 0,-1 0-1 0 0,-1 0 0 0 0,2-14 1 0 0,-4 22-644 0 0,1 0 0 0 0,0 0 0 0 0,0-1 0 0 0,-1 1 0 0 0,1 0 1 0 0,-1 0-1 0 0,1 0 0 0 0,-1 0 0 0 0,1 0 0 0 0,-1 0 0 0 0,0 0 0 0 0,1 0 0 0 0,-1 0 1 0 0,0 0-1 0 0,0 0 0 0 0,0 0 0 0 0,0 0 0 0 0,1 1 0 0 0,-1-1 0 0 0,0 0 0 0 0,0 1 1 0 0,-1-1-1 0 0,1 1 0 0 0,0-1 0 0 0,0 1 0 0 0,0-1 0 0 0,0 1 0 0 0,0 0 0 0 0,-1 0 1 0 0,-1-1-1 0 0,-33-1 227 0 0,20 4-184 0 0,0 1-1 0 0,0 1 0 0 0,0 0 1 0 0,0 1-1 0 0,1 1 1 0 0,-1 1-1 0 0,2 0 0 0 0,-1 0 1 0 0,1 2-1 0 0,0 0 0 0 0,1 0 1 0 0,0 1-1 0 0,-17 17 1 0 0,27-24-48 0 0,0 0 0 0 0,0 0 0 0 0,1 0 0 0 0,-1 1 0 0 0,1-1 0 0 0,0 1 0 0 0,0-1 0 0 0,1 1 0 0 0,-1 0 0 0 0,1 0 0 0 0,-1-1 0 0 0,1 1 0 0 0,1 0 0 0 0,-2 8 0 0 0,2-7 6 0 0,1-1 1 0 0,-1 1 0 0 0,1 0-1 0 0,0-1 1 0 0,0 1-1 0 0,1-1 1 0 0,-1 1-1 0 0,1-1 1 0 0,0 0-1 0 0,0 1 1 0 0,1-1-1 0 0,4 6 1 0 0,11 12 60 0 0,2 0-1 0 0,0-2 1 0 0,1 0-1 0 0,35 25 1 0 0,1 2 69 0 0,-47-38-117 0 0,78 73 340 0 0,-78-72-356 0 0,-1 0 1 0 0,-1 1-1 0 0,0 1 0 0 0,0-1 0 0 0,-1 1 0 0 0,9 20 0 0 0,-15-29 17 0 0,0 0 0 0 0,0 0-1 0 0,1 0 1 0 0,-2 1-1 0 0,1-1 1 0 0,0 0-1 0 0,-1 1 1 0 0,1-1-1 0 0,-1 0 1 0 0,0 1 0 0 0,0-1-1 0 0,0 1 1 0 0,-1-1-1 0 0,1 0 1 0 0,-1 1-1 0 0,0-1 1 0 0,0 0-1 0 0,0 0 1 0 0,0 0 0 0 0,-1 1-1 0 0,1-1 1 0 0,-1 0-1 0 0,0-1 1 0 0,0 1-1 0 0,0 0 1 0 0,0 0-1 0 0,0-1 1 0 0,0 0 0 0 0,-1 1-1 0 0,1-1 1 0 0,-1 0-1 0 0,0 0 1 0 0,0 0-1 0 0,0 0 1 0 0,0-1-1 0 0,0 1 1 0 0,0-1-1 0 0,0 0 1 0 0,0 0 0 0 0,0 0-1 0 0,-1 0 1 0 0,1 0-1 0 0,0-1 1 0 0,-1 0-1 0 0,1 1 1 0 0,-1-1-1 0 0,1 0 1 0 0,-6-2 0 0 0,3 2-77 0 0,0-1 1 0 0,0-1-1 0 0,0 1 0 0 0,0-1 1 0 0,0 0-1 0 0,1-1 1 0 0,-1 1-1 0 0,1-1 1 0 0,-1 0-1 0 0,1-1 1 0 0,0 1-1 0 0,0-1 1 0 0,1 0-1 0 0,-1 0 1 0 0,1-1-1 0 0,0 1 1 0 0,0-1-1 0 0,0 0 1 0 0,0 0-1 0 0,1 0 0 0 0,0 0 1 0 0,0-1-1 0 0,1 1 1 0 0,-4-10-1 0 0,-2-11-191 0 0,1-1 0 0 0,0 0 0 0 0,2-1 0 0 0,-1-30 0 0 0,2 20 276 0 0,-4 11 41 0 0,8 26-81 0 0,0 1 0 0 0,0 0 0 0 0,0 0 0 0 0,0 0 0 0 0,0 0 0 0 0,0 0 0 0 0,0 0 0 0 0,0-1 0 0 0,-1 1 0 0 0,1 0 0 0 0,0 0 0 0 0,0 0 1 0 0,0 0-1 0 0,0 0 0 0 0,0 0 0 0 0,-1 0 0 0 0,1 0 0 0 0,0 0 0 0 0,0 0 0 0 0,0 0 0 0 0,0 0 0 0 0,0 0 0 0 0,-1-1 0 0 0,1 1 0 0 0,0 0 0 0 0,0 0 0 0 0,0 0 0 0 0,0 1 0 0 0,-1-1 0 0 0,1 0 0 0 0,0 0 0 0 0,0 0 0 0 0,0 0 0 0 0,0 0 0 0 0,-1 0 0 0 0,1 0 0 0 0,0 0 0 0 0,0 0 0 0 0,0 0 0 0 0,0 0 0 0 0,0 0 0 0 0,0 0 0 0 0,-1 1 0 0 0,1-1 0 0 0,-8 16 284 0 0,-60 143 1916 0 0,54-126-2037 0 0,10-25-153 0 0,-53 115-24 0 0,13-47-3796 0 0</inkml:trace>
</inkml:ink>
</file>

<file path=ppt/ink/ink6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7.6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4 1 476 0 0,'6'1'1503'0'0,"-3"-1"-1205"0"0,1 0 1 0 0,0 1-1 0 0,-1-1 1 0 0,1 1-1 0 0,-1 0 1 0 0,1 0-1 0 0,-1 1 1 0 0,1-1-1 0 0,-1 1 1 0 0,0-1-1 0 0,0 1 1 0 0,0 0-1 0 0,0 0 1 0 0,0 1-1 0 0,0-1 1 0 0,0 1-1 0 0,-1-1 1 0 0,1 1-1 0 0,2 5 1 0 0,5 12 693 0 0,-1 0 1 0 0,-2 1-1 0 0,7 28 1 0 0,-4-14-293 0 0,8 16 1546 0 0,7-67-1672 0 0,-21 13-576 0 0,-1-1 1 0 0,1 0 0 0 0,-1 0-1 0 0,0 0 1 0 0,0-1-1 0 0,0 1 1 0 0,-1 0 0 0 0,0-1-1 0 0,0 0 1 0 0,0 0-1 0 0,0 0 1 0 0,-1 0 0 0 0,1 0-1 0 0,-1 0 1 0 0,-1 0-1 0 0,1 0 1 0 0,-1 0 0 0 0,0 0-1 0 0,0-1 1 0 0,-1-4-1 0 0,1 6-13 0 0,-1 1 0 0 0,0 0 0 0 0,0 0 0 0 0,0-1-1 0 0,0 1 1 0 0,0 0 0 0 0,0 0 0 0 0,-1 0-1 0 0,0 0 1 0 0,1 1 0 0 0,-1-1 0 0 0,0 0 0 0 0,-1 1-1 0 0,1-1 1 0 0,0 1 0 0 0,-1 0 0 0 0,1 0 0 0 0,-1-1-1 0 0,0 2 1 0 0,0-1 0 0 0,1 0 0 0 0,-1 1 0 0 0,0-1-1 0 0,-1 1 1 0 0,1 0 0 0 0,0 0 0 0 0,0 0 0 0 0,0 0-1 0 0,-1 1 1 0 0,1-1 0 0 0,-5 1 0 0 0,-1 0 16 0 0,-1 1 0 0 0,1 0 0 0 0,-1 0 0 0 0,1 1 0 0 0,0 0 0 0 0,0 1 0 0 0,0 0 0 0 0,0 1 0 0 0,0-1 0 0 0,1 2 0 0 0,-1-1 0 0 0,1 1 0 0 0,0 0 0 0 0,-9 9 0 0 0,11-10 31 0 0,1 1-1 0 0,0 0 0 0 0,-1 0 1 0 0,2 0-1 0 0,-1 0 0 0 0,1 1 0 0 0,0 0 1 0 0,0 0-1 0 0,0 0 0 0 0,1 0 1 0 0,0 1-1 0 0,0-1 0 0 0,1 1 0 0 0,-1 0 1 0 0,2 0-1 0 0,-1 0 0 0 0,1 0 1 0 0,0 0-1 0 0,0 11 0 0 0,1-15-17 0 0,0 1 1 0 0,1-1-1 0 0,0 1 0 0 0,-1-1 0 0 0,1 1 1 0 0,1-1-1 0 0,-1 0 0 0 0,0 0 0 0 0,1 1 1 0 0,-1-1-1 0 0,1 0 0 0 0,0 0 1 0 0,0 0-1 0 0,0-1 0 0 0,1 1 0 0 0,-1 0 1 0 0,5 2-1 0 0,-2-1-1 0 0,0-1 0 0 0,0 1 0 0 0,0-1 0 0 0,1-1 0 0 0,0 1 0 0 0,-1-1 0 0 0,1 0 0 0 0,10 2 0 0 0,-12-4-65 0 0,-1 1-1 0 0,1-1 0 0 0,0 0 1 0 0,-1 0-1 0 0,1 0 1 0 0,0-1-1 0 0,-1 1 1 0 0,1-1-1 0 0,0 0 1 0 0,-1 0-1 0 0,1 0 1 0 0,-1-1-1 0 0,1 1 0 0 0,-1-1 1 0 0,0 0-1 0 0,0 0 1 0 0,4-3-1 0 0,-2 2-48 0 0,0-1-1 0 0,0 0 1 0 0,-1-1-1 0 0,0 1 0 0 0,0-1 1 0 0,0 0-1 0 0,0 0 1 0 0,-1 0-1 0 0,4-6 1 0 0,36-108-38 0 0,-42 117 142 0 0,6 10 69 0 0,0 0 2 0 0,-1 0 0 0 0,-1 1-1 0 0,1 0 1 0 0,4 11 0 0 0,12 20 106 0 0,65 84-852 0 0,-23-46-3872 0 0,-46-64 15 0 0</inkml:trace>
</inkml:ink>
</file>

<file path=ppt/ink/ink6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8.0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6 1308 0 0,'1'-1'192'0'0,"12"-19"2988"0"0,-13 19-3042 0 0,1 1 1 0 0,0-1-1 0 0,0 1 1 0 0,-1-1-1 0 0,1 1 1 0 0,0 0-1 0 0,0-1 0 0 0,0 1 1 0 0,0 0-1 0 0,0 0 1 0 0,-1 0-1 0 0,1-1 0 0 0,0 1 1 0 0,0 0-1 0 0,0 0 1 0 0,0 1-1 0 0,0-1 0 0 0,0 0 1 0 0,-1 0-1 0 0,1 0 1 0 0,0 0-1 0 0,1 1 0 0 0,1 1 71 0 0,-1 0 0 0 0,0 0 0 0 0,1 0-1 0 0,-1 0 1 0 0,0 0 0 0 0,-1 1 0 0 0,1-1-1 0 0,0 0 1 0 0,-1 1 0 0 0,1 0-1 0 0,-1-1 1 0 0,2 5 0 0 0,-1-2 164 0 0,15 32 1245 0 0,-2 0 0 0 0,-2 1 0 0 0,14 62 0 0 0,-27-98-1082 0 0,2-4-511 0 0,0 0-1 0 0,0 0 0 0 0,-1 0 0 0 0,1 0 1 0 0,-1-1-1 0 0,0 1 0 0 0,1 0 0 0 0,-1-1 1 0 0,0 1-1 0 0,0-1 0 0 0,0-4 0 0 0,2-1-57 0 0,3-3-27 0 0,-1 1 0 0 0,1 0-1 0 0,0 0 1 0 0,11-12 0 0 0,-13 17 29 0 0,1 0 0 0 0,-1 0 0 0 0,1 1 0 0 0,0 0 0 0 0,0 0 0 0 0,0 0 0 0 0,0 1 0 0 0,1-1 0 0 0,6-2 0 0 0,-9 5 22 0 0,0 1 1 0 0,-1-1 0 0 0,1 0-1 0 0,0 1 1 0 0,0 0-1 0 0,0 0 1 0 0,0 0-1 0 0,-1 0 1 0 0,1 0-1 0 0,0 0 1 0 0,0 1-1 0 0,0 0 1 0 0,-1-1-1 0 0,1 1 1 0 0,0 0-1 0 0,-1 0 1 0 0,1 0-1 0 0,0 1 1 0 0,-1-1-1 0 0,0 1 1 0 0,1-1 0 0 0,-1 1-1 0 0,0 0 1 0 0,0 0-1 0 0,4 3 1 0 0,-1 1 8 0 0,-1 0 1 0 0,1-1 0 0 0,-1 1 0 0 0,0 1 0 0 0,0-1 0 0 0,-1 1 0 0 0,1-1-1 0 0,2 11 1 0 0,23 98 899 0 0,-29-102 1468 0 0,-2-29-1793 0 0,7-6-468 0 0,0 0 0 0 0,13-37 1 0 0,-15 51-122 0 0,1 1 0 0 0,0-1-1 0 0,0 1 1 0 0,0 0 0 0 0,1 0 0 0 0,0 1 0 0 0,0 0 0 0 0,0-1 0 0 0,1 2 0 0 0,12-11 0 0 0,-17 16 9 0 0,1-1-1 0 0,0 0 1 0 0,-1 1 0 0 0,1-1-1 0 0,0 1 1 0 0,-1 0 0 0 0,1 0-1 0 0,0-1 1 0 0,-1 1 0 0 0,1 0-1 0 0,0 0 1 0 0,0 1 0 0 0,-1-1 0 0 0,1 0-1 0 0,0 1 1 0 0,-1-1 0 0 0,1 1-1 0 0,2 0 1 0 0,1 1-4 0 0,-1 0 0 0 0,0-1-1 0 0,-1 1 1 0 0,1 1 0 0 0,7 4 0 0 0,-6-1-184 0 0,1 0 0 0 0,-1 0 0 0 0,0 0 0 0 0,-1 1 0 0 0,1-1 0 0 0,-1 1-1 0 0,-1 0 1 0 0,5 10 0 0 0,1 9-2084 0 0,7 28-1 0 0,-6-15-1278 0 0,-3-16 640 0 0,-6-21 1784 0 0,9 0-2035 0 0</inkml:trace>
</inkml:ink>
</file>

<file path=ppt/ink/ink6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8.4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44 76 0 0,'3'-2'326'0'0,"-1"0"1"0"0,1 0-1 0 0,-1 0 0 0 0,1 0 1 0 0,0 1-1 0 0,-1-1 0 0 0,1 0 0 0 0,0 1 1 0 0,0 0-1 0 0,6-2 0 0 0,-8 3-171 0 0,1 0 0 0 0,0 0 0 0 0,-1 0 0 0 0,1 0 0 0 0,0 0-1 0 0,-1 1 1 0 0,1-1 0 0 0,0 1 0 0 0,-1-1 0 0 0,1 1 0 0 0,-1-1 0 0 0,1 1-1 0 0,-1 0 1 0 0,0 0 0 0 0,1 0 0 0 0,-1 0 0 0 0,0 0 0 0 0,1 0 0 0 0,-1 0-1 0 0,0 0 1 0 0,0 0 0 0 0,0 0 0 0 0,0 1 0 0 0,1 1 0 0 0,8 12 627 0 0,-1-1 1 0 0,-1 1 0 0 0,0 1 0 0 0,6 16-1 0 0,19 68 755 0 0,-29-86-1317 0 0,1 5-120 0 0,0 1-1 0 0,-1-1 0 0 0,-1 1 1 0 0,0 25-1 0 0,-13-56-922 0 0,8 5 630 0 0,0 1 1 0 0,0-1-1 0 0,0 1 1 0 0,1-1 0 0 0,0 0-1 0 0,0 1 1 0 0,1-1-1 0 0,0 0 1 0 0,0-8 0 0 0,-1-6-364 0 0,0-17 116 0 0,0 0 0 0 0,3 0 0 0 0,1 1 0 0 0,1-1 0 0 0,3 1 0 0 0,0 0 0 0 0,3 0 0 0 0,1 1 0 0 0,20-46 0 0 0,-27 75 541 0 0,0-1-1 0 0,0 1 1 0 0,0 0-1 0 0,1 0 1 0 0,0 0-1 0 0,0 0 1 0 0,1 1-1 0 0,-1 0 1 0 0,9-5-1 0 0,-13 9-76 0 0,0 0 0 0 0,0 1 0 0 0,0 0 0 0 0,0-1 0 0 0,0 1-1 0 0,0 0 1 0 0,0-1 0 0 0,0 1 0 0 0,0 0 0 0 0,0 0 0 0 0,0 0 0 0 0,0 0 0 0 0,0 0 0 0 0,0 0 0 0 0,0 0-1 0 0,2 1 1 0 0,-1-1 42 0 0,0 0-31 0 0,0 0 0 0 0,0 1 0 0 0,0-1 0 0 0,-1 0 0 0 0,1 1 0 0 0,0 0 0 0 0,0-1 0 0 0,-1 1 1 0 0,1 0-1 0 0,0 0 0 0 0,-1 0 0 0 0,1 0 0 0 0,-1 0 0 0 0,0 0 0 0 0,1 1 0 0 0,-1-1 0 0 0,0 0 0 0 0,1 1 0 0 0,-1-1 0 0 0,0 1 0 0 0,0-1 0 0 0,0 1 0 0 0,-1-1 0 0 0,1 1 0 0 0,1 2 1 0 0,1 3 77 0 0,-1-1 1 0 0,1 1 0 0 0,-1 0-1 0 0,2 12 1 0 0,-4-12-32 0 0,0-1 0 0 0,0 0-1 0 0,0 0 1 0 0,-1 0 0 0 0,0 1-1 0 0,0-1 1 0 0,-1 0 0 0 0,0 0 0 0 0,0 0-1 0 0,0-1 1 0 0,-1 1 0 0 0,1 0-1 0 0,-2-1 1 0 0,1 0 0 0 0,0 0 0 0 0,-1 0-1 0 0,0 0 1 0 0,0 0 0 0 0,0-1-1 0 0,-1 1 1 0 0,-9 6 0 0 0,-2 1 53 0 0,0-2 1 0 0,-1 1-1 0 0,0-2 1 0 0,0 0-1 0 0,-32 11 0 0 0,38-17-256 0 0,0 0-1 0 0,0 0 0 0 0,0-1 0 0 0,-20 2 1 0 0,26-4-302 0 0,0 0 1 0 0,0 0 0 0 0,1 0 0 0 0,-1-1 0 0 0,0 1-1 0 0,0-1 1 0 0,1-1 0 0 0,-1 1 0 0 0,0-1-1 0 0,1 1 1 0 0,-1-1 0 0 0,1 0 0 0 0,-7-5-1 0 0,-1-2-2221 0 0</inkml:trace>
</inkml:ink>
</file>

<file path=ppt/ink/ink6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8.8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936 0 0,'6'2'484'0'0,"-1"0"-1"0"0,-1 0 1 0 0,1 1-1 0 0,0 0 1 0 0,0 0-1 0 0,-1 0 1 0 0,0 1-1 0 0,0-1 1 0 0,0 1-1 0 0,0 0 1 0 0,0 0-1 0 0,-1 1 1 0 0,0-1-1 0 0,0 1 1 0 0,0-1-1 0 0,3 8 1 0 0,5 11 256 0 0,-2 0 1 0 0,9 34-1 0 0,-6-19 26 0 0,0-2-480 0 0,-1 0 0 0 0,10 67 0 0 0,-19-81-1610 0 0,0 0 0 0 0,-2 0 1 0 0,-3 32-1 0 0,2-38-1421 0 0,-1-5-812 0 0</inkml:trace>
</inkml:ink>
</file>

<file path=ppt/ink/ink6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09.1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1 1040 0 0,'3'-1'1490'0'0,"7"-1"-371"0"0,0 0 0 0 0,0 0 0 0 0,0 1 0 0 0,1 1 1 0 0,-1 0-1 0 0,16 1 0 0 0,8 1-273 0 0,-25-2-780 0 0,0 0 1 0 0,0 0 0 0 0,0-1-1 0 0,0 0 1 0 0,0-1-1 0 0,0 0 1 0 0,0 0 0 0 0,-1-1-1 0 0,1 0 1 0 0,-1 0 0 0 0,0-1-1 0 0,0 0 1 0 0,0 0 0 0 0,0-1-1 0 0,8-7 1 0 0,-15 11-75 0 0,-1 0 0 0 0,1 0 0 0 0,0 1-1 0 0,-1-1 1 0 0,1 0 0 0 0,-1 0 0 0 0,1 0 0 0 0,-1 0 0 0 0,0 0 0 0 0,1 0 0 0 0,-1 0 0 0 0,0 0 0 0 0,0 0-1 0 0,1 0 1 0 0,-1-1 0 0 0,0 1 0 0 0,0 0 0 0 0,0 0 0 0 0,-1 0 0 0 0,1 0 0 0 0,0 0 0 0 0,0 0 0 0 0,0 0-1 0 0,-1 0 1 0 0,1 0 0 0 0,-1 0 0 0 0,1 0 0 0 0,-1 0 0 0 0,1 0 0 0 0,-1 0 0 0 0,1 0 0 0 0,-1 1 0 0 0,0-1 0 0 0,1 0-1 0 0,-1 0 1 0 0,0 1 0 0 0,0-1 0 0 0,0 0 0 0 0,1 1 0 0 0,-1-1 0 0 0,0 1 0 0 0,0-1 0 0 0,0 1 0 0 0,0-1-1 0 0,0 1 1 0 0,0 0 0 0 0,0-1 0 0 0,-2 1 0 0 0,-6 0 82 0 0,0 1 0 0 0,0 0 1 0 0,0 0-1 0 0,0 1 0 0 0,0 0 0 0 0,0 1 0 0 0,0 0 0 0 0,1 0 1 0 0,0 1-1 0 0,-1 0 0 0 0,1 1 0 0 0,1-1 0 0 0,-1 2 0 0 0,-7 5 1 0 0,9-6 47 0 0,0 0-1 0 0,0 0 1 0 0,0 1 0 0 0,0 0 0 0 0,1 0 0 0 0,0 0 0 0 0,0 1 0 0 0,1 0 0 0 0,0 0 0 0 0,0 0 0 0 0,1 0 0 0 0,-1 0 0 0 0,1 1 0 0 0,1 0 0 0 0,0-1 0 0 0,-3 16 0 0 0,5-19-57 0 0,0 0 1 0 0,0 0-1 0 0,0-1 1 0 0,1 1-1 0 0,0 0 0 0 0,-1 0 1 0 0,1 0-1 0 0,0 0 1 0 0,1-1-1 0 0,-1 1 1 0 0,1 0-1 0 0,-1-1 1 0 0,1 0-1 0 0,0 1 0 0 0,5 5 1 0 0,-3-5 2 0 0,1 1-1 0 0,-1-1 1 0 0,1 0-1 0 0,0-1 1 0 0,0 1-1 0 0,0-1 1 0 0,0 0 0 0 0,1 0-1 0 0,8 2 1 0 0,0 0-22 0 0,0-1 1 0 0,1-1 0 0 0,0 0 0 0 0,0-1-1 0 0,0 0 1 0 0,0-1 0 0 0,22-2 0 0 0,-28 0-78 0 0,0-1 0 0 0,0 0 1 0 0,-1 0-1 0 0,1 0 0 0 0,-1-1 1 0 0,1-1-1 0 0,-1 0 0 0 0,0 0 1 0 0,0 0-1 0 0,-1-1 0 0 0,0 0 1 0 0,1 0-1 0 0,-2-1 1 0 0,1 0-1 0 0,-1 0 0 0 0,1-1 1 0 0,-2 0-1 0 0,1 0 0 0 0,-1 0 1 0 0,0 0-1 0 0,4-11 0 0 0,2-2 47 0 0,-2 0 0 0 0,-1-1-1 0 0,0-1 1 0 0,-2 1 0 0 0,0-1-1 0 0,-1 0 1 0 0,2-29 0 0 0,-7 51-17 0 0,0 0 1 0 0,0 0-1 0 0,-1 0 0 0 0,1 0 1 0 0,0-1-1 0 0,0 1 0 0 0,0 0 1 0 0,0 0-1 0 0,0 0 1 0 0,0 0-1 0 0,0 0 0 0 0,0 0 1 0 0,0 0-1 0 0,0 0 0 0 0,0-1 1 0 0,0 1-1 0 0,0 0 0 0 0,0 0 1 0 0,0 0-1 0 0,0 0 1 0 0,0 0-1 0 0,0 0 0 0 0,0 0 1 0 0,0-1-1 0 0,0 1 0 0 0,0 0 1 0 0,0 0-1 0 0,0 0 0 0 0,0 0 1 0 0,0 0-1 0 0,0 0 1 0 0,0 0-1 0 0,1 0 0 0 0,-1 0 1 0 0,0-1-1 0 0,0 1 0 0 0,0 0 1 0 0,0 0-1 0 0,0 0 0 0 0,0 0 1 0 0,0 0-1 0 0,0 0 1 0 0,0 0-1 0 0,1 0 0 0 0,-1 0 1 0 0,0 0-1 0 0,0 0 0 0 0,0 0 1 0 0,0 0-1 0 0,0 0 0 0 0,0 0 1 0 0,0 0-1 0 0,0 0 1 0 0,1 0-1 0 0,-1 0 0 0 0,0 0 1 0 0,0 0-1 0 0,0 0 0 0 0,0 0 1 0 0,0 0-1 0 0,0 0 1 0 0,0 0-1 0 0,1 0 0 0 0,-1 0 1 0 0,0 0-1 0 0,0 0 0 0 0,0 0 1 0 0,0 0-1 0 0,0 0 0 0 0,6 12 15 0 0,4 18 46 0 0,-2-7 2 0 0,0 0 0 0 0,13 26 0 0 0,-13-33 87 0 0,-1 0 0 0 0,0 1-1 0 0,-1 0 1 0 0,-1 0 0 0 0,5 31-1 0 0,-10-46-162 0 0,0 1 0 0 0,0-1 0 0 0,-1 1-1 0 0,1-1 1 0 0,-1 0 0 0 0,0 1 0 0 0,1-1-1 0 0,-1 0 1 0 0,0 1 0 0 0,0-1 0 0 0,-1 0 0 0 0,1 0-1 0 0,0 0 1 0 0,-1 0 0 0 0,1 0 0 0 0,-1 0-1 0 0,0-1 1 0 0,1 1 0 0 0,-1 0 0 0 0,0-1-1 0 0,0 0 1 0 0,-2 2 0 0 0,-7 4-1152 0 0,0-1 0 0 0,-23 10 0 0 0,24-11 90 0 0,-28 10-4560 0 0,18-9 857 0 0</inkml:trace>
</inkml:ink>
</file>

<file path=ppt/ink/ink6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24.7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 125 1112 0 0,'-1'-15'2311'0'0,"-1"-1"1"0"0,-2-14-1 0 0,1 15-910 0 0,1 0 1 0 0,0-18 1208 0 0,3 35-2480 0 0,0 1-1 0 0,1 0 0 0 0,-1 0 1 0 0,0 0-1 0 0,0 0 1 0 0,-1 0-1 0 0,1 0 0 0 0,-1 0 1 0 0,1 3-1 0 0,-1-3-15 0 0,6 34 556 0 0,0 37 1 0 0,-5-50-536 0 0,1 0-1 0 0,1 1 1 0 0,1-2-1 0 0,13 44 1 0 0,-13-58-97 0 0,0 1-1 0 0,1-1 1 0 0,0 0 0 0 0,0-1-1 0 0,1 1 1 0 0,0-1 0 0 0,1 0-1 0 0,-1-1 1 0 0,2 1 0 0 0,-1-1-1 0 0,1-1 1 0 0,0 1 0 0 0,0-2-1 0 0,1 1 1 0 0,0-1 0 0 0,0 0 0 0 0,0-1-1 0 0,0 0 1 0 0,20 6 0 0 0,-19-8-42 0 0,1 0 0 0 0,0 0 0 0 0,-1 0 0 0 0,1-2 0 0 0,0 1 0 0 0,0-1 0 0 0,0-1 0 0 0,0 0 0 0 0,-1-1 0 0 0,1 0 0 0 0,0 0 0 0 0,-1-1 0 0 0,0 0 0 0 0,1-1 0 0 0,-1 0 0 0 0,-1-1 0 0 0,1 0 0 0 0,16-12 0 0 0,-16 9-148 0 0,0-1 0 0 0,-1-1 0 0 0,0 1 0 0 0,0-2 0 0 0,-1 1 0 0 0,-1-1 0 0 0,0 0 0 0 0,0 0 0 0 0,-1-1 0 0 0,7-17 0 0 0,-5 6 80 0 0,-1 0-1 0 0,0 0 1 0 0,-2 0-1 0 0,4-46 1 0 0,-8 62 68 0 0,0-5 100 0 0,-4 18 79 0 0,-3 21 176 0 0,2 1 1 0 0,1-1-1 0 0,0 1 0 0 0,3 0 1 0 0,2 36-1 0 0,-1-34-206 0 0,19 290 444 0 0,-9-165-5354 0 0,-4-122 1084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2.2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3 980 0 0,'8'-10'1568'0'0,"-5"6"-971"0"0,0 0 1 0 0,0 0 0 0 0,0 0-1 0 0,0 1 1 0 0,1-1-1 0 0,0 1 1 0 0,4-4 0 0 0,-5 8-453 0 0,-1-1 0 0 0,1 0 0 0 0,0 1 0 0 0,-1 0 0 0 0,1 0 0 0 0,-1 0 0 0 0,1 0 0 0 0,-1 0 0 0 0,1 0 0 0 0,-1 1 0 0 0,0-1 0 0 0,0 1 0 0 0,1-1 0 0 0,-1 1 1 0 0,0 0-1 0 0,-1 0 0 0 0,1 0 0 0 0,0 0 0 0 0,0 0 0 0 0,-1 1 0 0 0,0-1 0 0 0,1 0 0 0 0,1 4 0 0 0,3 9 372 0 0,0 0-1 0 0,8 29 1 0 0,-6-19-29 0 0,24 104 1175 0 0,-11-35 2506 0 0,-24-99-4050 0 0,3 5-122 0 0,-1 0 1 0 0,1 0-1 0 0,0-1 1 0 0,-1 1-1 0 0,1 0 1 0 0,0 0-1 0 0,-1-1 1 0 0,1 1-1 0 0,0 0 1 0 0,-1-1-1 0 0,1 1 1 0 0,0 0-1 0 0,0-1 0 0 0,-1 1 1 0 0,1 0-1 0 0,0-1 1 0 0,0 1-1 0 0,0-1 1 0 0,0 1-1 0 0,0 0 1 0 0,-1-1-1 0 0,1 1 1 0 0,0-1-1 0 0,0 1 0 0 0,0 0 1 0 0,0-2-1 0 0,0-4-85 0 0,0-1 1 0 0,0 0-1 0 0,0 0 0 0 0,1 0 0 0 0,0 0 0 0 0,0 0 0 0 0,1 0 0 0 0,4-12 0 0 0,-5 15 33 0 0,1-1 1 0 0,0 1-1 0 0,0 0 0 0 0,1 0 1 0 0,-1 0-1 0 0,1 1 0 0 0,0-1 1 0 0,0 0-1 0 0,0 1 0 0 0,0 0 1 0 0,1 0-1 0 0,-1 0 0 0 0,1 0 1 0 0,6-3-1 0 0,-8 5 39 0 0,-1 0-1 0 0,1 1 1 0 0,1-1 0 0 0,-1 1 0 0 0,0-1-1 0 0,0 1 1 0 0,0 0 0 0 0,0-1-1 0 0,0 1 1 0 0,0 0 0 0 0,0 0 0 0 0,0 1-1 0 0,1-1 1 0 0,-1 0 0 0 0,0 1 0 0 0,0-1-1 0 0,0 1 1 0 0,0 0 0 0 0,0 0 0 0 0,3 1-1 0 0,0 1-1 0 0,-1 0-1 0 0,1 0 1 0 0,-1 0 0 0 0,0 1-1 0 0,6 6 1 0 0,1 5-144 0 0,-1-4 1048 0 0,-10-11-866 0 0,1-1 0 0 0,-1 1 1 0 0,0 0-1 0 0,1-1 0 0 0,-1 1 1 0 0,0-1-1 0 0,1 1 0 0 0,-1 0 1 0 0,0-1-1 0 0,1 1 0 0 0,-1-1 1 0 0,0 1-1 0 0,0-1 1 0 0,1 1-1 0 0,-1-1 0 0 0,0 1 1 0 0,0-1-1 0 0,0 1 0 0 0,0-1 1 0 0,0 1-1 0 0,0-1 0 0 0,0 1 1 0 0,0-1-1 0 0,0 1 1 0 0,0-1-1 0 0,0 1 0 0 0,0-1 1 0 0,0 0-1 0 0,1-7-6 0 0,1 0-1 0 0,0 0 1 0 0,1 0 0 0 0,-1 0-1 0 0,2 1 1 0 0,-1-1-1 0 0,1 1 1 0 0,0 0 0 0 0,0 0-1 0 0,1 0 1 0 0,0 1 0 0 0,0-1-1 0 0,1 1 1 0 0,7-6-1 0 0,-2 2-25 0 0,0 1-1 0 0,1 0 1 0 0,-1 1-1 0 0,2 1 0 0 0,-1 0 1 0 0,1 0-1 0 0,22-7 0 0 0,-29 12 6 0 0,1 1 0 0 0,0 0-1 0 0,0 0 1 0 0,0 0 0 0 0,0 1-1 0 0,0 0 1 0 0,0 0 0 0 0,0 1-1 0 0,0-1 1 0 0,0 2 0 0 0,0-1-1 0 0,0 1 1 0 0,-1 0 0 0 0,1 0-1 0 0,-1 1 1 0 0,9 4 0 0 0,-11-4-1 0 0,-1-1 1 0 0,1 1 0 0 0,-1 0 0 0 0,1 0 0 0 0,-1 0-1 0 0,0 0 1 0 0,0 0 0 0 0,-1 1 0 0 0,1-1-1 0 0,-1 1 1 0 0,1 0 0 0 0,-1 0 0 0 0,3 7 0 0 0,-3-4-223 0 0,0 0 1 0 0,-1 1-1 0 0,1-1 1 0 0,-1 0 0 0 0,-1 0-1 0 0,1 1 1 0 0,-2 12-1 0 0,-1-5-767 0 0,-1 0-1 0 0,0 0 0 0 0,0 0 0 0 0,-2 0 0 0 0,0 0 0 0 0,-1-1 0 0 0,-9 18 0 0 0,5-15-1533 0 0,0 1-574 0 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3.2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7 29 756 0 0,'-2'-2'2012'0'0,"-5"-9"744"0"0,6 9-2392 0 0,0 1-1 0 0,1 0 1 0 0,-1-1-1 0 0,0 1 1 0 0,0 0 0 0 0,0 0-1 0 0,0 0 1 0 0,0 0 0 0 0,0 0-1 0 0,0 0 1 0 0,-2-1 0 0 0,-2 6 843 0 0,0 13-827 0 0,0 27 568 0 0,2 0-1 0 0,5 68 1 0 0,-1-33-589 0 0,-9 88-319 0 0,5-141-829 0 0,-1 0 1 0 0,-2 0 0 0 0,0 0-1 0 0,-14 33 1 0 0,19-56 349 0 0,0-1 0 0 0,-1 1 0 0 0,1-1 0 0 0,0 1 1 0 0,-1-1-1 0 0,0 0 0 0 0,1 0 0 0 0,-1 0 0 0 0,0 1 0 0 0,0-2 0 0 0,-4 4 1 0 0</inkml:trace>
</inkml:ink>
</file>

<file path=ppt/ink/ink7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25.1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9 1940 0 0,'3'1'3873'0'0,"35"-1"1420"0"0,17-9-3958 0 0,1 0-891 0 0,107-2-1493 0 0,-134 11-2066 0 0,49 7 1 0 0,-58-4-89 0 0</inkml:trace>
</inkml:ink>
</file>

<file path=ppt/ink/ink7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25.5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9 19 256 0 0,'-94'82'11916'0'0,"80"-67"-7660"0"0,17-15-3348 0 0,102-30 2166 0 0,150-35-1254 0 0,-218 56-1975 0 0,-27 6-645 0 0,1 1 0 0 0,-1 0 0 0 0,1 0-1 0 0,-1 1 1 0 0,19 0 0 0 0,-29 1 572 0 0,1 0 0 0 0,-1 0 0 0 0,1 0 0 0 0,-1 0 0 0 0,1 0 0 0 0,0 0 0 0 0,-1 0 0 0 0,1 0 1 0 0,-1 0-1 0 0,1 1 0 0 0,-1-1 0 0 0,1 0 0 0 0</inkml:trace>
</inkml:ink>
</file>

<file path=ppt/ink/ink7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28.7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9 24 1360 0 0,'-78'22'10625'0'0,"96"-23"-10371"0"0,1-1 0 0 0,27-7 0 0 0,-1 1-148 0 0,18-2-349 0 0,37-5-5749 0 0</inkml:trace>
</inkml:ink>
</file>

<file path=ppt/ink/ink7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29.0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 24 936 0 0,'-34'36'9366'0'0,"35"-35"-9207"0"0,0 0-1 0 0,1 0 1 0 0,-1-1-1 0 0,0 1 1 0 0,1 0-1 0 0,-1-1 1 0 0,0 1-1 0 0,1-1 1 0 0,-1 0 0 0 0,0 1-1 0 0,1-1 1 0 0,-1 0-1 0 0,1 0 1 0 0,-1 0-1 0 0,1 0 1 0 0,-1 0-1 0 0,3-1 1 0 0,29-6 299 0 0,-21 4 42 0 0,81-16 847 0 0,63-16-2661 0 0,-153 34 602 0 0,5 6-1906 0 0</inkml:trace>
</inkml:ink>
</file>

<file path=ppt/ink/ink7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29.4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0 980 0 0,'10'-15'7256'0'0,"-8"28"-7027"0"0,1-1 0 0 0,0 1 1 0 0,1 0-1 0 0,0-1 0 0 0,1 0 0 0 0,0 0 0 0 0,1 0 0 0 0,0-1 0 0 0,1 0 1 0 0,0 0-1 0 0,1-1 0 0 0,0 1 0 0 0,1-2 0 0 0,0 1 0 0 0,0-1 1 0 0,1-1-1 0 0,0 0 0 0 0,1 0 0 0 0,0-1 0 0 0,0 0 0 0 0,1-1 0 0 0,22 9 1 0 0,-23-11-178 0 0,2 0 1 0 0,-1-1 0 0 0,0-1-1 0 0,0 0 1 0 0,1 0-1 0 0,-1-1 1 0 0,1-1 0 0 0,0 0-1 0 0,21-4 1 0 0,-26 3-40 0 0,-1-1-1 0 0,0 0 1 0 0,1 0-1 0 0,-1 0 1 0 0,0-1 0 0 0,0-1-1 0 0,-1 1 1 0 0,1-1 0 0 0,-1 0-1 0 0,0 0 1 0 0,0-1-1 0 0,0 1 1 0 0,0-2 0 0 0,-1 1-1 0 0,0 0 1 0 0,0-1-1 0 0,6-10 1 0 0,0-5 45 0 0,-1 0 1 0 0,-1-1-1 0 0,0-1 0 0 0,-2 1 0 0 0,6-35 1 0 0,-11 48 82 0 0,1-7 193 0 0,-6 22 324 0 0,-7 26 281 0 0,3 3-416 0 0,2 0 1 0 0,0 62 0 0 0,10 72-167 0 0,-1-90-413 0 0,0 53-5068 0 0,-6-123 3112 0 0</inkml:trace>
</inkml:ink>
</file>

<file path=ppt/ink/ink7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4:56:29.7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5 1 1716 0 0,'-14'9'4177'0'0,"-2"9"-3211"0"0,1 0 0 0 0,1 1 0 0 0,0 1 0 0 0,2 0 0 0 0,0 1 0 0 0,-12 32-1 0 0,13-34 25 0 0,9-16-309 0 0,6-12-543 0 0,8-13-96 0 0,2 0 1 0 0,0 1-1 0 0,1 0 0 0 0,2 1 0 0 0,21-22 0 0 0,-34 40-24 0 0,-1-1 1 0 0,1 0-1 0 0,-1 1 0 0 0,1 0 0 0 0,0 0 1 0 0,0 0-1 0 0,0 0 0 0 0,0 1 0 0 0,0-1 1 0 0,0 1-1 0 0,1 0 0 0 0,-1 0 0 0 0,0 1 1 0 0,1-1-1 0 0,-1 1 0 0 0,0 0 0 0 0,1 0 1 0 0,-1 1-1 0 0,0-1 0 0 0,1 1 0 0 0,-1 0 1 0 0,0 0-1 0 0,0 0 0 0 0,6 3 0 0 0,8 4-57 0 0,-1 1-1 0 0,0 0 0 0 0,-1 1 1 0 0,19 15-1 0 0,-20-14-277 0 0,-4-3-598 0 0,1 1 0 0 0,18 19 0 0 0,-25-21-532 0 0,1-1 1 0 0,-1 1-1 0 0,6 10 0 0 0,-5-6-2274 0 0</inkml:trace>
</inkml:ink>
</file>

<file path=ppt/ink/ink7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08.4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 0 1704 0 0,'0'0'2058'0'0,"-1"0"-1853"0"0,1 0 1 0 0,-1 0-1 0 0,0 0 0 0 0,1 0 0 0 0,-1 1 0 0 0,0-1 0 0 0,1 0 0 0 0,-1 0 1 0 0,1 0-1 0 0,-1 1 0 0 0,1-1 0 0 0,-1 0 0 0 0,0 1 0 0 0,1-1 0 0 0,-1 0 0 0 0,0 2 411 0 0,1-2-411 0 0,-1 1 0 0 0,0 12 1167 0 0,0 0 0 0 0,1-1 1 0 0,2 15-1 0 0,16 75 1973 0 0,-7-50-2325 0 0,11 70 38 0 0,14 71-356 0 0,-19-64-3880 0 0,-16-108 1956 0 0,-1-5-1018 0 0,1-3-2981 0 0</inkml:trace>
</inkml:ink>
</file>

<file path=ppt/ink/ink7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08.7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56 496 0 0,'0'0'4853'0'0,"0"0"-4699"0"0,0-1 0 0 0,0 0-1 0 0,0 1 1 0 0,0-1 0 0 0,0 1-1 0 0,1-1 1 0 0,-1 1 0 0 0,0-1 0 0 0,0 0-1 0 0,1 1 1 0 0,-1-1 0 0 0,0 1-1 0 0,1-1 1 0 0,-1 1 0 0 0,0 0 0 0 0,1-1-1 0 0,-1 1 1 0 0,1-1 0 0 0,-1 1-1 0 0,1 0 1 0 0,0-1 0 0 0,120-25 3747 0 0,-56 10-2951 0 0,-1-3 0 0 0,86-36-1 0 0,-79 28 1314 0 0,-70 27-2174 0 0,1-1 0 0 0,-1 1 1 0 0,1 0-1 0 0,-1-1 1 0 0,0 1-1 0 0,1 0 1 0 0,-1 0-1 0 0,1 0 0 0 0,-1 1 1 0 0,1-1-1 0 0,-1 0 1 0 0,1 0-1 0 0,-1 1 0 0 0,0-1 1 0 0,1 1-1 0 0,-1-1 1 0 0,0 1-1 0 0,1 0 1 0 0,-1 0-1 0 0,0-1 0 0 0,0 1 1 0 0,0 0-1 0 0,1 0 1 0 0,-1 0-1 0 0,0 0 0 0 0,0 0 1 0 0,-1 0-1 0 0,1 1 1 0 0,0-1-1 0 0,0 0 0 0 0,0 0 1 0 0,-1 1-1 0 0,1-1 1 0 0,-1 0-1 0 0,1 1 1 0 0,0 2-1 0 0,2 5 308 0 0,-1 1 1 0 0,0 0-1 0 0,0-1 0 0 0,-1 12 1 0 0,0-15-189 0 0,11 166 1988 0 0,-4-47-2827 0 0,4 0-4297 0 0,-11-120 4192 0 0,-1 0 0 0 0,1 0 1 0 0,1 0-1 0 0,-1 0 0 0 0,1 0 0 0 0,0-1 1 0 0,0 1-1 0 0,0-1 0 0 0,5 7 0 0 0,-7-10 539 0 0,1-1-1 0 0,0 0 0 0 0,-1 0 0 0 0,1 1 1 0 0,0-1-1 0 0,-1 0 0 0 0,1 0 0 0 0,-1 0 1 0 0,1 0-1 0 0,0 0 0 0 0,-1 0 1 0 0,1 0-1 0 0,0 0 0 0 0,-1 0 0 0 0,1 0 1 0 0,0 0-1 0 0,-1 0 0 0 0,1-1 0 0 0,-1 1 1 0 0,1 0-1 0 0,0 0 0 0 0,-1-1 0 0 0,1 1 1 0 0,-1 0-1 0 0,2-1 0 0 0</inkml:trace>
</inkml:ink>
</file>

<file path=ppt/ink/ink7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09.1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 92 792 0 0,'8'-22'8111'0'0,"-12"25"-7879"0"0,1 0 0 0 0,0 0 0 0 0,0 0 0 0 0,0 1 0 0 0,0-1-1 0 0,0 1 1 0 0,1-1 0 0 0,0 1 0 0 0,0 0 0 0 0,0 0-1 0 0,0 0 1 0 0,0 1 0 0 0,1-1 0 0 0,0 0 0 0 0,0 0 0 0 0,0 1-1 0 0,0-1 1 0 0,1 1 0 0 0,0-1 0 0 0,0 1 0 0 0,1 7-1 0 0,-1-4-68 0 0,1 0 1 0 0,0 1-1 0 0,1-1 0 0 0,-1 0 0 0 0,2 0 0 0 0,-1 0 0 0 0,1-1 0 0 0,1 1 0 0 0,-1 0 0 0 0,1-1 0 0 0,7 9 0 0 0,-7-10-84 0 0,0-1 0 0 0,1 0-1 0 0,0-1 1 0 0,0 1 0 0 0,0-1-1 0 0,0 0 1 0 0,1 0 0 0 0,0 0-1 0 0,0-1 1 0 0,0 0 0 0 0,0 0 0 0 0,0-1-1 0 0,9 3 1 0 0,-11-4-37 0 0,-1-1-1 0 0,0 1 1 0 0,1-1-1 0 0,-1 0 1 0 0,1 0 0 0 0,-1 0-1 0 0,0 0 1 0 0,1-1 0 0 0,-1 1-1 0 0,0-1 1 0 0,1 0 0 0 0,-1 0-1 0 0,0 0 1 0 0,0-1 0 0 0,0 1-1 0 0,0-1 1 0 0,0 1 0 0 0,0-1-1 0 0,0 0 1 0 0,-1 0-1 0 0,1-1 1 0 0,-1 1 0 0 0,1 0-1 0 0,-1-1 1 0 0,0 1 0 0 0,0-1-1 0 0,0 0 1 0 0,2-4 0 0 0,-1 2 1 0 0,0 0 0 0 0,0 0 1 0 0,-1-1-1 0 0,1 1 0 0 0,-1-1 0 0 0,0 0 1 0 0,-1 0-1 0 0,1 0 0 0 0,-1 0 0 0 0,-1 0 1 0 0,1 0-1 0 0,-1 0 0 0 0,0 0 1 0 0,0 0-1 0 0,-1 0 0 0 0,0 0 0 0 0,0 0 1 0 0,0 0-1 0 0,-1 0 0 0 0,1 0 1 0 0,-2 1-1 0 0,1-1 0 0 0,0 0 0 0 0,-1 1 1 0 0,0 0-1 0 0,-7-9 0 0 0,2 4-337 0 0,-1 0 0 0 0,0 0 0 0 0,-1 1 0 0 0,0 0 0 0 0,0 1 0 0 0,-1 0 0 0 0,0 1 0 0 0,0 0 0 0 0,-1 1 0 0 0,0 0 0 0 0,-16-6-1 0 0,-15-2-3584 0 0,40 13 2712 0 0,-11-3-4231 0 0</inkml:trace>
</inkml:ink>
</file>

<file path=ppt/ink/ink7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09.4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3 836 0 0,'4'0'1884'0'0,"-1"0"-1376"0"0,1-1 96 0 0,-1 1 0 0 0,1 0 0 0 0,-1 1 0 0 0,1-1 0 0 0,-1 1 0 0 0,1-1 0 0 0,-1 1 0 0 0,1 0 0 0 0,3 2 0 0 0,-5-1-370 0 0,-1-1-1 0 0,0 1 1 0 0,1 0-1 0 0,-1 0 1 0 0,0 0-1 0 0,0 0 0 0 0,0 0 1 0 0,0 0-1 0 0,-1 0 1 0 0,1 1-1 0 0,0-1 1 0 0,-1 0-1 0 0,0 0 1 0 0,1 0-1 0 0,-1 1 1 0 0,0-1-1 0 0,0 0 1 0 0,-1 4-1 0 0,2 3 271 0 0,1 17 279 0 0,1 1 1 0 0,1-1-1 0 0,10 32 0 0 0,-10-47-694 0 0,0 1-1 0 0,1 0 0 0 0,1-1 1 0 0,0 0-1 0 0,0-1 0 0 0,1 1 0 0 0,0-1 1 0 0,0 0-1 0 0,12 10 0 0 0,-18-18-110 0 0,1-1 1 0 0,-1 1-1 0 0,1-1 0 0 0,-1 1 0 0 0,1-1 0 0 0,0 0 0 0 0,0 0 0 0 0,-1 0 0 0 0,1 0 0 0 0,0 0 1 0 0,0 0-1 0 0,0 0 0 0 0,0-1 0 0 0,0 1 0 0 0,0-1 0 0 0,0 1 0 0 0,0-1 0 0 0,1 0 1 0 0,-1 0-1 0 0,0 0 0 0 0,0 0 0 0 0,0 0 0 0 0,0 0 0 0 0,0-1 0 0 0,0 1 0 0 0,0-1 0 0 0,0 1 1 0 0,0-1-1 0 0,0 0 0 0 0,0 0 0 0 0,0 0 0 0 0,0 0 0 0 0,0 0 0 0 0,-1 0 0 0 0,3-2 1 0 0,0-1-138 0 0,0 0 1 0 0,0 0-1 0 0,0 0 1 0 0,-1-1-1 0 0,1 1 1 0 0,-1-1 0 0 0,0 0-1 0 0,0 0 1 0 0,-1 0-1 0 0,0-1 1 0 0,3-8-1 0 0,-4 12-20 0 0,-3 2-404 0 0,2 0 582 0 0,0 0-1 0 0,-1 1 1 0 0,1-1 0 0 0,0 0 0 0 0,-1 0-1 0 0,1 0 1 0 0,0 1 0 0 0,-1-1 0 0 0,1 0-1 0 0,0 0 1 0 0,0 1 0 0 0,-1-1 0 0 0,1 0-1 0 0,0 1 1 0 0,0-1 0 0 0,0 0 0 0 0,-1 1-1 0 0,1-1 1 0 0,0 0 0 0 0,0 1-1 0 0,0-1 1 0 0,0 0 0 0 0,0 1 0 0 0,0-1-1 0 0,0 1 1 0 0,0-1 0 0 0,0 0 0 0 0,0 1-1 0 0,0-1 1 0 0,0 1 0 0 0,0-1 0 0 0,0 0-1 0 0,0 1 1 0 0,0-1 0 0 0,0 0 0 0 0,0 1-1 0 0,1-1 1 0 0,-1 0 0 0 0,0 1-1 0 0,0-1 1 0 0,0 0 0 0 0,1 1 0 0 0,-1-1-1 0 0,0 0 1 0 0,1 1 0 0 0,9 18 254 0 0,-5-13-123 0 0,-1-1-1 0 0,1 0 1 0 0,0 0 0 0 0,0 0-1 0 0,1-1 1 0 0,-1 0 0 0 0,1 0-1 0 0,0 0 1 0 0,0-1-1 0 0,0 0 1 0 0,1 0 0 0 0,-1 0-1 0 0,1-1 1 0 0,-1 0 0 0 0,1 0-1 0 0,7 0 1 0 0,-7 0 93 0 0,1-1 0 0 0,-1 0 0 0 0,0-1 0 0 0,0 0 0 0 0,1 0 0 0 0,-1 0 0 0 0,0-1 0 0 0,0 0 0 0 0,0-1 0 0 0,1 1 0 0 0,-1-1 0 0 0,-1-1 0 0 0,1 1 0 0 0,0-1 1 0 0,8-5-1 0 0,-13 6-100 0 0,1 0 0 0 0,0 0 1 0 0,-1-1-1 0 0,1 1 1 0 0,-1-1-1 0 0,0 0 0 0 0,0 1 1 0 0,0-1-1 0 0,0 0 1 0 0,0 0-1 0 0,-1-1 0 0 0,1 1 1 0 0,-1 0-1 0 0,2-6 1 0 0,-2 3 19 0 0,0-1 1 0 0,0 1 0 0 0,0-1 0 0 0,-1 0 0 0 0,0 1 0 0 0,-1-1-1 0 0,-1-8 1 0 0,-1-2 81 0 0,-2 0 0 0 0,0 0 0 0 0,-1 0 0 0 0,-14-29 0 0 0,12 31-352 0 0,0 0 0 0 0,-1 1 0 0 0,-20-25 0 0 0,23 33-627 0 0,0 0-1 0 0,0 1 1 0 0,0 0 0 0 0,-9-6-1 0 0,10 8-783 0 0,0 0-1 0 0,-1 0 0 0 0,1 1 1 0 0,-1 0-1 0 0,0 0 1 0 0,-9-2-1 0 0,-8-1-5874 0 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4.1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0 134 904 0 0,'-43'-37'5817'0'0,"42"37"-5775"0"0,1-1 0 0 0,-1 1 0 0 0,1 0 0 0 0,0-1 0 0 0,-1 1 0 0 0,1-1 0 0 0,-1 1 0 0 0,1 0 0 0 0,0-1 0 0 0,-1 1 0 0 0,1-1 0 0 0,0 1 0 0 0,0-1 0 0 0,-1 1 0 0 0,1-1 0 0 0,0 1 0 0 0,0-1 0 0 0,0 0 0 0 0,0 1 0 0 0,0-1 0 0 0,0 1 0 0 0,0-1 0 0 0,0 1 0 0 0,0-1 0 0 0,0 0 0 0 0,0 1 0 0 0,0-1 1 0 0,0 1-1 0 0,0-1 0 0 0,0 1 0 0 0,0-1 0 0 0,1 1 0 0 0,-1-1 0 0 0,0 1 0 0 0,0-1 0 0 0,1 1 0 0 0,0-2 0 0 0,15-11 414 0 0,2 6-205 0 0,1 0 0 0 0,0 1 0 0 0,36-6-1 0 0,63-1 304 0 0,-58 8-206 0 0,133-8 712 0 0,-150 12-733 0 0,1 3 0 0 0,61 10 0 0 0,-93-10-251 0 0,0 1 1 0 0,-1 0-1 0 0,0 1 0 0 0,0 0 1 0 0,0 1-1 0 0,0 1 0 0 0,-1-1 1 0 0,1 1-1 0 0,-2 1 1 0 0,1 0-1 0 0,-1 0 0 0 0,13 14 1 0 0,-16-15-47 0 0,-1 0 0 0 0,0 1 0 0 0,0 0-1 0 0,0 0 1 0 0,-1 0 0 0 0,0 1 0 0 0,0-1 0 0 0,-1 1 0 0 0,0 0 0 0 0,-1 0 0 0 0,1 0 0 0 0,-2 0 0 0 0,1 0 0 0 0,-1 1 0 0 0,0-1 0 0 0,-1 0-1 0 0,0 1 1 0 0,-1 13 0 0 0,0-17-10 0 0,0-1-1 0 0,0 1 0 0 0,0 0 0 0 0,0-1 0 0 0,-1 1 1 0 0,0 0-1 0 0,0-1 0 0 0,0 0 0 0 0,0 1 1 0 0,-1-1-1 0 0,1 0 0 0 0,-1 0 0 0 0,0-1 1 0 0,-1 1-1 0 0,1-1 0 0 0,0 1 0 0 0,-1-1 0 0 0,0 0 1 0 0,0 0-1 0 0,0 0 0 0 0,0-1 0 0 0,0 0 1 0 0,-1 0-1 0 0,-8 3 0 0 0,11-4-21 0 0,0-1 0 0 0,0 0 0 0 0,0 0 0 0 0,0 0-1 0 0,-1 0 1 0 0,1-1 0 0 0,0 1 0 0 0,0-1 0 0 0,0 1 0 0 0,0-1 0 0 0,0 1 0 0 0,0-1 0 0 0,0 0-1 0 0,1 0 1 0 0,-1 0 0 0 0,0 0 0 0 0,0-1 0 0 0,1 1 0 0 0,-1 0 0 0 0,0-1 0 0 0,1 1 0 0 0,0-1-1 0 0,-1 1 1 0 0,1-1 0 0 0,0 0 0 0 0,0 0 0 0 0,0 1 0 0 0,0-1 0 0 0,0 0 0 0 0,0 0 0 0 0,0 0-1 0 0,1 0 1 0 0,-1 0 0 0 0,1 0 0 0 0,-1-3 0 0 0,1-1-34 0 0,0 0 0 0 0,1 1 0 0 0,0-1 0 0 0,0 1 0 0 0,0-1 1 0 0,1 1-1 0 0,-1-1 0 0 0,1 1 0 0 0,1 0 0 0 0,-1 0 0 0 0,1 0 0 0 0,0 0 0 0 0,0 0 0 0 0,0 1 0 0 0,6-7 1 0 0,0 0-26 0 0,1 2 1 0 0,0-1-1 0 0,0 1 1 0 0,1 0-1 0 0,15-9 1 0 0,-9 9 24 0 0,0 0 0 0 0,1 1 0 0 0,1 1 0 0 0,-1 0 0 0 0,1 2 0 0 0,0 0 0 0 0,25-3 0 0 0,139-4-4 0 0,-88 9 160 0 0,-52-4 123 0 0,-41 7-245 0 0,0-1-1 0 0,1 1 1 0 0,-1-1 0 0 0,0 0 0 0 0,0 0 0 0 0,0 0-1 0 0,0 0 1 0 0,0-1 0 0 0,-1 1 0 0 0,1 0-1 0 0,0-1 1 0 0,0 0 0 0 0,-1 1 0 0 0,1-1 0 0 0,-1 0-1 0 0,0 1 1 0 0,2-4 0 0 0,-2 4-7 0 0,0 0 0 0 0,-1-1 0 0 0,1 1 0 0 0,-1-1 0 0 0,1 1 0 0 0,-1-1 0 0 0,1 1 0 0 0,-1-1 0 0 0,0 1 0 0 0,0-1 0 0 0,0 1 0 0 0,0-1 0 0 0,0 0 0 0 0,0 1 0 0 0,-1-4 0 0 0,1 5 4 0 0,0-1-1 0 0,-1 0 0 0 0,1 0 0 0 0,-1 0 0 0 0,1 1 1 0 0,-1-1-1 0 0,0 0 0 0 0,1 0 0 0 0,-1 1 0 0 0,0-1 1 0 0,1 1-1 0 0,-1-1 0 0 0,0 0 0 0 0,0 1 0 0 0,1 0 1 0 0,-1-1-1 0 0,0 1 0 0 0,-2-1 0 0 0,-1 0-10 0 0,0 0-1 0 0,-1 0 1 0 0,1 1-1 0 0,0 0 1 0 0,-1 0-1 0 0,-8 0 1 0 0,11 1 12 0 0,-10 0 23 0 0,-1 1 1 0 0,1 1-1 0 0,0 0 0 0 0,0 1 0 0 0,0 0 0 0 0,0 1 1 0 0,1 0-1 0 0,0 0 0 0 0,0 2 0 0 0,0-1 0 0 0,1 2 1 0 0,-14 10-1 0 0,13-8 101 0 0,1 0 0 0 0,0 0 0 0 0,1 1 0 0 0,0 0-1 0 0,1 0 1 0 0,0 1 0 0 0,0 0 0 0 0,2 1 0 0 0,-1-1 0 0 0,-6 23 0 0 0,11-31-56 0 0,1 0 0 0 0,0 1 0 0 0,0-1 1 0 0,1 0-1 0 0,-1 0 0 0 0,1 0 0 0 0,0 1 0 0 0,0-1 0 0 0,0 0 0 0 0,0 0 0 0 0,1 1 1 0 0,0-1-1 0 0,0 0 0 0 0,0 0 0 0 0,0 0 0 0 0,1 0 0 0 0,0 0 0 0 0,3 6 1 0 0,-3-7-30 0 0,1 0 1 0 0,-1 0 0 0 0,1 0 0 0 0,0-1 0 0 0,0 1 0 0 0,0-1 0 0 0,0 0 0 0 0,0 0 0 0 0,1 0 0 0 0,-1 0 0 0 0,0-1 0 0 0,1 1 0 0 0,-1-1-1 0 0,1 0 1 0 0,0 0 0 0 0,-1 0 0 0 0,1 0 0 0 0,0-1 0 0 0,0 1 0 0 0,7-1 0 0 0,0-1-80 0 0,-1 0 1 0 0,1 0-1 0 0,0-1 1 0 0,0-1-1 0 0,-1 0 0 0 0,0 0 1 0 0,1-1-1 0 0,-1 0 1 0 0,0-1-1 0 0,-1 0 1 0 0,1 0-1 0 0,11-10 0 0 0,4-5-253 0 0,0-2 0 0 0,40-44-1 0 0,-20 6-140 0 0,-45 59 432 0 0,0 1 0 0 0,1-1 0 0 0,-1 1 0 0 0,0 0 0 0 0,1-1 0 0 0,-1 1 0 0 0,0-1 0 0 0,0 1-1 0 0,0-1 1 0 0,1 1 0 0 0,-1-1 0 0 0,0 1 0 0 0,0-1 0 0 0,0 1 0 0 0,0-1 0 0 0,0 1 0 0 0,0-1 0 0 0,0 1 0 0 0,0-1 0 0 0,0 1 0 0 0,0-1 0 0 0,0 1 0 0 0,0-1 0 0 0,0 1-1 0 0,-1-1 1 0 0,1 1 0 0 0,0-1 0 0 0,0 1 0 0 0,-1-1 0 0 0,1 1 0 0 0,0-1 0 0 0,0 1 0 0 0,-1-1 0 0 0,1 1 0 0 0,0 0 0 0 0,-1-1 0 0 0,1 1 0 0 0,-1 0 0 0 0,1-1-1 0 0,-1 1 1 0 0,1 0 0 0 0,0 0 0 0 0,-1-1 0 0 0,1 1 0 0 0,-1 0 0 0 0,1 0 0 0 0,-1 0 0 0 0,1-1 0 0 0,-1 1 0 0 0,1 0 0 0 0,-1 0 0 0 0,1 0 0 0 0,-1 0 0 0 0,1 0 0 0 0,-1 0-1 0 0,0 0 1 0 0,1 0 0 0 0,-1 1 0 0 0,1-1 0 0 0,-1 0 0 0 0,1 0 0 0 0,-1 1 0 0 0,-2 1 7 0 0,0 0-1 0 0,1 0 1 0 0,0 1 0 0 0,-1 0-1 0 0,1-1 1 0 0,0 1-1 0 0,0 0 1 0 0,1 0 0 0 0,-1 0-1 0 0,1 0 1 0 0,-1 0 0 0 0,1 1-1 0 0,0-1 1 0 0,0 0-1 0 0,0 1 1 0 0,1-1 0 0 0,-1 0-1 0 0,1 1 1 0 0,0 6 0 0 0,0-6 10 0 0,0 0 0 0 0,1 0 0 0 0,0 0 0 0 0,-1 1 0 0 0,2-1 0 0 0,-1 0 0 0 0,0 0 0 0 0,1-1 0 0 0,-1 1 0 0 0,1 0 0 0 0,0 0 0 0 0,1-1 0 0 0,-1 1 0 0 0,1-1 0 0 0,-1 0 0 0 0,5 4 0 0 0,-4-5-39 0 0,0 1 0 0 0,1-1 0 0 0,-1 0 0 0 0,1-1 0 0 0,0 1 0 0 0,-1-1-1 0 0,1 0 1 0 0,0 1 0 0 0,0-2 0 0 0,0 1 0 0 0,-1 0 0 0 0,9-1 0 0 0,-6 1-42 0 0,1-1-1 0 0,-1-1 1 0 0,0 1 0 0 0,1-1-1 0 0,-1 0 1 0 0,0 0 0 0 0,7-3 0 0 0,1-3 35 0 0,1-1 1 0 0,-1 0-1 0 0,-1-1 0 0 0,1 0 1 0 0,-2-1-1 0 0,22-21 1 0 0,14-10 2600 0 0,-27 23-1291 0 0,-20 18-1263 0 0,0 0 0 0 0,-1 0 0 0 0,1 0-1 0 0,0 0 1 0 0,-1 0 0 0 0,1 0 0 0 0,0 1-1 0 0,-1-1 1 0 0,1 0 0 0 0,0 1 0 0 0,-1-1-1 0 0,1 0 1 0 0,-1 1 0 0 0,1-1 0 0 0,-1 0-1 0 0,1 1 1 0 0,-1-1 0 0 0,1 1 0 0 0,-1-1-1 0 0,1 1 1 0 0,-1-1 0 0 0,1 1 0 0 0,-1 0-1 0 0,0-1 1 0 0,1 1 0 0 0,-1-1 0 0 0,0 1-1 0 0,0 0 1 0 0,1 0 0 0 0,2 23 193 0 0,-2-17-195 0 0,2 43-717 0 0,-3 51 0 0 0,-1-43-4431 0 0,-1-41 174 0 0</inkml:trace>
</inkml:ink>
</file>

<file path=ppt/ink/ink7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10.4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 0 2000 0 0,'-6'25'2262'0'0,"0"0"0"0"0,1 0 0 0 0,-1 45-1 0 0,5 77 694 0 0,2-135-2596 0 0,29 319 4390 0 0,-23-279-4125 0 0,-7-12 1238 0 0,0-38-1557 0 0,-4-13 119 0 0,3 6-393 0 0,-1-1 1 0 0,1 0-1 0 0,0 0 0 0 0,1 0 1 0 0,0 0-1 0 0,0 0 0 0 0,0 0 1 0 0,0 0-1 0 0,1 0 1 0 0,2-7-1 0 0,2-11-20 0 0,11-25 0 0 0,-12 36-16 0 0,2-3-3 0 0,0 1 1 0 0,0 0 0 0 0,2 0 0 0 0,0 0-1 0 0,0 1 1 0 0,1 0 0 0 0,22-24-1 0 0,-28 34-6 0 0,1 1 0 0 0,-1-1 0 0 0,1 1 0 0 0,-1 0 0 0 0,1 0-1 0 0,0 1 1 0 0,0-1 0 0 0,1 1 0 0 0,-1 0 0 0 0,0 0-1 0 0,1 0 1 0 0,-1 0 0 0 0,1 1 0 0 0,0 0 0 0 0,-1 0 0 0 0,1 0-1 0 0,0 1 1 0 0,0-1 0 0 0,-1 1 0 0 0,1 0 0 0 0,0 1-1 0 0,0-1 1 0 0,0 1 0 0 0,-1 0 0 0 0,1 0 0 0 0,0 0 0 0 0,-1 1-1 0 0,1 0 1 0 0,-1-1 0 0 0,0 2 0 0 0,7 3 0 0 0,0 1-265 0 0,1 2 0 0 0,-1-1 1 0 0,0 1-1 0 0,-1 1 0 0 0,13 15 0 0 0,39 58-2575 0 0,-45-57 919 0 0,1-2 0 0 0,35 37-1 0 0,-51-59 1745 0 0,7 7-957 0 0,1 0 0 0 0,17 11 0 0 0,-23-17 774 0 0,0-1 1 0 0,0 0-1 0 0,0 0 1 0 0,0-1 0 0 0,0 1-1 0 0,1-1 1 0 0,-1 0-1 0 0,0 0 1 0 0,1 0 0 0 0,-1-1-1 0 0,7 1 1 0 0,6-2-949 0 0</inkml:trace>
</inkml:ink>
</file>

<file path=ppt/ink/ink7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11.1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3 361 1588 0 0,'90'-89'2947'0'0,"-81"78"-2261"0"0,0 1-1 0 0,-1-1 1 0 0,-1 0 0 0 0,0-1-1 0 0,0 0 1 0 0,-1 0 0 0 0,5-14-1 0 0,-11 25-610 0 0,0 0 0 0 0,1 0-1 0 0,-1 0 1 0 0,0 0-1 0 0,0 1 1 0 0,0-1 0 0 0,0 0-1 0 0,1 0 1 0 0,-1 0 0 0 0,0 0-1 0 0,-1 0 1 0 0,1 0-1 0 0,0 0 1 0 0,0 1 0 0 0,0-1-1 0 0,0 0 1 0 0,-1 0 0 0 0,1 0-1 0 0,0 0 1 0 0,-1 1-1 0 0,1-1 1 0 0,-1 0 0 0 0,1 0-1 0 0,-1 1 1 0 0,1-1 0 0 0,-2-1-1 0 0,1 1 26 0 0,-1 0-1 0 0,1 0 0 0 0,-1 1 1 0 0,0-1-1 0 0,1 0 1 0 0,-1 1-1 0 0,0-1 1 0 0,1 1-1 0 0,-1-1 0 0 0,0 1 1 0 0,0 0-1 0 0,-2-1 1 0 0,-3 1 160 0 0,-1 0 1 0 0,0 1 0 0 0,1-1 0 0 0,-14 4-1 0 0,3 1 28 0 0,0 1 0 0 0,1 1 0 0 0,0 0 0 0 0,0 1 0 0 0,-17 11 0 0 0,28-14-206 0 0,-1-1 1 0 0,1 1 0 0 0,-1-1 0 0 0,1 2 0 0 0,1-1 0 0 0,-1 1 0 0 0,1 0 0 0 0,0 0 0 0 0,0 0 0 0 0,0 1 0 0 0,1 0 0 0 0,0 0-1 0 0,1 0 1 0 0,-4 10 0 0 0,6-15-67 0 0,0 0-1 0 0,1 0 0 0 0,-1 0 1 0 0,1 0-1 0 0,-1 1 0 0 0,1-1 1 0 0,0 0-1 0 0,0 0 0 0 0,0 0 1 0 0,0 0-1 0 0,0 0 0 0 0,1 0 1 0 0,-1 0-1 0 0,1 0 0 0 0,-1 0 1 0 0,1 0-1 0 0,0 0 0 0 0,-1 0 1 0 0,1 0-1 0 0,0 0 0 0 0,0 0 1 0 0,1-1-1 0 0,-1 1 0 0 0,0 0 1 0 0,0-1-1 0 0,1 1 0 0 0,-1-1 1 0 0,1 0-1 0 0,0 1 0 0 0,-1-1 1 0 0,1 0-1 0 0,0 0 0 0 0,0 0 1 0 0,0 0-1 0 0,-1 0 0 0 0,1 0 1 0 0,0-1-1 0 0,3 2 0 0 0,1-1-79 0 0,0 0-1 0 0,0 0 0 0 0,0 0 0 0 0,0-1 0 0 0,0 0 0 0 0,0 0 0 0 0,0 0 0 0 0,-1-1 0 0 0,1 0 1 0 0,0 0-1 0 0,0 0 0 0 0,7-4 0 0 0,2-2-210 0 0,-1-2 1 0 0,-1 0-1 0 0,1 0 1 0 0,-1-1-1 0 0,-1-1 0 0 0,0 0 1 0 0,18-22-1 0 0,-18 20 266 0 0,12-20 239 0 0,-23 31 155 0 0,-2 4-198 0 0,-2 7-39 0 0,0 0 0 0 0,0 0 0 0 0,1 0 0 0 0,0 0 1 0 0,1 0-1 0 0,0 1 0 0 0,0-1 0 0 0,1 0 0 0 0,0 1 0 0 0,1-1 1 0 0,0 0-1 0 0,0 0 0 0 0,3 10 0 0 0,-1-9-61 0 0,-1 0 1 0 0,2 1-1 0 0,0-1 0 0 0,0-1 1 0 0,0 1-1 0 0,2-1 0 0 0,-1 0 1 0 0,1 0-1 0 0,0 0 0 0 0,1-1 1 0 0,11 12-1 0 0,-14-16-82 0 0,0-1 0 0 0,1 0 0 0 0,-1 0 0 0 0,1 0 1 0 0,-1 0-1 0 0,1-1 0 0 0,0 0 0 0 0,0 0 0 0 0,0 0 0 0 0,0 0 0 0 0,0-1 0 0 0,0 0 0 0 0,1 0 1 0 0,-1-1-1 0 0,0 1 0 0 0,1-1 0 0 0,-1 0 0 0 0,0-1 0 0 0,0 1 0 0 0,1-1 0 0 0,-1 0 0 0 0,0 0 0 0 0,0-1 1 0 0,0 1-1 0 0,0-1 0 0 0,0 0 0 0 0,8-5 0 0 0,1-1-80 0 0,-1-1 0 0 0,-1 0 0 0 0,1 0 0 0 0,-2-2 0 0 0,1 1 0 0 0,-2-1 1 0 0,1-1-1 0 0,11-17 0 0 0,3-7 6 0 0,-4 6 254 0 0,25-29 1 0 0,-46 58-177 0 0,1 1 0 0 0,-1-1 1 0 0,1 1-1 0 0,-1-1 1 0 0,1 1-1 0 0,-1-1 0 0 0,1 1 1 0 0,-1-1-1 0 0,1 1 0 0 0,-1-1 1 0 0,1 1-1 0 0,0 0 1 0 0,-1-1-1 0 0,1 1 0 0 0,0 0 1 0 0,-1-1-1 0 0,1 1 0 0 0,0 0 1 0 0,-1 0-1 0 0,1 0 1 0 0,0 0-1 0 0,1 0 0 0 0,-2 0-2 0 0,1 0 0 0 0,-1 1 0 0 0,1-1 0 0 0,-1 1 0 0 0,1-1-1 0 0,-1 1 1 0 0,1-1 0 0 0,-1 1 0 0 0,1-1 0 0 0,-1 1 0 0 0,0-1 0 0 0,1 1-1 0 0,-1 0 1 0 0,0-1 0 0 0,0 1 0 0 0,0-1 0 0 0,1 1 0 0 0,-1 0 0 0 0,0-1-1 0 0,0 2 1 0 0,2 46 159 0 0,-2-30-99 0 0,6 66 473 0 0,-4 1 0 0 0,-17 160 0 0 0,13-232-349 0 0,-1 0 1 0 0,1-1-1 0 0,-9 22 1 0 0,11-34-184 0 0,0 1 0 0 0,0-1 0 0 0,-1 1-1 0 0,1-1 1 0 0,0 1 0 0 0,0-1 0 0 0,0 1 0 0 0,-1-1 0 0 0,1 1 0 0 0,0-1-1 0 0,0 1 1 0 0,-1-1 0 0 0,1 1 0 0 0,-1-1 0 0 0,1 1 0 0 0,0-1 0 0 0,-1 0-1 0 0,1 1 1 0 0,-1-1 0 0 0,1 0 0 0 0,-1 1 0 0 0,1-1 0 0 0,-1 0 0 0 0,1 0-1 0 0,-1 1 1 0 0,1-1 0 0 0,-1 0 0 0 0,1 0 0 0 0,-1 0 0 0 0,0 0 0 0 0,1 0-1 0 0,-1 0 1 0 0,1 0 0 0 0,-1 0 0 0 0,1 0 0 0 0,-1 0 0 0 0,0 0 0 0 0,1 0 0 0 0,-1 0-1 0 0,1 0 1 0 0,-1 0 0 0 0,1-1 0 0 0,-1 1 0 0 0,1 0 0 0 0,-1 0 0 0 0,1-1-1 0 0,-1 1 1 0 0,1 0 0 0 0,-1-1 0 0 0,1 1 0 0 0,-1-1 0 0 0,1 1 0 0 0,0 0-1 0 0,-1-2 1 0 0,-2-1-20 0 0,0 0 1 0 0,1-1-1 0 0,0 1 0 0 0,-1-1 0 0 0,-1-5 0 0 0,-2-7-101 0 0,1 0 0 0 0,0 0 0 0 0,2 0 1 0 0,0-1-1 0 0,-1-30 0 0 0,3 4-124 0 0,5-48 0 0 0,1 44 86 0 0,2 0 0 0 0,21-78 0 0 0,-19 97 72 0 0,1 0 1 0 0,1 1-1 0 0,1 0 0 0 0,2 1 0 0 0,26-40 1 0 0,-32 56 39 0 0,0 0 1 0 0,0 1 0 0 0,1 0-1 0 0,0 0 1 0 0,1 1 0 0 0,0 0-1 0 0,21-12 1 0 0,-27 17 18 0 0,1 1 0 0 0,-1 0 0 0 0,1 0 0 0 0,-1 0 0 0 0,1 0-1 0 0,0 1 1 0 0,-1 0 0 0 0,1 0 0 0 0,0 0 0 0 0,0 0 0 0 0,0 1 0 0 0,0 0 0 0 0,0 0 0 0 0,0 0 0 0 0,0 1-1 0 0,0-1 1 0 0,0 1 0 0 0,0 0 0 0 0,-1 1 0 0 0,1-1 0 0 0,0 1 0 0 0,8 4 0 0 0,-11-4 13 0 0,1-1 0 0 0,-1 1 1 0 0,0-1-1 0 0,0 1 0 0 0,0 0 1 0 0,1 0-1 0 0,-2 0 1 0 0,1 0-1 0 0,0 0 0 0 0,0 0 1 0 0,-1 0-1 0 0,1 1 0 0 0,-1-1 1 0 0,0 1-1 0 0,0-1 0 0 0,0 1 1 0 0,0-1-1 0 0,0 1 0 0 0,0 0 1 0 0,-1-1-1 0 0,1 1 0 0 0,-1 0 1 0 0,0-1-1 0 0,0 1 0 0 0,0 0 1 0 0,0 0-1 0 0,0 0 0 0 0,0-1 1 0 0,-1 1-1 0 0,0 0 0 0 0,1-1 1 0 0,-1 1-1 0 0,0-1 0 0 0,0 1 1 0 0,0 0-1 0 0,-4 3 0 0 0,0 3 10 0 0,-1 0-1 0 0,0-1 0 0 0,0 1 0 0 0,-1-1 1 0 0,-1-1-1 0 0,1 0 0 0 0,-1 0 0 0 0,-12 8 1 0 0,2-3-229 0 0,-1-1 0 0 0,0-1 0 0 0,-1-1 0 0 0,-37 13 0 0 0,38-17-971 0 0,-1 0 0 0 0,-34 4 0 0 0,22-11-1568 0 0,31 3 2553 0 0,0-1 0 0 0,0 0 0 0 0,0 0 0 0 0,0 0 0 0 0,0-1 0 0 0,0 1 0 0 0,0 0 0 0 0,0 0 0 0 0,0 0 0 0 0,0-1 0 0 0,1 1 0 0 0,-1 0 0 0 0,0-1 0 0 0,0 1 0 0 0,0-1 0 0 0,0 1 0 0 0,1-1 0 0 0,-2 0 0 0 0</inkml:trace>
</inkml:ink>
</file>

<file path=ppt/ink/ink7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11.52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36 184 0 0,'6'1'528'0'0,"-1"0"-1"0"0,1-1 0 0 0,-1 2 1 0 0,1-1-1 0 0,-1 1 1 0 0,0 0-1 0 0,0 0 1 0 0,0 0-1 0 0,0 1 1 0 0,0-1-1 0 0,0 1 1 0 0,8 7-1 0 0,-7-3 3 0 0,0-1-1 0 0,0 0 1 0 0,0 1 0 0 0,-1 0-1 0 0,0 0 1 0 0,-1 1-1 0 0,6 11 1 0 0,1 9 699 0 0,-1 1 1 0 0,-2 0 0 0 0,9 51-1 0 0,12 160 2333 0 0,-24-185-3015 0 0,-5-46-377 0 0,1-1-1 0 0,-1 0 0 0 0,0 0 1 0 0,-1 1-1 0 0,0-1 0 0 0,-1 0 1 0 0,-2 11-1 0 0,4-19-152 0 0,0 1 1 0 0,-1 0-1 0 0,1-1 1 0 0,0 1-1 0 0,0-1 1 0 0,0 1-1 0 0,-1 0 1 0 0,1-1-1 0 0,0 1 1 0 0,-1-1-1 0 0,1 1 1 0 0,-1-1-1 0 0,1 1 0 0 0,0-1 1 0 0,-1 1-1 0 0,1-1 1 0 0,-1 1-1 0 0,1-1 1 0 0,-1 0-1 0 0,0 1 1 0 0,1-1-1 0 0,-1 0 1 0 0,1 1-1 0 0,-1-1 1 0 0,0 0-1 0 0,1 0 0 0 0,-1 0 1 0 0,0 0-1 0 0,0 1 1 0 0,0-2-5 0 0,-1 1 0 0 0,1 0-1 0 0,0-1 1 0 0,0 1 0 0 0,0-1 0 0 0,0 0 0 0 0,-1 1 0 0 0,1-1 0 0 0,0 0 0 0 0,0 1 0 0 0,0-1-1 0 0,0 0 1 0 0,-1-2 0 0 0,-2-2-19 0 0,-1-1 0 0 0,1 1 0 0 0,0-1 0 0 0,-3-8-1 0 0,-1-6-93 0 0,1 0-1 0 0,1-1 0 0 0,1 0 0 0 0,1 0 1 0 0,1 0-1 0 0,1 0 0 0 0,0 0 1 0 0,2-1-1 0 0,3-33 0 0 0,3 11-88 0 0,1 0 0 0 0,2 0 0 0 0,24-67 0 0 0,-23 81-1 0 0,2 1 0 0 0,23-42 0 0 0,-28 60 107 0 0,0 0 1 0 0,1 0-1 0 0,0 0 0 0 0,0 1 1 0 0,1 0-1 0 0,0 1 1 0 0,1 0-1 0 0,18-13 0 0 0,-25 20 67 0 0,0 0 0 0 0,0 0 0 0 0,0 0-1 0 0,1 1 1 0 0,-1-1 0 0 0,0 1 0 0 0,1 0 0 0 0,0 0-1 0 0,-1 0 1 0 0,1 0 0 0 0,-1 0 0 0 0,1 1-1 0 0,0 0 1 0 0,0 0 0 0 0,-1 0 0 0 0,1 0-1 0 0,0 0 1 0 0,-1 1 0 0 0,1 0 0 0 0,0-1-1 0 0,-1 2 1 0 0,1-1 0 0 0,-1 0 0 0 0,0 1-1 0 0,1-1 1 0 0,-1 1 0 0 0,0 0 0 0 0,0 0-1 0 0,0 0 1 0 0,3 3 0 0 0,-2-1 18 0 0,0 0-1 0 0,-1 0 1 0 0,0 1-1 0 0,0-1 1 0 0,0 1-1 0 0,0-1 1 0 0,-1 1-1 0 0,0 0 1 0 0,0 0 0 0 0,0 0-1 0 0,0 1 1 0 0,-1-1-1 0 0,0 0 1 0 0,0 0-1 0 0,0 1 1 0 0,-1-1-1 0 0,0 1 1 0 0,0-1 0 0 0,0 0-1 0 0,-2 7 1 0 0,0-1-61 0 0,-1 0 1 0 0,-1 0-1 0 0,0-1 1 0 0,0 1-1 0 0,-1-1 0 0 0,0 0 1 0 0,-1 0-1 0 0,0-1 1 0 0,0 1-1 0 0,-13 12 1 0 0,0-2-797 0 0,0-1 0 0 0,-1-2 0 0 0,-30 22 0 0 0,41-33-212 0 0,-1 0-1 0 0,0 0 1 0 0,0-1 0 0 0,-15 5 0 0 0</inkml:trace>
</inkml:ink>
</file>

<file path=ppt/ink/ink7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12.1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80 932 0 0,'74'-4'3725'0'0,"61"-6"405"0"0,-117 7-3694 0 0,-1 0 0 0 0,-1-1 0 0 0,1-1 0 0 0,-1-1 1 0 0,29-13-1 0 0,-43 17-343 0 0,13-5 308 0 0,-1-1 0 0 0,18-14 1 0 0,-29 20-325 0 0,0 0-1 0 0,-1-1 1 0 0,1 1 0 0 0,-1 0 0 0 0,0-1 0 0 0,1 0-1 0 0,-1 1 1 0 0,0-1 0 0 0,0 0 0 0 0,-1 0 0 0 0,1 0-1 0 0,-1 0 1 0 0,1 0 0 0 0,-1 0 0 0 0,0-1 0 0 0,0 1-1 0 0,-1 0 1 0 0,2-5 0 0 0,-2 7-42 0 0,0 0-1 0 0,0 0 1 0 0,-1 0-1 0 0,1 0 1 0 0,0 0-1 0 0,0 0 1 0 0,0 0 0 0 0,-1-1-1 0 0,1 1 1 0 0,0 0-1 0 0,-1 0 1 0 0,1 1-1 0 0,-1-1 1 0 0,1 0 0 0 0,-1 0-1 0 0,0 0 1 0 0,1 0-1 0 0,-1 0 1 0 0,0 0-1 0 0,0 1 1 0 0,1-1 0 0 0,-1 0-1 0 0,-2 0 1 0 0,1 0 30 0 0,0 0 0 0 0,-1 0 0 0 0,1 0 0 0 0,0 1 0 0 0,-1-1 0 0 0,1 1 0 0 0,0 0 0 0 0,-1-1 0 0 0,1 1 0 0 0,-4 1 0 0 0,-3 0 144 0 0,-1 0 0 0 0,1 1 0 0 0,0 0 0 0 0,-14 6 0 0 0,12-3-76 0 0,0 1 0 0 0,0 0 1 0 0,1 0-1 0 0,0 1 1 0 0,0 1-1 0 0,1 0 0 0 0,0 0 1 0 0,0 0-1 0 0,1 2 1 0 0,0-1-1 0 0,1 1 1 0 0,0 0-1 0 0,-7 12 0 0 0,10-14-75 0 0,0 0 0 0 0,1 0-1 0 0,0 0 1 0 0,0 0 0 0 0,1 1-1 0 0,0-1 1 0 0,0 1 0 0 0,0 13-1 0 0,2-16-35 0 0,0 0-1 0 0,0 0 1 0 0,1 0-1 0 0,0 0 1 0 0,0-1-1 0 0,0 1 1 0 0,1 0-1 0 0,0 0 1 0 0,0-1-1 0 0,0 1 1 0 0,1-1-1 0 0,0 0 1 0 0,5 7-1 0 0,-6-8-117 0 0,1-1-1 0 0,0 1 1 0 0,-1-1 0 0 0,2 0-1 0 0,-1 1 1 0 0,0-2-1 0 0,1 1 1 0 0,-1 0 0 0 0,1-1-1 0 0,0 1 1 0 0,0-1 0 0 0,0 0-1 0 0,0 0 1 0 0,0-1 0 0 0,0 1-1 0 0,1-1 1 0 0,6 1-1 0 0,-4-1-145 0 0,-1-1 0 0 0,1 0 0 0 0,-1-1-1 0 0,1 0 1 0 0,-1 0 0 0 0,1 0 0 0 0,-1-1 0 0 0,0 0-1 0 0,0 0 1 0 0,12-6 0 0 0,5-5-383 0 0,-1-1 0 0 0,0-1 0 0 0,-1-1 0 0 0,33-33-1 0 0,65-68 2647 0 0,-119 116-1943 0 0,1 1 0 0 0,-1-1 0 0 0,1 0 1 0 0,0 1-1 0 0,0-1 0 0 0,-1 1 0 0 0,1-1 1 0 0,0 1-1 0 0,0-1 0 0 0,0 1 0 0 0,-1-1 0 0 0,1 1 1 0 0,0 0-1 0 0,0-1 0 0 0,0 1 0 0 0,0 0 1 0 0,0 0-1 0 0,0 0 0 0 0,0 0 0 0 0,0 0 1 0 0,1 0-1 0 0,-1 0-13 0 0,0 1-1 0 0,0-1 1 0 0,-1 1 0 0 0,1-1 0 0 0,0 1 0 0 0,-1-1-1 0 0,1 1 1 0 0,-1 0 0 0 0,1-1 0 0 0,0 1-1 0 0,-1 0 1 0 0,1-1 0 0 0,-1 1 0 0 0,0 0 0 0 0,1 0-1 0 0,-1 0 1 0 0,0-1 0 0 0,1 3 0 0 0,1 5 323 0 0,0 1 0 0 0,-1 0 0 0 0,1 16 0 0 0,-1-12 69 0 0,1 2 202 0 0,7 67 636 0 0,-7-27 3397 0 0,15-64-4359 0 0,-9 2-270 0 0,0 1 1 0 0,0-2-1 0 0,0 1 1 0 0,-1-1-1 0 0,8-11 1 0 0,20-20 111 0 0,-33 37-171 0 0,6-5 20 0 0,1 0 1 0 0,-1 0-1 0 0,19-11 0 0 0,-26 17-24 0 0,1 0 0 0 0,-1 0 0 0 0,0 0-1 0 0,1 0 1 0 0,-1 1 0 0 0,0-1 0 0 0,1 0-1 0 0,-1 1 1 0 0,1-1 0 0 0,-1 1 0 0 0,1-1 0 0 0,-1 1-1 0 0,1 0 1 0 0,-1 0 0 0 0,1 0 0 0 0,0 0-1 0 0,1 0 1 0 0,1 0 0 0 0,-1 0 9 0 0,-1 0 0 0 0,0 0 1 0 0,1 1-1 0 0,-1-1 0 0 0,1 0 0 0 0,-1 1 1 0 0,0 0-1 0 0,1-1 0 0 0,-1 1 0 0 0,0 0 1 0 0,0 0-1 0 0,1 0 0 0 0,-1 0 1 0 0,0 1-1 0 0,0-1 0 0 0,0 1 0 0 0,0-1 1 0 0,2 4-1 0 0,2 0 39 0 0,-1 1 1 0 0,0 0-1 0 0,8 13 0 0 0,-3-1-160 0 0,-2 1-1 0 0,0-1 0 0 0,0 1 1 0 0,-2 1-1 0 0,6 29 1 0 0,0 1-3530 0 0,-11-48 2836 0 0,5 21-2804 0 0</inkml:trace>
</inkml:ink>
</file>

<file path=ppt/ink/ink7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12.5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112 2196 0 0,'1'-12'1724'0'0,"0"1"-1"0"0,0-1 0 0 0,1 1 0 0 0,1-1 1 0 0,0 1-1 0 0,5-13 0 0 0,-7 23-1673 0 0,-1-1 0 0 0,1 1 0 0 0,0 0 0 0 0,0 0 0 0 0,0 0 0 0 0,0 0 0 0 0,0 0 0 0 0,0 0 0 0 0,0 0 0 0 0,0 0 0 0 0,0 0 0 0 0,0 0 0 0 0,0 1 1 0 0,1-1-1 0 0,-1 0 0 0 0,0 1 0 0 0,1-1 0 0 0,-1 1 0 0 0,0-1 0 0 0,1 1 0 0 0,-1 0 0 0 0,0 0 0 0 0,1 0 0 0 0,-1-1 0 0 0,1 1 0 0 0,-1 0 0 0 0,0 1 0 0 0,1-1 0 0 0,1 0 0 0 0,3 1 0 0 0,0 1 1 0 0,0-1 0 0 0,0 1 0 0 0,10 4-1 0 0,-12-4-27 0 0,0 0-1 0 0,0 0 1 0 0,0 1-1 0 0,0-1 0 0 0,-1 1 1 0 0,1 0-1 0 0,-1 0 1 0 0,0 0-1 0 0,0 0 0 0 0,0 1 1 0 0,0-1-1 0 0,-1 1 1 0 0,1-1-1 0 0,-1 1 0 0 0,0 0 1 0 0,0 0-1 0 0,2 6 0 0 0,-3-7-4 0 0,-1 0-1 0 0,1 0 1 0 0,0 0-1 0 0,-1 0 0 0 0,0 0 1 0 0,0 1-1 0 0,0-1 1 0 0,0 0-1 0 0,0 0 1 0 0,-1 0-1 0 0,0 1 0 0 0,1-1 1 0 0,-1 0-1 0 0,0 0 1 0 0,0 0-1 0 0,-1 0 0 0 0,1 0 1 0 0,-1 0-1 0 0,1-1 1 0 0,-1 1-1 0 0,0 0 0 0 0,0-1 1 0 0,0 0-1 0 0,-3 3 1 0 0,-8 6 31 0 0,0 0 0 0 0,-20 12 1 0 0,21-16-2 0 0,2 0-1 0 0,-1 1 1 0 0,1 0 0 0 0,0 0 0 0 0,-10 12-1 0 0,18-16 81 0 0,-1 0 1 0 0,1 0-1 0 0,0 0 0 0 0,0 0 0 0 0,0 1 1 0 0,1-1-1 0 0,-1 0 0 0 0,1 1 0 0 0,0-1 1 0 0,0 1-1 0 0,1-1 0 0 0,-1 1 0 0 0,1 0 1 0 0,0-1-1 0 0,1 1 0 0 0,-1-1 0 0 0,1 1 1 0 0,0-1-1 0 0,0 1 0 0 0,2 6 0 0 0,4 10 349 0 0,1-1 0 0 0,1-1 0 0 0,13 22-1 0 0,-11-20-179 0 0,38 68-854 0 0,-33-61-4264 0 0</inkml:trace>
</inkml:ink>
</file>

<file path=ppt/ink/ink7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12.9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0 54 2592 0 0,'3'-10'3503'0'0,"-2"8"-3227"0"0,-1 0 0 0 0,1 0 1 0 0,-1 0-1 0 0,1 0 1 0 0,0 0-1 0 0,-1 0 0 0 0,1 0 1 0 0,0 0-1 0 0,1 0 0 0 0,-1 1 1 0 0,0-1-1 0 0,0 0 1 0 0,1 1-1 0 0,-1-1 0 0 0,1 1 1 0 0,-1-1-1 0 0,1 1 1 0 0,0-1-1 0 0,0 1 0 0 0,-1 0 1 0 0,1 0-1 0 0,0 0 0 0 0,2-1 1 0 0,2 1-38 0 0,-1 0 0 0 0,1 0 0 0 0,0 1 0 0 0,-1 0 0 0 0,1 0-1 0 0,-1 0 1 0 0,1 0 0 0 0,-1 1 0 0 0,1 0 0 0 0,-1 0 0 0 0,7 3 0 0 0,-9-3-195 0 0,0 0 1 0 0,0 0-1 0 0,0 0 1 0 0,-1 1-1 0 0,1-1 1 0 0,0 1-1 0 0,-1 0 0 0 0,1 0 1 0 0,-1 0-1 0 0,0 0 1 0 0,0 0-1 0 0,0 0 0 0 0,0 1 1 0 0,0-1-1 0 0,0 0 1 0 0,-1 1-1 0 0,1 0 0 0 0,-1-1 1 0 0,1 1-1 0 0,-1 0 1 0 0,0 0-1 0 0,0 0 0 0 0,0 6 1 0 0,0-3-21 0 0,-1 0 1 0 0,-1 0-1 0 0,1 0 0 0 0,-1 0 1 0 0,0 0-1 0 0,-1 0 0 0 0,1 0 1 0 0,-1-1-1 0 0,0 1 1 0 0,-1-1-1 0 0,1 1 0 0 0,-1-1 1 0 0,0 0-1 0 0,-1 1 0 0 0,1-2 1 0 0,-5 6-1 0 0,-9 10 2 0 0,-1-1 0 0 0,-25 22-1 0 0,37-36-20 0 0,-16 14 0 0 0,-2 3 113 0 0,-31 33 0 0 0,50-49 37 0 0,0 0 1 0 0,0 0-1 0 0,0 1 0 0 0,1 0 1 0 0,0 0-1 0 0,1 0 0 0 0,-1 1 1 0 0,1-1-1 0 0,1 1 1 0 0,-4 14-1 0 0,5-16-44 0 0,1 0 0 0 0,0 0-1 0 0,1 0 1 0 0,-1 0 0 0 0,1 0 0 0 0,0-1 0 0 0,1 1-1 0 0,-1 0 1 0 0,1-1 0 0 0,0 1 0 0 0,1-1 0 0 0,-1 0-1 0 0,5 7 1 0 0,19 26-1381 0 0,2-7-5628 0 0</inkml:trace>
</inkml:ink>
</file>

<file path=ppt/ink/ink7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13.3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0 13 3260 0 0,'-18'7'3461'0'0,"6"-1"-413"0"0,0-1 1952 0 0,-4 0-1339 0 0,0-1 11 0 0,0-8-4096 0 0,22-1-1876 0 0,8-6-1757 0 0,0 6-771 0 0</inkml:trace>
  <inkml:trace contextRef="#ctx0" brushRef="#br0" timeOffset="1">394 11 2308 0 0,'0'0'3020'0'0,"20"2"3417"0"0,0-6-3013 0 0,-2 1-2067 0 0,-6-3-1786 0 0</inkml:trace>
</inkml:ink>
</file>

<file path=ppt/ink/ink7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14.9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4 185 140 0 0,'-17'1'1175'0'0,"14"-1"-283"0"0,-1 0-135 0 0,-12-1-181 0 0,12 1 1073 0 0,8-1-1511 0 0,65-11 518 0 0,108-3-1 0 0,-130 12-505 0 0,1232-27 862 0 0,-439 20-922 0 0,-188-8 12 0 0,1030-36 205 0 0,-1029 14-769 0 0,-620 39-3063 0 0</inkml:trace>
</inkml:ink>
</file>

<file path=ppt/ink/ink7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15.8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6 148 1212 0 0,'-76'9'9516'0'0,"80"-8"-9066"0"0,20 2-136 0 0,1-1 1 0 0,-1-1 0 0 0,0 0 0 0 0,26-5 0 0 0,6 2-44 0 0,850-11 1351 0 0,617-23-504 0 0,-1415 30-138 0 0,189-33-1 0 0,-281 36-1091 0 0,-1-1 0 0 0,0 0-1 0 0,0-1 1 0 0,0 0 0 0 0,-1-1 0 0 0,16-9-1 0 0,-30 15 60 0 0,0 0 0 0 0,0-1 0 0 0,1 1 0 0 0,-1 0 0 0 0,0 0-1 0 0,0 0 1 0 0,0-1 0 0 0,1 1 0 0 0,-1 0 0 0 0,0 0 0 0 0,0 0 0 0 0,0-1-1 0 0,0 1 1 0 0,0 0 0 0 0,0 0 0 0 0,1-1 0 0 0,-1 1 0 0 0,0 0 0 0 0,0 0-1 0 0,0-1 1 0 0,0 1 0 0 0,0 0 0 0 0,0-1 0 0 0,0 1 0 0 0,0 0 0 0 0,0 0-1 0 0,0-1 1 0 0,0 1 0 0 0,0 0 0 0 0,0 0 0 0 0,-1-1 0 0 0,1 1 0 0 0,0 0-1 0 0,0 0 1 0 0,0-1 0 0 0,0 1 0 0 0,0 0 0 0 0,0 0 0 0 0,-1-1 0 0 0,1 1-1 0 0,0 0 1 0 0,0 0 0 0 0,0 0 0 0 0,-1 0 0 0 0,1-1 0 0 0,0 1 0 0 0,0 0-1 0 0,-1 0 1 0 0,1 0 0 0 0,0 0 0 0 0,0 0 0 0 0,-1 0 0 0 0,1-1 0 0 0,0 1-1 0 0,0 0 1 0 0,-1 0 0 0 0,1 0 0 0 0,-14-5-1845 0 0,-3 1-1961 0 0,-4 2-1834 0 0</inkml:trace>
</inkml:ink>
</file>

<file path=ppt/ink/ink7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0:16.7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5 57 36 0 0,'-11'1'834'0'0,"0"1"0"0"0,0 0 0 0 0,0 1 1 0 0,0 0-1 0 0,1 0 0 0 0,-1 1 0 0 0,1 0 0 0 0,0 1 0 0 0,-10 7 0 0 0,19-12-786 0 0,1 0-1 0 0,-1 0 1 0 0,1 0-1 0 0,0 1 0 0 0,-1-1 1 0 0,1 0-1 0 0,-1 1 0 0 0,1-1 1 0 0,0 0-1 0 0,-1 1 0 0 0,1-1 1 0 0,0 0-1 0 0,-1 1 0 0 0,1-1 1 0 0,0 1-1 0 0,-1-1 1 0 0,1 0-1 0 0,0 1 0 0 0,0-1 1 0 0,0 1-1 0 0,-1-1 0 0 0,1 1 1 0 0,0-1-1 0 0,0 1 0 0 0,0-1 1 0 0,0 1-1 0 0,0-1 0 0 0,0 1 1 0 0,0-1-1 0 0,0 1 1 0 0,0-1-1 0 0,0 1 0 0 0,0-1 1 0 0,0 1-1 0 0,1-1 0 0 0,-1 1 1 0 0,0-1-1 0 0,0 1 0 0 0,0-1 1 0 0,1 0-1 0 0,-1 1 1 0 0,0-1-1 0 0,0 1 0 0 0,1-1 1 0 0,-1 0-1 0 0,0 1 0 0 0,1-1 1 0 0,-1 0-1 0 0,1 1 0 0 0,-1-1 1 0 0,0 0-1 0 0,1 1 0 0 0,0-1 1 0 0,2 2 81 0 0,0-1 1 0 0,0 1-1 0 0,0-1 1 0 0,0 0-1 0 0,1 0 1 0 0,-1 0-1 0 0,4 0 0 0 0,40 4 576 0 0,0-3-1 0 0,0-3 0 0 0,54-6 1 0 0,-38 3-246 0 0,438-36 1731 0 0,22-1-1107 0 0,-13 13-523 0 0,-413 23-471 0 0,50-2-2700 0 0,-145 7 2342 0 0,-1 0 1 0 0,0 0 0 0 0,1 0-1 0 0,-1 0 1 0 0,0 0 0 0 0,1 0 0 0 0,-1 0-1 0 0,0 0 1 0 0,1 1 0 0 0,-1-1 0 0 0,0 0-1 0 0,1 1 1 0 0,-1-1 0 0 0,0 1 0 0 0,0-1-1 0 0,1 1 1 0 0,-1 0 0 0 0,0-1-1 0 0,0 1 1 0 0,0 0 0 0 0,2 2 0 0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4.5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 155 1116 0 0,'-19'-89'9498'0'0,"12"64"-7914"0"0,0 0-1438 0 0,6 9-3869 0 0,18 23-611 0 0,-4 0 2451 0 0</inkml:trace>
</inkml:ink>
</file>

<file path=ppt/ink/ink7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26.3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8 242 800 0 0,'-2'-1'1278'0'0,"-24"-26"2945"0"0,23 29-3721 0 0,2-2-486 0 0,1 0 0 0 0,0 0 1 0 0,0 0-1 0 0,-1 0 0 0 0,1 0 0 0 0,0 0 0 0 0,0 0 0 0 0,-1 0 0 0 0,1 0 0 0 0,0 0 0 0 0,0 0 0 0 0,-1 0 1 0 0,1 0-1 0 0,0 1 0 0 0,0-1 0 0 0,0 0 0 0 0,-1 0 0 0 0,1 0 0 0 0,0 0 0 0 0,0 0 0 0 0,0 1 0 0 0,-1-1 1 0 0,1 0-1 0 0,0 0 0 0 0,0 0 0 0 0,0 1 0 0 0,0-1 0 0 0,0 0 0 0 0,0 0 0 0 0,-1 1 0 0 0,1-1 0 0 0,0 0 1 0 0,0 0-1 0 0,0 1 0 0 0,0-1 0 0 0,0 0 0 0 0,0 0 0 0 0,0 1 0 0 0,0-1 0 0 0,0 0 0 0 0,12 199 4415 0 0,0 7-2478 0 0,-10-108 749 0 0,-2-97-2676 0 0,0-1 0 0 0,1 0 0 0 0,-1 0 0 0 0,0 1 0 0 0,0-1 1 0 0,0 0-1 0 0,0 0 0 0 0,0 1 0 0 0,0-1 0 0 0,0 0 0 0 0,0 0 0 0 0,0 1 0 0 0,0-1 1 0 0,0 0-1 0 0,0 1 0 0 0,0-1 0 0 0,0 0 0 0 0,0 0 0 0 0,-1 1 0 0 0,1-1 0 0 0,0 0 1 0 0,0 0-1 0 0,0 1 0 0 0,0-1 0 0 0,0 0 0 0 0,-1 0 0 0 0,1 0 0 0 0,0 1 0 0 0,0-1 1 0 0,0 0-1 0 0,-1 0 0 0 0,1 0 0 0 0,0 0 0 0 0,0 1 0 0 0,0-1 0 0 0,-1 0 0 0 0,1 0 1 0 0,0 0-1 0 0,0 0 0 0 0,-1 0 0 0 0,1 0 0 0 0,0 0 0 0 0,0 0 0 0 0,-1 0 0 0 0,1 0 1 0 0,0 0-1 0 0,-1 0 0 0 0,1 0 0 0 0,0 0 0 0 0,0 0 0 0 0,-1 0 0 0 0,1 0 0 0 0,0 0 1 0 0,0 0-1 0 0,-1 0 0 0 0,1 0 0 0 0,0 0 0 0 0,0 0 0 0 0,-1-1 0 0 0,1 1 0 0 0,0 0 1 0 0,0 0-1 0 0,0 0 0 0 0,-1 0 0 0 0,1-1 0 0 0,0 1 0 0 0,0 0 0 0 0,0 0 0 0 0,-1-1 1 0 0,-11-13-133 0 0,2-5-117 0 0,2 0 0 0 0,0-1-1 0 0,1 0 1 0 0,1 0-1 0 0,-5-30 1 0 0,5 10-259 0 0,2 1 0 0 0,1-40 1 0 0,4 50 241 0 0,0 0 1 0 0,2 1-1 0 0,1-1 1 0 0,2 1 0 0 0,17-53-1 0 0,-19 69 189 0 0,0 0 0 0 0,2 0 1 0 0,-1 1-1 0 0,2 0 0 0 0,-1 0 0 0 0,1 0 0 0 0,1 0 0 0 0,0 1 0 0 0,1 1 1 0 0,-1-1-1 0 0,2 1 0 0 0,-1 1 0 0 0,2 0 0 0 0,-1 0 0 0 0,18-9 1 0 0,-22 14 39 0 0,1 0 0 0 0,-1 1 1 0 0,1 0-1 0 0,-1 0 1 0 0,1 1-1 0 0,-1 0 1 0 0,1 0-1 0 0,0 0 1 0 0,0 1-1 0 0,-1 0 1 0 0,1 0-1 0 0,0 1 1 0 0,11 2-1 0 0,-14-2 12 0 0,-1-1 0 0 0,0 2 0 0 0,0-1 0 0 0,0 0 1 0 0,0 1-1 0 0,-1-1 0 0 0,1 1 0 0 0,0 0 0 0 0,-1 0 0 0 0,1 0 0 0 0,-1 0 0 0 0,1 0 0 0 0,-1 1 0 0 0,0-1 1 0 0,0 1-1 0 0,0-1 0 0 0,0 1 0 0 0,-1 0 0 0 0,1 0 0 0 0,-1 0 0 0 0,0-1 0 0 0,1 2 0 0 0,-1-1 0 0 0,-1 0 1 0 0,1 0-1 0 0,0 0 0 0 0,-1 0 0 0 0,1 0 0 0 0,-1 1 0 0 0,0 3 0 0 0,-1 6 29 0 0,-1-1 1 0 0,0 1-1 0 0,0-1 0 0 0,-2 0 0 0 0,1 0 0 0 0,-1 0 0 0 0,-1-1 1 0 0,0 1-1 0 0,-1-1 0 0 0,0 0 0 0 0,0 0 0 0 0,-11 11 0 0 0,0 0 118 0 0,-2 0 0 0 0,0-1 0 0 0,-1-1-1 0 0,-30 22 1 0 0,43-36-85 0 0,-1 0 0 0 0,0 0 0 0 0,-1-1 0 0 0,1 0 0 0 0,-1-1 0 0 0,0 1 0 0 0,0-2 0 0 0,0 1 0 0 0,-1-1 0 0 0,1-1 0 0 0,-1 0 0 0 0,-15 2 0 0 0,24-4-62 0 0,1 0 1 0 0,-1 0-1 0 0,0 0 1 0 0,0 0-1 0 0,1 0 1 0 0,-1 0-1 0 0,0 0 1 0 0,1 0 0 0 0,-1 0-1 0 0,0-1 1 0 0,1 1-1 0 0,-1 0 1 0 0,0 0-1 0 0,1-1 1 0 0,-1 1-1 0 0,1 0 1 0 0,-1-1-1 0 0,0 1 1 0 0,1 0-1 0 0,-1-1 1 0 0,1 1-1 0 0,-1-1 1 0 0,1 1 0 0 0,-1-1-1 0 0,1 1 1 0 0,0-1-1 0 0,-1 0 1 0 0,1 1-1 0 0,0-1 1 0 0,-1 1-1 0 0,1-1 1 0 0,0 0-1 0 0,0 1 1 0 0,-1-1-1 0 0,1 0 1 0 0,0 0 0 0 0,0 0 4 0 0,0 0 0 0 0,1 1 0 0 0,-1-1 0 0 0,0 0 1 0 0,0 1-1 0 0,1-1 0 0 0,-1 0 0 0 0,1 1 0 0 0,-1-1 1 0 0,0 1-1 0 0,1-1 0 0 0,-1 0 0 0 0,1 1 1 0 0,-1-1-1 0 0,1 1 0 0 0,0 0 0 0 0,-1-1 0 0 0,1 1 1 0 0,-1-1-1 0 0,1 1 0 0 0,0 0 0 0 0,-1-1 0 0 0,1 1 1 0 0,0 0-1 0 0,-1 0 0 0 0,1 0 0 0 0,0 0 0 0 0,-1-1 1 0 0,1 1-1 0 0,0 0 0 0 0,0 0 0 0 0,-1 0 1 0 0,1 0-1 0 0,0 1 0 0 0,-1-1 0 0 0,2 0 0 0 0,13 2 152 0 0,0 1 0 0 0,0 1-1 0 0,0 0 1 0 0,0 1 0 0 0,-1 1-1 0 0,0 0 1 0 0,0 1 0 0 0,-1 0 0 0 0,1 1-1 0 0,22 19 1 0 0,-10-5-351 0 0,0 1-1 0 0,-2 1 1 0 0,42 52 0 0 0,-30-20-2864 0 0,-15-21-3725 0 0</inkml:trace>
</inkml:ink>
</file>

<file path=ppt/ink/ink7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26.7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9 202 932 0 0,'3'-11'6587'0'0,"0"7"-6311"0"0,-1 1 0 0 0,1-1 0 0 0,1 1 0 0 0,-1-1 0 0 0,0 1-1 0 0,1 0 1 0 0,0 0 0 0 0,-1 0 0 0 0,1 1 0 0 0,0 0 0 0 0,1-1-1 0 0,-1 1 1 0 0,5-1 0 0 0,-2-1-145 0 0,1 0 0 0 0,-1 0 1 0 0,11-8-1 0 0,-12 6-69 0 0,0 1-1 0 0,-1-1 1 0 0,0 0 0 0 0,0 0 0 0 0,-1-1-1 0 0,7-11 1 0 0,-10 16-52 0 0,0 0-1 0 0,0 1 1 0 0,0-1 0 0 0,-1 0-1 0 0,1 0 1 0 0,0 0-1 0 0,-1 0 1 0 0,0 0-1 0 0,1 0 1 0 0,-1-1-1 0 0,0 1 1 0 0,0 0 0 0 0,0 0-1 0 0,0 0 1 0 0,0 0-1 0 0,-1 0 1 0 0,1 0-1 0 0,-1 0 1 0 0,1 0 0 0 0,-1 0-1 0 0,0 0 1 0 0,0 0-1 0 0,1 0 1 0 0,-1 1-1 0 0,-1-1 1 0 0,1 0-1 0 0,0 0 1 0 0,0 1 0 0 0,-3-3-1 0 0,2 3 9 0 0,-1-1 0 0 0,0 1-1 0 0,0 0 1 0 0,1 0 0 0 0,-1 0-1 0 0,0 0 1 0 0,0 0 0 0 0,0 0 0 0 0,0 1-1 0 0,0 0 1 0 0,0 0 0 0 0,0-1 0 0 0,0 2-1 0 0,0-1 1 0 0,0 0 0 0 0,0 1-1 0 0,0-1 1 0 0,0 1 0 0 0,0 0 0 0 0,0 0-1 0 0,0 0 1 0 0,-3 2 0 0 0,-8 3 216 0 0,1 0 1 0 0,-1 1 0 0 0,-13 10-1 0 0,15-8-92 0 0,0 0-1 0 0,0 1 1 0 0,1 0-1 0 0,0 1 1 0 0,1 0 0 0 0,0 0-1 0 0,1 1 1 0 0,0 1-1 0 0,-9 15 1 0 0,16-22-109 0 0,-1-1 0 0 0,0 0 0 0 0,1 1 0 0 0,0-1 0 0 0,1 1 0 0 0,-1-1 0 0 0,1 1 0 0 0,0 0 0 0 0,0 0 1 0 0,1 0-1 0 0,0 0 0 0 0,0-1 0 0 0,0 1 0 0 0,1 0 0 0 0,0 0 0 0 0,0 0 0 0 0,0-1 0 0 0,1 1 0 0 0,-1 0 1 0 0,1-1-1 0 0,1 0 0 0 0,-1 1 0 0 0,1-1 0 0 0,0 0 0 0 0,0 0 0 0 0,7 7 0 0 0,-4-5-268 0 0,1 0 1 0 0,0 0-1 0 0,0-1 0 0 0,1 0 0 0 0,0 0 1 0 0,0-1-1 0 0,0 0 0 0 0,1-1 0 0 0,0 1 0 0 0,0-2 1 0 0,0 1-1 0 0,0-1 0 0 0,13 2 0 0 0,-11-3-648 0 0,0 0-1 0 0,0-1 1 0 0,0-1-1 0 0,0 0 1 0 0,0 0-1 0 0,0-1 1 0 0,12-3-1 0 0,4-2-2637 0 0</inkml:trace>
</inkml:ink>
</file>

<file path=ppt/ink/ink7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27.1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8 34 1764 0 0,'1'-2'379'0'0,"-1"0"0"0"0,1 0 1 0 0,-1-1-1 0 0,1 1 0 0 0,-1 0 0 0 0,0 0 0 0 0,0 0 0 0 0,0 0 0 0 0,0 0 1 0 0,-1-3-1 0 0,1 4-279 0 0,0 1 1 0 0,0 0 0 0 0,0-1 0 0 0,0 1-1 0 0,0 0 1 0 0,0-1 0 0 0,-1 1-1 0 0,1 0 1 0 0,0-1 0 0 0,0 1 0 0 0,0 0-1 0 0,-1-1 1 0 0,1 1 0 0 0,0 0-1 0 0,-1 0 1 0 0,1-1 0 0 0,0 1-1 0 0,0 0 1 0 0,-1 0 0 0 0,1 0 0 0 0,0-1-1 0 0,-1 1 1 0 0,1 0 0 0 0,0 0-1 0 0,-1 0 1 0 0,0 0 0 0 0,0 0-19 0 0,0 0 1 0 0,0 0-1 0 0,0 0 0 0 0,0 0 1 0 0,0 1-1 0 0,0-1 0 0 0,0 1 1 0 0,0-1-1 0 0,0 0 0 0 0,0 1 1 0 0,0 0-1 0 0,0-1 0 0 0,0 1 1 0 0,-1 0-1 0 0,-7 7 183 0 0,0 0 0 0 0,1 0-1 0 0,0 1 1 0 0,0 0 0 0 0,1 0 0 0 0,1 0 0 0 0,-1 1 0 0 0,1 0-1 0 0,1 1 1 0 0,0-1 0 0 0,1 1 0 0 0,-6 20 0 0 0,6-18-167 0 0,1 1 1 0 0,0 0-1 0 0,1-1 1 0 0,0 1-1 0 0,2 0 0 0 0,-1 0 1 0 0,2 0-1 0 0,0 0 1 0 0,0 0-1 0 0,7 23 1 0 0,-7-33-87 0 0,0 0 1 0 0,0 0 0 0 0,1 0 0 0 0,0 0-1 0 0,0 0 1 0 0,0 0 0 0 0,0 0-1 0 0,1-1 1 0 0,-1 1 0 0 0,1-1 0 0 0,0 0-1 0 0,0 0 1 0 0,0 0 0 0 0,0 0 0 0 0,1 0-1 0 0,-1-1 1 0 0,1 1 0 0 0,-1-1-1 0 0,1 0 1 0 0,0 0 0 0 0,0-1 0 0 0,0 1-1 0 0,0-1 1 0 0,0 0 0 0 0,1 0 0 0 0,5 1-1 0 0,-3-2-62 0 0,0 0 0 0 0,0 0 0 0 0,0 0 0 0 0,0-1 0 0 0,0 0-1 0 0,0-1 1 0 0,-1 1 0 0 0,1-1 0 0 0,0-1 0 0 0,-1 1 0 0 0,1-1 0 0 0,-1 0-1 0 0,0-1 1 0 0,0 0 0 0 0,10-7 0 0 0,-2-2 32 0 0,0 0-1 0 0,-1 0 1 0 0,0-2-1 0 0,-1 1 1 0 0,0-2 0 0 0,-2 1-1 0 0,0-2 1 0 0,0 1-1 0 0,-2-1 1 0 0,0-1 0 0 0,9-29-1 0 0,-17 46 25 0 0,1 0-1 0 0,-1 0 0 0 0,1 0 0 0 0,-1 0 1 0 0,0 0-1 0 0,1 0 0 0 0,-1 0 0 0 0,0 0 1 0 0,0 0-1 0 0,0 0 0 0 0,0 0 0 0 0,0 0 1 0 0,0 0-1 0 0,0 0 0 0 0,0 0 1 0 0,0 0-1 0 0,-1 0 0 0 0,1-2 0 0 0,-2 0 18 0 0,2 1 72 0 0,-1 2-86 0 0,0-1 0 0 0,0 1 0 0 0,-1 0 0 0 0,1 0 1 0 0,0 0-1 0 0,0 1 0 0 0,0-1 0 0 0,-1 0 1 0 0,1 0-1 0 0,0 1 0 0 0,0-1 0 0 0,0 0 0 0 0,0 1 1 0 0,0-1-1 0 0,0 1 0 0 0,-1 0 0 0 0,1-1 0 0 0,1 1 1 0 0,-1 0-1 0 0,0 0 0 0 0,0-1 0 0 0,0 1 1 0 0,0 0-1 0 0,0 0 0 0 0,1 0 0 0 0,-1 0 0 0 0,0 0 1 0 0,1 0-1 0 0,-1 0 0 0 0,1 0 0 0 0,-1 0 0 0 0,0 2 1 0 0,-1 3 48 0 0,0 0 0 0 0,0 0 0 0 0,0 0 1 0 0,1 0-1 0 0,0 0 0 0 0,0 0 0 0 0,0 0 1 0 0,1 1-1 0 0,0-1 0 0 0,0 0 0 0 0,1 0 1 0 0,-1 1-1 0 0,1-1 0 0 0,1 0 0 0 0,-1 0 1 0 0,1 0-1 0 0,3 7 0 0 0,-3-8 34 0 0,1-1 0 0 0,-1 1-1 0 0,0-1 1 0 0,1 0 0 0 0,0 0 0 0 0,0 0-1 0 0,0-1 1 0 0,1 1 0 0 0,-1 0 0 0 0,1-1-1 0 0,0 0 1 0 0,0 0 0 0 0,0 0 0 0 0,0-1-1 0 0,1 1 1 0 0,-1-1 0 0 0,1 0 0 0 0,-1 0-1 0 0,1-1 1 0 0,0 1 0 0 0,9 0 0 0 0,-11-1-67 0 0,0-1 1 0 0,0 1-1 0 0,0-1 1 0 0,0 0-1 0 0,0 0 1 0 0,0 0-1 0 0,0-1 1 0 0,0 1-1 0 0,0-1 1 0 0,0 0-1 0 0,0 1 1 0 0,0-1-1 0 0,0-1 1 0 0,-1 1-1 0 0,1 0 1 0 0,0-1-1 0 0,-1 1 1 0 0,1-1-1 0 0,-1 0 1 0 0,1 0-1 0 0,-1 0 1 0 0,0 0-1 0 0,0 0 1 0 0,0 0-1 0 0,0-1 1 0 0,0 1-1 0 0,-1-1 1 0 0,1 1-1 0 0,-1-1 1 0 0,1 0-1 0 0,-1 0 1 0 0,0 1-1 0 0,0-1 1 0 0,0 0-1 0 0,0 0 1 0 0,0-6-1 0 0,0 1-104 0 0,0 1 0 0 0,-1-1 0 0 0,0 1 0 0 0,0-1-1 0 0,-1 0 1 0 0,1 1 0 0 0,-2-1 0 0 0,1 1 0 0 0,-1-1 0 0 0,0 1-1 0 0,-1 0 1 0 0,0 0 0 0 0,-5-11 0 0 0,3 11-559 0 0,-1 1 0 0 0,0 0 0 0 0,0 0-1 0 0,0 0 1 0 0,-1 0 0 0 0,0 1 0 0 0,0 0 0 0 0,0 1 0 0 0,-1-1 0 0 0,1 2-1 0 0,-1-1 1 0 0,-10-3 0 0 0,4 1-1870 0 0,0 1-1443 0 0</inkml:trace>
</inkml:ink>
</file>

<file path=ppt/ink/ink7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27.4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392 0 0,'9'1'398'0'0,"-1"1"1"0"0,0 0-1 0 0,0 0 1 0 0,0 1-1 0 0,0 0 0 0 0,0 1 1 0 0,-1-1-1 0 0,1 1 1 0 0,-1 1-1 0 0,0 0 1 0 0,0 0-1 0 0,-1 0 0 0 0,1 0 1 0 0,-1 1-1 0 0,0 0 1 0 0,-1 1-1 0 0,1-1 0 0 0,-1 1 1 0 0,-1 0-1 0 0,1 1 1 0 0,3 9-1 0 0,-2-4 41 0 0,-1 1 1 0 0,-1-1-1 0 0,0 1 0 0 0,-1 0 1 0 0,0 1-1 0 0,-1-1 0 0 0,-1 0 0 0 0,0 1 1 0 0,-1-1-1 0 0,-1 1 0 0 0,-4 24 1 0 0,3-19 2213 0 0,7-35-1171 0 0,4-14-1319 0 0,6-4-42 0 0,29-50-1 0 0,-34 66-907 0 0,1 0 0 0 0,1 1-1 0 0,1 1 1 0 0,21-21-1 0 0,-31 34 361 0 0,0 0 0 0 0,0 0-1 0 0,0 0 1 0 0,0 1-1 0 0,0-1 1 0 0,0 1-1 0 0,1 0 1 0 0,-1 0 0 0 0,0 0-1 0 0,1 0 1 0 0,3 0-1 0 0,-4 1-661 0 0,13 3-3383 0 0</inkml:trace>
</inkml:ink>
</file>

<file path=ppt/ink/ink7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27.7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6 19 1536 0 0,'1'-3'1274'0'0,"0"2"-1042"0"0,0 0 0 0 0,-1 0 0 0 0,1 0 0 0 0,0 0 0 0 0,0 0 0 0 0,-1 0 0 0 0,1 0 0 0 0,0 0-1 0 0,0 0 1 0 0,0 1 0 0 0,0-1 0 0 0,0 0 0 0 0,0 1 0 0 0,0-1 0 0 0,0 0 0 0 0,1 1 0 0 0,-1-1 0 0 0,0 1 0 0 0,2-1 0 0 0,-2 1-121 0 0,0 1-1 0 0,0-1 1 0 0,0 0 0 0 0,0 1-1 0 0,0-1 1 0 0,0 1-1 0 0,0-1 1 0 0,0 1-1 0 0,0-1 1 0 0,0 1-1 0 0,0 0 1 0 0,0-1-1 0 0,0 1 1 0 0,0 0 0 0 0,-1 0-1 0 0,1 0 1 0 0,0 0-1 0 0,-1 0 1 0 0,1 0-1 0 0,0 0 1 0 0,-1 0-1 0 0,1 0 1 0 0,-1 0-1 0 0,1 1 1 0 0,6 13 391 0 0,-1 1-1 0 0,0 0 1 0 0,-1 0 0 0 0,-1 1-1 0 0,-1-1 1 0 0,0 1 0 0 0,-1 0-1 0 0,-1-1 1 0 0,0 1 0 0 0,-1 0 0 0 0,-1 0-1 0 0,-4 20 1 0 0,3-24-345 0 0,0 0 0 0 0,-1 0 0 0 0,-1-1 0 0 0,0 0 0 0 0,-1 1 0 0 0,0-2 0 0 0,0 1 0 0 0,-2-1 0 0 0,1 1 0 0 0,-2-2 0 0 0,1 1 0 0 0,-1-1 0 0 0,-1 0 0 0 0,0-1 0 0 0,0 0 0 0 0,-17 12 0 0 0,23-19-124 0 0,-1 0 0 0 0,0 0 0 0 0,0 0 0 0 0,0-1 0 0 0,0 1-1 0 0,0-1 1 0 0,0 0 0 0 0,0 0 0 0 0,0-1 0 0 0,0 1 0 0 0,0-1 0 0 0,0 0-1 0 0,-1 0 1 0 0,-6-2 0 0 0,9 2-51 0 0,1 0-1 0 0,-1-1 1 0 0,0 1-1 0 0,1 0 1 0 0,-1-1 0 0 0,1 0-1 0 0,-1 1 1 0 0,0-1-1 0 0,1 0 1 0 0,0 0-1 0 0,-1 0 1 0 0,1 0 0 0 0,0 0-1 0 0,-1 0 1 0 0,1 0-1 0 0,0-1 1 0 0,0 1-1 0 0,0 0 1 0 0,0-1 0 0 0,0 1-1 0 0,0-1 1 0 0,0 1-1 0 0,1-1 1 0 0,-1 1-1 0 0,0-1 1 0 0,1 0 0 0 0,-1 1-1 0 0,1-1 1 0 0,0 0-1 0 0,0 1 1 0 0,-1-1-1 0 0,1 0 1 0 0,0 1 0 0 0,0-1-1 0 0,1 0 1 0 0,-1 1-1 0 0,0-1 1 0 0,1-2-1 0 0,0 1-14 0 0,-1 1 0 0 0,1-1-1 0 0,0 0 1 0 0,0 1-1 0 0,0-1 1 0 0,0 1 0 0 0,0-1-1 0 0,0 1 1 0 0,1 0-1 0 0,-1-1 1 0 0,1 1-1 0 0,0 0 1 0 0,0 0 0 0 0,0 0-1 0 0,0 0 1 0 0,0 0-1 0 0,0 1 1 0 0,0-1 0 0 0,1 1-1 0 0,-1-1 1 0 0,0 1-1 0 0,1 0 1 0 0,-1 0 0 0 0,1 0-1 0 0,0 0 1 0 0,4-1-1 0 0,-2 1-34 0 0,0 1 0 0 0,1-1 0 0 0,-1 1 0 0 0,1 0 0 0 0,-1 1 0 0 0,0-1 0 0 0,1 1 0 0 0,-1 0 0 0 0,0 0 0 0 0,0 1 0 0 0,0 0 0 0 0,0 0 0 0 0,5 2 0 0 0,0 2-213 0 0,0-1-1 0 0,-1 2 1 0 0,1 0-1 0 0,-1 0 1 0 0,-1 0-1 0 0,0 1 0 0 0,0 1 1 0 0,7 9-1 0 0,-1 0-1881 0 0,-2 1 0 0 0,0 0 0 0 0,9 23-1 0 0,-11-23-1569 0 0</inkml:trace>
</inkml:ink>
</file>

<file path=ppt/ink/ink7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28.3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 64 20 0 0,'-18'-63'9905'0'0,"27"69"-8318"0"0,-4 3-1199 0 0,-1-1 0 0 0,0 1 0 0 0,0 0 0 0 0,-1 0 0 0 0,0 0 0 0 0,3 17 0 0 0,-2-10-17 0 0,60 219 1679 0 0,-5-19-5241 0 0,-45-144-4416 0 0,-13-61 4160 0 0</inkml:trace>
</inkml:ink>
</file>

<file path=ppt/ink/ink7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28.7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7 150 880 0 0,'-5'-2'823'0'0,"0"0"21"0"0,0 1 1 0 0,1-1-1 0 0,-1 0 1 0 0,1-1-1 0 0,-1 1 1 0 0,1-1-1 0 0,-6-4 1 0 0,10 6-793 0 0,1 1 0 0 0,-1-1 0 0 0,0 1 0 0 0,1-1 1 0 0,-1 0-1 0 0,0 1 0 0 0,1-1 0 0 0,-1 1 0 0 0,1-1 1 0 0,-1 1-1 0 0,1 0 0 0 0,-1-1 0 0 0,1 1 0 0 0,-1-1 0 0 0,1 1 1 0 0,-1 0-1 0 0,1-1 0 0 0,0 1 0 0 0,-1 0 0 0 0,1 0 1 0 0,0 0-1 0 0,-1-1 0 0 0,1 1 0 0 0,-1 0 0 0 0,2 0 0 0 0,15-5 185 0 0,182-38 812 0 0,-48 12-836 0 0,-111 21-127 0 0,-13 2 11 0 0,0 2 0 0 0,0 1 0 0 0,39-2 0 0 0,-60 7 7 0 0,1 1 0 0 0,-1 0 0 0 0,0 0 0 0 0,1 0 0 0 0,-1 1-1 0 0,0 0 1 0 0,0 0 0 0 0,0 1 0 0 0,0 0 0 0 0,-1 0 0 0 0,1 0 0 0 0,-1 1 0 0 0,0 0 0 0 0,0 0 0 0 0,0 0 0 0 0,0 0 0 0 0,-1 1 0 0 0,1 0 0 0 0,-1 0 0 0 0,-1 0 0 0 0,1 0 0 0 0,5 11 0 0 0,-1-1 177 0 0,-1 0 0 0 0,-1 0 1 0 0,0 1-1 0 0,-1 0 0 0 0,-1 0 1 0 0,0 0-1 0 0,2 27 1 0 0,-6-37-188 0 0,1-4 36 0 0,-1 1-1 0 0,1-1 0 0 0,-1 0 1 0 0,0 0-1 0 0,0 1 0 0 0,0-1 0 0 0,0 0 1 0 0,0 1-1 0 0,0-1 0 0 0,-1 0 1 0 0,1 0-1 0 0,-1 0 0 0 0,0 1 1 0 0,0-1-1 0 0,1 0 0 0 0,-1 0 0 0 0,0 0 1 0 0,-2 2-1 0 0,2-3 131 0 0,-14-9 40 0 0,13 6-295 0 0,1 1 0 0 0,0-1 1 0 0,0 0-1 0 0,0 0 0 0 0,0 0 0 0 0,0 0 0 0 0,0-1 0 0 0,1 1 1 0 0,-1 0-1 0 0,1 0 0 0 0,-1 0 0 0 0,1-5 0 0 0,-2-1-23 0 0,0-3-15 0 0,1 1 0 0 0,0 0 0 0 0,1-1 0 0 0,0 1 0 0 0,0 0 0 0 0,1-1 0 0 0,3-12 0 0 0,0 5-36 0 0,0 1-1 0 0,1 0 0 0 0,11-24 0 0 0,-14 39 59 0 0,-1-1 1 0 0,0 0-1 0 0,1 1 0 0 0,-1-1 0 0 0,1 1 0 0 0,0 0 1 0 0,-1-1-1 0 0,1 1 0 0 0,0 0 0 0 0,1 0 1 0 0,-1 0-1 0 0,0 1 0 0 0,1-1 0 0 0,-1 0 1 0 0,0 1-1 0 0,1 0 0 0 0,0-1 0 0 0,2 0 1 0 0,-1 1 5 0 0,0 0 0 0 0,0 1 0 0 0,0 0 0 0 0,0-1 0 0 0,0 1 0 0 0,0 0 1 0 0,0 1-1 0 0,1-1 0 0 0,-2 1 0 0 0,1 0 0 0 0,7 2 0 0 0,0 1 9 0 0,0 1 0 0 0,0 0 0 0 0,0 1 0 0 0,-1 0 0 0 0,0 1 0 0 0,0 0 0 0 0,14 14 0 0 0,-10-7-216 0 0,0 2-1 0 0,-1-1 1 0 0,-1 2 0 0 0,0 0 0 0 0,14 27 0 0 0,-6 3-3211 0 0,-7-1-3694 0 0</inkml:trace>
</inkml:ink>
</file>

<file path=ppt/ink/ink7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29.1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 83 1012 0 0,'5'10'4101'0'0,"-2"-8"-3810"0"0,-1 0 1 0 0,0 0-1 0 0,1 0 0 0 0,-1-1 0 0 0,1 1 0 0 0,0-1 0 0 0,-1 0 1 0 0,1 0-1 0 0,0 0 0 0 0,0 0 0 0 0,0 0 0 0 0,0-1 1 0 0,0 1-1 0 0,0-1 0 0 0,-1 0 0 0 0,1 0 0 0 0,0 0 0 0 0,0 0 1 0 0,0 0-1 0 0,0-1 0 0 0,0 1 0 0 0,3-2 0 0 0,2 0-122 0 0,-1 0 0 0 0,0 0 0 0 0,0-1 0 0 0,0 0 0 0 0,0 0-1 0 0,-1-1 1 0 0,1 0 0 0 0,7-6 0 0 0,-12 9-140 0 0,-1-1 0 0 0,1 1 0 0 0,0-1 1 0 0,-1 1-1 0 0,1-1 0 0 0,0 0 0 0 0,-1 0 0 0 0,0 1 0 0 0,0-1 1 0 0,1 0-1 0 0,-1 0 0 0 0,0 0 0 0 0,0-1 0 0 0,-1 1 0 0 0,1 0 1 0 0,0 0-1 0 0,-1 0 0 0 0,0-1 0 0 0,1 1 0 0 0,-1 0 0 0 0,0-1 1 0 0,0 1-1 0 0,0 0 0 0 0,0 0 0 0 0,-1-1 0 0 0,1 1 0 0 0,0 0 1 0 0,-1 0-1 0 0,0-1 0 0 0,0 1 0 0 0,-1-2 0 0 0,2 3-19 0 0,-1 0 0 0 0,0 1 0 0 0,1-1 0 0 0,-1 1 0 0 0,0-1 0 0 0,0 1 0 0 0,1-1 0 0 0,-1 1 0 0 0,0-1-1 0 0,0 1 1 0 0,0 0 0 0 0,0 0 0 0 0,0-1 0 0 0,0 1 0 0 0,0 0 0 0 0,1 0 0 0 0,-1 0 0 0 0,0 0 0 0 0,-1 0 0 0 0,1 0 5 0 0,-2 0 43 0 0,0-1-1 0 0,-1 1 1 0 0,1 0-1 0 0,-1 0 1 0 0,1 0-1 0 0,-1 1 0 0 0,1-1 1 0 0,0 1-1 0 0,-1 0 1 0 0,1 0-1 0 0,0 0 1 0 0,0 0-1 0 0,-1 1 0 0 0,1-1 1 0 0,-4 3-1 0 0,-4 3 229 0 0,0 1-1 0 0,-13 11 1 0 0,18-14-171 0 0,0 0-1 0 0,1 1 1 0 0,0 0 0 0 0,0 0 0 0 0,0 0-1 0 0,1 0 1 0 0,-1 1 0 0 0,2-1-1 0 0,-1 1 1 0 0,1 0 0 0 0,0 0 0 0 0,-3 11-1 0 0,5-13-69 0 0,0-1-1 0 0,1 1 0 0 0,-1 0 0 0 0,1 0 0 0 0,0-1 0 0 0,0 1 0 0 0,1 0 0 0 0,-1 0 0 0 0,1-1 0 0 0,0 1 0 0 0,1-1 0 0 0,-1 1 1 0 0,1-1-1 0 0,0 1 0 0 0,0-1 0 0 0,0 0 0 0 0,0 0 0 0 0,1 0 0 0 0,0 0 0 0 0,0 0 0 0 0,4 4 0 0 0,5 4-294 0 0,1-1 0 0 0,0 0-1 0 0,0-1 1 0 0,1-1 0 0 0,1 0-1 0 0,-1-1 1 0 0,30 11 0 0 0,-30-14-1327 0 0,0 0 0 0 0,0-1 1 0 0,1 0-1 0 0,-1-2 1 0 0,20 2-1 0 0,-16-3-3271 0 0</inkml:trace>
</inkml:ink>
</file>

<file path=ppt/ink/ink7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29.9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 13 128 0 0,'-2'-12'5241'0'0,"1"13"-4959"0"0,0 0 0 0 0,0 0 0 0 0,1 0-1 0 0,-1 0 1 0 0,0 0 0 0 0,1 1 0 0 0,-1-1-1 0 0,1 0 1 0 0,-1 1 0 0 0,0 2 0 0 0,3 25 618 0 0,1 1 1 0 0,2-1 0 0 0,1 0-1 0 0,10 30 1 0 0,-7-26-1569 0 0,-1 1-1 0 0,5 47 1 0 0,-9-29-3864 0 0,-4-29 501 0 0</inkml:trace>
</inkml:ink>
</file>

<file path=ppt/ink/ink7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0.3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9 8 668 0 0,'-8'-3'404'0'0,"0"2"-1"0"0,-1-1 1 0 0,1 1 0 0 0,0 1-1 0 0,-1 0 1 0 0,1 0-1 0 0,0 0 1 0 0,-1 1 0 0 0,1 0-1 0 0,0 1 1 0 0,0 0-1 0 0,0 0 1 0 0,0 0 0 0 0,0 1-1 0 0,0 1 1 0 0,1-1 0 0 0,-1 1-1 0 0,-10 8 1 0 0,7-5-162 0 0,0 1 1 0 0,1 0 0 0 0,-1 1-1 0 0,2 0 1 0 0,-1 0 0 0 0,1 1-1 0 0,1 0 1 0 0,0 1-1 0 0,0 0 1 0 0,1 0 0 0 0,-6 13-1 0 0,11-19-170 0 0,0 1-1 0 0,1 0 1 0 0,-1-1-1 0 0,1 1 1 0 0,1 0-1 0 0,-1 0 1 0 0,1 0-1 0 0,0 0 1 0 0,0 0-1 0 0,1 0 1 0 0,0-1-1 0 0,0 1 0 0 0,0 0 1 0 0,0 0-1 0 0,1-1 1 0 0,0 1-1 0 0,0-1 1 0 0,1 1-1 0 0,0-1 1 0 0,0 0-1 0 0,0 0 1 0 0,0 0-1 0 0,1-1 1 0 0,0 1-1 0 0,0-1 1 0 0,0 0-1 0 0,0 0 1 0 0,9 6-1 0 0,-9-6-104 0 0,0-1 0 0 0,0 0 0 0 0,1-1 0 0 0,-1 1 0 0 0,1-1 0 0 0,0 1 0 0 0,-1-1-1 0 0,1-1 1 0 0,0 1 0 0 0,0-1 0 0 0,0 0 0 0 0,0 0 0 0 0,1 0 0 0 0,-1-1 0 0 0,0 1 0 0 0,0-1 0 0 0,0-1 0 0 0,1 1 0 0 0,-1-1 0 0 0,0 0 0 0 0,0 0 0 0 0,0 0-1 0 0,0-1 1 0 0,0 0 0 0 0,0 0 0 0 0,-1 0 0 0 0,1 0 0 0 0,-1-1 0 0 0,1 0 0 0 0,-1 0 0 0 0,0 0 0 0 0,6-5 0 0 0,-1-3-95 0 0,0-1 0 0 0,-1 1 0 0 0,-1-1 0 0 0,1-1 0 0 0,-2 1 0 0 0,0-1 1 0 0,0 0-1 0 0,-2-1 0 0 0,6-20 0 0 0,17-42 2213 0 0,-26 78-1776 0 0,40 167 1912 0 0,-24-111-2533 0 0,5 15-2536 0 0,-4-28-4388 0 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4.8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116 0 0,'8'7'773'0'0,"-1"1"1"0"0,0 0-1 0 0,-1 0 0 0 0,0 0 0 0 0,0 1 0 0 0,-1 0 1 0 0,0 0-1 0 0,-1 0 0 0 0,0 1 0 0 0,4 14 1 0 0,1 7 1627 0 0,7 63 0 0 0,-10-49 7 0 0,-6-42-1648 0 0,30-42 2222 0 0,-25 32-3006 0 0,1 0 1 0 0,-1 1-1 0 0,2 0 1 0 0,-1 1-1 0 0,0-1 1 0 0,14-7-1 0 0,-16 11-23 0 0,1 0 0 0 0,0 1 0 0 0,-1-1 0 0 0,1 1 0 0 0,0 0 0 0 0,0 0 0 0 0,0 1 0 0 0,0 0 0 0 0,0 0 0 0 0,0 0 0 0 0,0 0 0 0 0,0 1 0 0 0,0-1 0 0 0,0 1 0 0 0,0 1 0 0 0,0-1 0 0 0,7 4 0 0 0,-7-3-201 0 0,1 2 0 0 0,0-1 0 0 0,-1 0 0 0 0,0 1 1 0 0,0 0-1 0 0,0 0 0 0 0,0 1 0 0 0,-1-1 0 0 0,1 1 0 0 0,-1 0 0 0 0,0 0 1 0 0,-1 1-1 0 0,5 8 0 0 0,-3-5-571 0 0,-1 1 1 0 0,0 0-1 0 0,0 0 1 0 0,3 20-1 0 0,-6-22-414 0 0,0 0-1 0 0,0-1 1 0 0,-1 1-1 0 0,-1 9 1 0 0,-1-7-2196 0 0</inkml:trace>
</inkml:ink>
</file>

<file path=ppt/ink/ink7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0.7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5 744 0 0,'2'-3'435'0'0,"1"0"-1"0"0,-1 0 1 0 0,1 0 0 0 0,0 1-1 0 0,0-1 1 0 0,0 1 0 0 0,0-1 0 0 0,0 1-1 0 0,0 0 1 0 0,1 1 0 0 0,-1-1-1 0 0,8-2 1 0 0,-9 4-255 0 0,1-1 0 0 0,-1 1 0 0 0,1 0 0 0 0,0 0 0 0 0,-1 0 0 0 0,1 0-1 0 0,-1 0 1 0 0,1 0 0 0 0,0 1 0 0 0,-1 0 0 0 0,1-1 0 0 0,-1 1 0 0 0,1 0 0 0 0,-1 0 0 0 0,0 0 0 0 0,1 1 0 0 0,-1-1 0 0 0,0 0 0 0 0,0 1 0 0 0,3 2 0 0 0,3 4 198 0 0,1 1 1 0 0,-1 0-1 0 0,0 0 1 0 0,-1 1-1 0 0,0 0 0 0 0,-1 0 1 0 0,0 1-1 0 0,-1 0 1 0 0,0 0-1 0 0,0 0 1 0 0,-1 0-1 0 0,-1 1 1 0 0,0 0-1 0 0,0-1 1 0 0,-1 1-1 0 0,-1 0 1 0 0,0 21-1 0 0,-1-30-138 0 0,0 0 0 0 0,-1 0 0 0 0,0 0 0 0 0,1 0 0 0 0,-1 0 0 0 0,0 0 0 0 0,-1 0 0 0 0,1 0 0 0 0,0-1 0 0 0,-3 4 0 0 0,3-5 173 0 0,-4-3 111 0 0,4 2-504 0 0,0 0 0 0 0,1 0 0 0 0,-1 0 0 0 0,1 0 1 0 0,-1-1-1 0 0,0 1 0 0 0,1 0 0 0 0,-1 0 0 0 0,0 0 0 0 0,1-1 1 0 0,-1 1-1 0 0,1 0 0 0 0,-1-1 0 0 0,0 1 0 0 0,1 0 0 0 0,-1-1 0 0 0,1 1 1 0 0,-1-1-1 0 0,0 0 0 0 0,-1-3 17 0 0,0-1 1 0 0,0 1-1 0 0,1-1 1 0 0,0 1-1 0 0,-1-1 0 0 0,1 0 1 0 0,1 0-1 0 0,-1 1 1 0 0,1-1-1 0 0,0 0 0 0 0,0 0 1 0 0,0 0-1 0 0,1 0 1 0 0,-1 1-1 0 0,1-1 0 0 0,1 0 1 0 0,-1 1-1 0 0,0-1 1 0 0,1 0-1 0 0,0 1 0 0 0,0 0 1 0 0,5-8-1 0 0,-3 5-39 0 0,1 0 0 0 0,0 0 0 0 0,0 1-1 0 0,0 0 1 0 0,1 0 0 0 0,0 0 0 0 0,0 0 0 0 0,0 1-1 0 0,1 0 1 0 0,-1 0 0 0 0,1 1 0 0 0,0 0 0 0 0,9-4-1 0 0,-10 6-45 0 0,1 1-1 0 0,-1-1 0 0 0,0 1 0 0 0,1 0 0 0 0,-1 0 0 0 0,0 1 1 0 0,1 0-1 0 0,-1 0 0 0 0,1 0 0 0 0,-1 1 0 0 0,1 0 1 0 0,-1 0-1 0 0,0 1 0 0 0,0 0 0 0 0,0 0 0 0 0,0 0 1 0 0,0 1-1 0 0,0 0 0 0 0,0 0 0 0 0,-1 0 0 0 0,10 8 1 0 0,-8-5-277 0 0,0 0 1 0 0,0 0-1 0 0,-1 1 1 0 0,0 0-1 0 0,0 1 1 0 0,0-1-1 0 0,-1 1 1 0 0,0 0-1 0 0,-1 1 1 0 0,0-1-1 0 0,0 1 1 0 0,-1-1-1 0 0,0 1 1 0 0,3 13-1 0 0,1 35-3349 0 0,-6-22-1809 0 0,7-23 1190 0 0</inkml:trace>
</inkml:ink>
</file>

<file path=ppt/ink/ink7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1.4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9 49 860 0 0,'0'0'1660'0'0,"-1"-1"-1479"0"0,1 1 1 0 0,-1-1 0 0 0,1 1 0 0 0,-1 0 0 0 0,0-1-1 0 0,1 1 1 0 0,-1 0 0 0 0,0-1 0 0 0,1 1 0 0 0,-1 0-1 0 0,0 0 1 0 0,1 0 0 0 0,-1 0 0 0 0,0 0 0 0 0,1 0-1 0 0,-1-1 1 0 0,0 2 0 0 0,0-1 0 0 0,1 0 0 0 0,-1 0-1 0 0,-1 0 1 0 0,-9 7 297 0 0,-1 0-1 0 0,1 1 1 0 0,0 0-1 0 0,1 1 0 0 0,0 0 1 0 0,0 1-1 0 0,1 0 1 0 0,0 0-1 0 0,1 1 1 0 0,-13 21-1 0 0,16-23-361 0 0,1 0-1 0 0,0-1 0 0 0,0 2 1 0 0,1-1-1 0 0,0 0 1 0 0,1 1-1 0 0,-2 11 0 0 0,3-15-68 0 0,1 0 0 0 0,0 0 1 0 0,0 0-1 0 0,0 0 0 0 0,1 0 0 0 0,0 0 0 0 0,0 0 0 0 0,1 0 0 0 0,-1 0 0 0 0,1-1 0 0 0,0 1 0 0 0,5 7 1 0 0,-4-8-76 0 0,1 0 1 0 0,0 0 0 0 0,1-1-1 0 0,-1 1 1 0 0,1-1 0 0 0,0 0-1 0 0,0-1 1 0 0,0 1 0 0 0,0-1 0 0 0,1 0-1 0 0,-1 0 1 0 0,1 0 0 0 0,0-1-1 0 0,0 0 1 0 0,6 1 0 0 0,-3-2-274 0 0,-3-2 163 0 0,0 1 1 0 0,0-1-1 0 0,0-1 1 0 0,0 1-1 0 0,0-1 1 0 0,0 0-1 0 0,-1 0 1 0 0,1-1-1 0 0,0 1 1 0 0,-1-1-1 0 0,0-1 1 0 0,0 1-1 0 0,0-1 1 0 0,0 0-1 0 0,-1 0 0 0 0,8-8 1 0 0,-3-1-213 0 0,0-1 0 0 0,0 0 0 0 0,-2 0 0 0 0,12-30 1 0 0,14-66 177 0 0,-12 35 1620 0 0,-15 56-1047 0 0,8-20 662 0 0,-13 37-587 0 0,0 3-410 0 0,0-1 0 0 0,-1 1-1 0 0,1 0 1 0 0,0 0 0 0 0,-1-1-1 0 0,1 1 1 0 0,0 0 0 0 0,-1 0-1 0 0,1 0 1 0 0,-1 0-1 0 0,1 0 1 0 0,-1 0 0 0 0,0-1-1 0 0,1 1 1 0 0,-1 0 0 0 0,0 0-1 0 0,1 2 1 0 0,3 21 565 0 0,-4-21-497 0 0,46 364 5502 0 0,-42-350-4201 0 0,-4-17-1419 0 0,0 0 1 0 0,0 0-1 0 0,0 0 1 0 0,0 0-1 0 0,1 0 1 0 0,-1 1-1 0 0,0-1 1 0 0,0 0-1 0 0,0 0 1 0 0,0 0-1 0 0,0 0 0 0 0,0 0 1 0 0,0 0-1 0 0,1 0 1 0 0,-1 0-1 0 0,0 0 1 0 0,0 0-1 0 0,0 0 1 0 0,0 0-1 0 0,0 0 1 0 0,1 0-1 0 0,-1 0 1 0 0,0 0-1 0 0,0 0 0 0 0,0 0 1 0 0,0 0-1 0 0,0 0 1 0 0,0 0-1 0 0,1 0 1 0 0,-1 0-1 0 0,0 0 1 0 0,0 0-1 0 0,0 0 1 0 0,0 0-1 0 0,0 0 1 0 0,1 0-1 0 0,-1 0 0 0 0,0 0 1 0 0,0 0-1 0 0,0 0 1 0 0,0 0-1 0 0,0-1 1 0 0,0 1-1 0 0,0 0 1 0 0,0 0-1 0 0,1 0 1 0 0,-1 0-1 0 0,0 0 0 0 0,0-1 1 0 0,14-27 520 0 0,-6 9-668 0 0,1 1-317 0 0,1 1 1 0 0,16-22-1 0 0,-25 38 400 0 0,0 0 0 0 0,0 0 0 0 0,0 0 0 0 0,0 0 0 0 0,0 0 0 0 0,0 1 0 0 0,0-1 0 0 0,0 1 0 0 0,1-1 1 0 0,-1 1-1 0 0,0-1 0 0 0,0 1 0 0 0,1-1 0 0 0,-1 1 0 0 0,0 0 0 0 0,1 0 0 0 0,-1 0 0 0 0,0 0 0 0 0,1 0 0 0 0,-1 0 0 0 0,0 0 0 0 0,1 0 0 0 0,-1 0 0 0 0,0 1 0 0 0,0-1 0 0 0,1 1 0 0 0,-1-1 0 0 0,0 1 0 0 0,3 0 0 0 0,1 2-28 0 0,0 0-1 0 0,0 0 0 0 0,-1 0 1 0 0,9 8-1 0 0,-7-6 12 0 0,0 0 1 0 0,0 0-1 0 0,1 0 0 0 0,-1 0 0 0 0,1-1 0 0 0,0 0 0 0 0,1-1 0 0 0,-1 0 0 0 0,14 4 0 0 0,-16-6 9 0 0,1 0 0 0 0,0 0 0 0 0,0-1 1 0 0,0 0-1 0 0,0 0 0 0 0,0-1 0 0 0,0 1 0 0 0,0-1 0 0 0,0-1 0 0 0,-1 1 1 0 0,1-1-1 0 0,0 0 0 0 0,9-5 0 0 0,-4 1-1 0 0,0 0 0 0 0,-1-1 0 0 0,0 0 0 0 0,0-1 0 0 0,-1 0 0 0 0,0 0 1 0 0,-1-1-1 0 0,1 0 0 0 0,-2-1 0 0 0,1 0 0 0 0,-1 0 0 0 0,-1-1 0 0 0,8-17 0 0 0,-13 28 56 0 0,-1 0-1 0 0,0-1 1 0 0,0 1-1 0 0,0 0 1 0 0,0-1 0 0 0,1 1-1 0 0,-1-1 1 0 0,0 1-1 0 0,0-1 1 0 0,0 1-1 0 0,0 0 1 0 0,0-1 0 0 0,0 1-1 0 0,0-1 1 0 0,0 1-1 0 0,0 0 1 0 0,0-1-1 0 0,0 1 1 0 0,-1-1-1 0 0,1 1 1 0 0,0-1 0 0 0,0 1-1 0 0,0 0 1 0 0,0-1-1 0 0,-1 1 1 0 0,1 0-1 0 0,0-1 1 0 0,0 1 0 0 0,-1 0-1 0 0,1-1 1 0 0,0 1-1 0 0,-1 0 1 0 0,1-1-1 0 0,0 1 1 0 0,-1 0 0 0 0,1 0-1 0 0,0-1 1 0 0,-1 1-1 0 0,1 0 1 0 0,0 0-1 0 0,-1 0 1 0 0,1 0-1 0 0,-1 0 1 0 0,1 0 0 0 0,0-1-1 0 0,-1 1 1 0 0,1 0-1 0 0,-1 0 1 0 0,1 0-1 0 0,-1 0 1 0 0,1 0 0 0 0,0 0-1 0 0,-1 1 1 0 0,-2-1 16 0 0,1 0 1 0 0,-1 0-1 0 0,1 0 1 0 0,-1 1-1 0 0,1-1 0 0 0,-1 1 1 0 0,1-1-1 0 0,-3 2 1 0 0,1 0 23 0 0,0 0 0 0 0,0 1 0 0 0,0-1 0 0 0,0 1 0 0 0,1 0 0 0 0,-1 0 0 0 0,1 0 0 0 0,0 0 0 0 0,0 1 0 0 0,0-1 0 0 0,0 1 0 0 0,0 0 0 0 0,1 0 0 0 0,0 0 0 0 0,0 0 0 0 0,0 0 0 0 0,0 0 0 0 0,0 1 0 0 0,1-1 0 0 0,0 0 0 0 0,0 1 1 0 0,0-1-1 0 0,1 1 0 0 0,-1 0 0 0 0,1-1 0 0 0,0 1 0 0 0,1-1 0 0 0,-1 1 0 0 0,1-1 0 0 0,0 1 0 0 0,0-1 0 0 0,0 1 0 0 0,0-1 0 0 0,1 1 0 0 0,0-1 0 0 0,0 0 0 0 0,0 0 0 0 0,0 0 0 0 0,1 0 0 0 0,0-1 0 0 0,-1 1 0 0 0,1 0 0 0 0,0-1 0 0 0,1 0 0 0 0,-1 0 0 0 0,1 0 0 0 0,-1 0 0 0 0,1-1 0 0 0,0 1 0 0 0,0-1 0 0 0,0 0 0 0 0,0 0 0 0 0,1 0 0 0 0,-1-1 0 0 0,7 2 0 0 0,-5-2-4 0 0,0 0 0 0 0,0-1 0 0 0,0 1 0 0 0,0-1-1 0 0,0-1 1 0 0,1 1 0 0 0,-1-1 0 0 0,0 0 0 0 0,0-1-1 0 0,-1 1 1 0 0,1-1 0 0 0,0 0 0 0 0,0-1-1 0 0,-1 1 1 0 0,1-1 0 0 0,-1 0 0 0 0,0 0 0 0 0,0-1-1 0 0,0 0 1 0 0,-1 0 0 0 0,1 0 0 0 0,-1 0 0 0 0,0-1-1 0 0,0 1 1 0 0,6-11 0 0 0,-7 11-37 0 0,0 0 0 0 0,-1-1 0 0 0,1 1 0 0 0,-1-1 0 0 0,0 0 0 0 0,-1 1 0 0 0,1-1 0 0 0,-1 0 0 0 0,0 0 0 0 0,0 0 0 0 0,0 0 0 0 0,-1 0 0 0 0,0-1 0 0 0,0 1 0 0 0,0 0 0 0 0,-1 0 0 0 0,1 0-1 0 0,-1 0 1 0 0,0 0 0 0 0,-1 0 0 0 0,1 0 0 0 0,-1 0 0 0 0,0 1 0 0 0,0-1 0 0 0,-1 1 0 0 0,1-1 0 0 0,-1 1 0 0 0,0 0 0 0 0,0 0 0 0 0,-7-7 0 0 0,4 6-249 0 0,-1 0 0 0 0,1 0-1 0 0,-1 0 1 0 0,1 1 0 0 0,-1 0 0 0 0,0 1-1 0 0,-1 0 1 0 0,1 0 0 0 0,-1 0 0 0 0,-10-1-1 0 0,-5-1-4133 0 0,-46-2-1 0 0,57 7 2153 0 0</inkml:trace>
</inkml:ink>
</file>

<file path=ppt/ink/ink7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1.8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1 184 0 0,'8'1'499'0'0,"0"-1"1"0"0,0 1-1 0 0,-1 0 1 0 0,1 1-1 0 0,0-1 0 0 0,-1 2 1 0 0,1-1-1 0 0,-1 1 1 0 0,0 0-1 0 0,0 1 1 0 0,0-1-1 0 0,0 1 0 0 0,0 1 1 0 0,-1-1-1 0 0,0 1 1 0 0,0 1-1 0 0,9 9 0 0 0,-7-6-201 0 0,-1 0-1 0 0,-1 1 0 0 0,1 0 1 0 0,-2 0-1 0 0,1 1 0 0 0,-1-1 1 0 0,-1 1-1 0 0,0 0 0 0 0,-1 1 1 0 0,0-1-1 0 0,2 15 0 0 0,0 3 437 0 0,2 21 1070 0 0,-5-18 2415 0 0,-2-31-3586 0 0,14-21 623 0 0,11-24-1387 0 0,2 0-1 0 0,2 2 0 0 0,1 1 0 0 0,3 2 0 0 0,53-51 1 0 0,-84 88-238 0 0,1 0 1 0 0,0 1 0 0 0,0-1-1 0 0,1 0 1 0 0,-1 1 0 0 0,0 0-1 0 0,0 0 1 0 0,1 0 0 0 0,-1 0-1 0 0,7 0 1 0 0,-9 0 253 0 0,0 1-29 0 0,0 0 0 0 0,-1 0-1 0 0,1 0 1 0 0,0 0 0 0 0,-1 1 0 0 0,1-1-1 0 0,0 0 1 0 0,-1 0 0 0 0,1 0-1 0 0,-1 0 1 0 0,1 1 0 0 0,0-1 0 0 0,-1 0-1 0 0,1 1 1 0 0,-1-1 0 0 0,1 0-1 0 0,-1 1 1 0 0,1-1 0 0 0,-1 1 0 0 0,1-1-1 0 0,0 1 1 0 0</inkml:trace>
</inkml:ink>
</file>

<file path=ppt/ink/ink7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4.3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7 277 360 0 0,'-24'-54'7769'0'0,"24"57"-7275"0"0,-1 11-76 0 0,1 0 1 0 0,1 0 0 0 0,0 0 0 0 0,6 24-1 0 0,1 13 78 0 0,6 371 3663 0 0,-14-419-3996 0 0,0-1-1 0 0,0 0 0 0 0,0 0 1 0 0,0 0-1 0 0,0 1 0 0 0,0-1 1 0 0,-1 0-1 0 0,0 0 0 0 0,1 0 0 0 0,-3 4 1 0 0,3-6-143 0 0,0 1 1 0 0,0-1-1 0 0,-1 0 1 0 0,1 0-1 0 0,0 1 1 0 0,0-1-1 0 0,-1 0 0 0 0,1 0 1 0 0,0 0-1 0 0,-1 0 1 0 0,1 0-1 0 0,0 1 1 0 0,0-1-1 0 0,-1 0 1 0 0,1 0-1 0 0,0 0 1 0 0,-1 0-1 0 0,1 0 1 0 0,0 0-1 0 0,-1 0 0 0 0,1 0 1 0 0,0 0-1 0 0,-1 0 1 0 0,1 0-1 0 0,0 0 1 0 0,-1-1-1 0 0,1 1 1 0 0,0 0-1 0 0,0 0 1 0 0,-1 0-1 0 0,1 0 1 0 0,0 0-1 0 0,-1 0 0 0 0,1-1 1 0 0,0 1-1 0 0,0 0 1 0 0,0 0-1 0 0,-1-1 1 0 0,1 1-1 0 0,0 0 1 0 0,-3-4-9 0 0,0 1 0 0 0,0-1 1 0 0,1 0-1 0 0,-1 1 1 0 0,1-1-1 0 0,0 0 0 0 0,0-1 1 0 0,-2-6-1 0 0,-5-22-272 0 0,2 1 1 0 0,1-1-1 0 0,-3-52 1 0 0,7 27-233 0 0,8-72 1 0 0,-3 89 272 0 0,3 1 1 0 0,1 0-1 0 0,14-42 0 0 0,-17 67 125 0 0,2 0-1 0 0,-1 0 1 0 0,2 1-1 0 0,0 0 1 0 0,1 0-1 0 0,0 0 1 0 0,1 1-1 0 0,1 0 1 0 0,0 1-1 0 0,0 0 1 0 0,13-10-1 0 0,-18 18 58 0 0,-1 1 1 0 0,1 0-1 0 0,-1 0 0 0 0,1 0 0 0 0,0 0 0 0 0,0 1 0 0 0,1 0 1 0 0,-1 0-1 0 0,0 0 0 0 0,1 1 0 0 0,-1 0 0 0 0,1 0 1 0 0,-1 0-1 0 0,1 1 0 0 0,-1 0 0 0 0,10 0 0 0 0,-11 1 28 0 0,-1 0-1 0 0,1-1 1 0 0,0 2-1 0 0,-1-1 1 0 0,1 0-1 0 0,-1 1 1 0 0,0-1-1 0 0,1 1 1 0 0,-1 0-1 0 0,0 0 1 0 0,0 1-1 0 0,0-1 1 0 0,0 0-1 0 0,-1 1 1 0 0,1 0-1 0 0,-1 0 0 0 0,1 0 1 0 0,-1 0-1 0 0,0 0 1 0 0,0 0-1 0 0,-1 0 1 0 0,1 1-1 0 0,-1-1 1 0 0,1 1-1 0 0,1 5 1 0 0,-2-1 6 0 0,1 1 1 0 0,-2-1 0 0 0,1 0-1 0 0,-1 1 1 0 0,0-1-1 0 0,0 1 1 0 0,-1-1-1 0 0,-1 0 1 0 0,1 1 0 0 0,-1-1-1 0 0,0 0 1 0 0,-1 0-1 0 0,-5 11 1 0 0,-3 3 6 0 0,0 0 0 0 0,-1-1-1 0 0,-21 26 1 0 0,14-25 152 0 0,-1 0 0 0 0,-1-1 0 0 0,0-1 0 0 0,-31 20 0 0 0,39-30 147 0 0,12-9-281 0 0,0 0 1 0 0,0 0-1 0 0,-1 0 0 0 0,1 0 1 0 0,0 0-1 0 0,0 0 1 0 0,0 0-1 0 0,0 0 0 0 0,1 0 1 0 0,-1 0-1 0 0,0 1 1 0 0,0-1-1 0 0,1 0 0 0 0,-1 1 1 0 0,0-1-1 0 0,1 0 0 0 0,0 1 1 0 0,-1-1-1 0 0,1 1 1 0 0,0-1-1 0 0,0 0 0 0 0,-1 1 1 0 0,1-1-1 0 0,1 2 0 0 0,0 0-6 0 0,0 1 0 0 0,0-1-1 0 0,0 0 1 0 0,1-1-1 0 0,-1 1 1 0 0,1 0-1 0 0,0 0 1 0 0,0 0-1 0 0,4 3 1 0 0,78 83 722 0 0,-51-57-578 0 0,31 40 1 0 0,-5 16-2854 0 0,-37-55-414 0 0,-10-17-1260 0 0</inkml:trace>
</inkml:ink>
</file>

<file path=ppt/ink/ink7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4.7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4 168 168 0 0,'0'0'3212'0'0,"18"-13"2467"0"0,4 4-4476 0 0,-8 3-774 0 0,0-1 0 0 0,26-16-1 0 0,-36 21-417 0 0,0-1-1 0 0,0 0 0 0 0,-1-1 0 0 0,1 1 1 0 0,-1 0-1 0 0,0-1 0 0 0,0 0 0 0 0,0 0 0 0 0,-1 0 1 0 0,1 0-1 0 0,-1 0 0 0 0,0 0 0 0 0,0-1 1 0 0,1-4-1 0 0,-2 7-16 0 0,-1 1 1 0 0,1-1-1 0 0,-1 1 0 0 0,0-1 1 0 0,1 1-1 0 0,-1-1 1 0 0,0 1-1 0 0,0-1 1 0 0,0 1-1 0 0,0-1 0 0 0,-1 0 1 0 0,1 1-1 0 0,0-1 1 0 0,-1 1-1 0 0,1-1 0 0 0,0 1 1 0 0,-1 0-1 0 0,0-1 1 0 0,1 1-1 0 0,-1-1 1 0 0,-2-1-1 0 0,2 1-1 0 0,-1 1 0 0 0,0 0 0 0 0,1-1-1 0 0,-1 1 1 0 0,0 0 0 0 0,0 0 0 0 0,0 0 0 0 0,0 0 0 0 0,0 1 0 0 0,0-1 0 0 0,0 1-1 0 0,0-1 1 0 0,0 1 0 0 0,-2-1 0 0 0,-4 1 29 0 0,0 0-1 0 0,1 0 1 0 0,-1 0 0 0 0,0 1 0 0 0,1 0-1 0 0,-1 1 1 0 0,-12 4 0 0 0,-1 2 164 0 0,0 2 1 0 0,2 0 0 0 0,-1 1-1 0 0,-21 16 1 0 0,31-19-82 0 0,0-1-1 0 0,0 2 1 0 0,1 0 0 0 0,0 0-1 0 0,1 0 1 0 0,0 1-1 0 0,1 0 1 0 0,-13 23 0 0 0,18-29-91 0 0,0 1 1 0 0,0 0 0 0 0,0 0-1 0 0,0 0 1 0 0,1 1 0 0 0,0-1-1 0 0,0 0 1 0 0,0 0 0 0 0,1 1-1 0 0,0-1 1 0 0,0 1 0 0 0,0-1-1 0 0,0 0 1 0 0,1 1 0 0 0,0-1-1 0 0,0 0 1 0 0,1 0 0 0 0,-1 0 0 0 0,1 0-1 0 0,0 0 1 0 0,1 0 0 0 0,-1 0-1 0 0,1-1 1 0 0,0 1 0 0 0,0-1-1 0 0,0 0 1 0 0,1 1 0 0 0,6 5-1 0 0,-3-4-383 0 0,1 0 0 0 0,0 0 0 0 0,0-1 0 0 0,1 1 0 0 0,-1-2 0 0 0,1 1 0 0 0,0-2 0 0 0,0 1 0 0 0,1-1 0 0 0,-1 0 0 0 0,1-1 0 0 0,-1 0 0 0 0,1-1 0 0 0,18 1 0 0 0,1-4-2269 0 0,-3-2-731 0 0</inkml:trace>
</inkml:ink>
</file>

<file path=ppt/ink/ink7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5.1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7 35 1236 0 0,'1'-1'213'0'0,"-1"-1"-1"0"0,1 1 1 0 0,-1 0 0 0 0,0-1 0 0 0,1 1-1 0 0,-1-1 1 0 0,0 1 0 0 0,0-1-1 0 0,0 1 1 0 0,0-1 0 0 0,0 1-1 0 0,0-1 1 0 0,-1 1 0 0 0,1-1-1 0 0,0 1 1 0 0,-1 0 0 0 0,1-1-1 0 0,-1 1 1 0 0,1-1 0 0 0,-4-3 827 0 0,0 6-299 0 0,-3 0-513 0 0,0 1 0 0 0,1 1 0 0 0,-1-1 0 0 0,0 1 0 0 0,1 1 0 0 0,0-1 0 0 0,0 1 0 0 0,0 0 0 0 0,0 0 0 0 0,1 0 0 0 0,0 1 0 0 0,0 0 0 0 0,0 0 0 0 0,0 1 0 0 0,1-1 0 0 0,-5 9 0 0 0,-1 0 57 0 0,1 1 1 0 0,0 1 0 0 0,2 0-1 0 0,0 0 1 0 0,-9 30 0 0 0,13-35-202 0 0,1 1 0 0 0,1-1 1 0 0,0 1-1 0 0,0-1 1 0 0,1 0-1 0 0,0 1 0 0 0,1-1 1 0 0,1 1-1 0 0,0-1 1 0 0,0 0-1 0 0,1 0 1 0 0,0 0-1 0 0,10 20 0 0 0,-11-26-72 0 0,1 1-1 0 0,0-1 0 0 0,0 0 0 0 0,0 0 1 0 0,1 0-1 0 0,0-1 0 0 0,0 1 0 0 0,0-1 0 0 0,0 0 1 0 0,1 0-1 0 0,-1-1 0 0 0,1 1 0 0 0,0-1 1 0 0,0 0-1 0 0,0 0 0 0 0,1 0 0 0 0,-1-1 1 0 0,1 0-1 0 0,0 0 0 0 0,-1-1 0 0 0,1 1 0 0 0,0-1 1 0 0,0 0-1 0 0,0-1 0 0 0,0 0 0 0 0,0 1 1 0 0,0-2-1 0 0,7 0 0 0 0,-4-1-127 0 0,0 0 0 0 0,0-1 1 0 0,0 0-1 0 0,-1-1 0 0 0,1 0 0 0 0,-1 0 0 0 0,0 0 0 0 0,0-1 1 0 0,-1 0-1 0 0,1-1 0 0 0,-1 0 0 0 0,0 0 0 0 0,-1-1 0 0 0,8-8 1 0 0,0-2 70 0 0,-1 0 1 0 0,-1-1-1 0 0,-1-1 1 0 0,0 1-1 0 0,8-22 1 0 0,-7 4 170 0 0,-12 34-106 0 0,0 2-18 0 0,0 1 0 0 0,0-1 1 0 0,0 0-1 0 0,0 1 0 0 0,-1-1 1 0 0,1 0-1 0 0,0 0 0 0 0,0 1 0 0 0,0-1 1 0 0,-1 0-1 0 0,1 0 0 0 0,0 0 1 0 0,0 1-1 0 0,0-1 0 0 0,-1 0 1 0 0,1 0-1 0 0,0 0 0 0 0,0 0 0 0 0,-1 0 1 0 0,1 1-1 0 0,0-1 0 0 0,-1 0 1 0 0,1 0-1 0 0,0 0 0 0 0,0 0 0 0 0,-1 0 1 0 0,1 0-1 0 0,0 0 0 0 0,-1 0 1 0 0,1 0-1 0 0,0 0 0 0 0,-1 0 0 0 0,1 0 1 0 0,0 0-1 0 0,0 0 0 0 0,-1 0 1 0 0,1-1-1 0 0,0 1 0 0 0,0 0 1 0 0,-1 0-1 0 0,1 0 0 0 0,0 0 0 0 0,-1 0 1 0 0,1-1-1 0 0,0 1 0 0 0,0 0 1 0 0,0 0-1 0 0,-1 0 0 0 0,1-1 0 0 0,0 1 1 0 0,0 0-1 0 0,0 0 0 0 0,0-1 1 0 0,-1 1-1 0 0,1 0 0 0 0,0 0 1 0 0,0-1-1 0 0,0 1 0 0 0,0 0 0 0 0,0-1 1 0 0,0 1-1 0 0,0 0 0 0 0,0-1 1 0 0,0 1-1 0 0,0-1 0 0 0,-3 7 79 0 0,1 0 0 0 0,0 1 0 0 0,0-1 0 0 0,1 0 0 0 0,-1 0 0 0 0,2 1 0 0 0,-1-1 0 0 0,1 1 0 0 0,-1-1 0 0 0,2 1 0 0 0,-1-1-1 0 0,1 0 1 0 0,0 1 0 0 0,0-1 0 0 0,1 0 0 0 0,0 1 0 0 0,0-1 0 0 0,0 0 0 0 0,1 0 0 0 0,0-1 0 0 0,0 1 0 0 0,0 0 0 0 0,1-1 0 0 0,0 0 0 0 0,0 0 0 0 0,0 0 0 0 0,1 0 0 0 0,-1-1 0 0 0,1 0-1 0 0,0 0 1 0 0,0 0 0 0 0,1 0 0 0 0,-1-1 0 0 0,1 0 0 0 0,0 0 0 0 0,8 2 0 0 0,-11-4-45 0 0,-1 0 0 0 0,0 0 0 0 0,1-1 0 0 0,-1 1-1 0 0,1-1 1 0 0,-1 0 0 0 0,1 0 0 0 0,-1 0 0 0 0,1 0 0 0 0,-1 0 0 0 0,1 0-1 0 0,-1-1 1 0 0,1 1 0 0 0,-1-1 0 0 0,1 1 0 0 0,-1-1 0 0 0,0 0 0 0 0,1 0-1 0 0,-1 0 1 0 0,0-1 0 0 0,0 1 0 0 0,0 0 0 0 0,0-1 0 0 0,0 0 0 0 0,0 1-1 0 0,0-1 1 0 0,0 0 0 0 0,-1 0 0 0 0,1 0 0 0 0,-1 0 0 0 0,1 0 0 0 0,-1 0 0 0 0,0 0-1 0 0,0-1 1 0 0,1-1 0 0 0,0-2-23 0 0,0 1 0 0 0,-1 0 0 0 0,1-1-1 0 0,-1 1 1 0 0,-1-1 0 0 0,1 1 0 0 0,-1-1 0 0 0,0 1 0 0 0,0-1-1 0 0,0 1 1 0 0,-1-1 0 0 0,0 0 0 0 0,0 1 0 0 0,-3-9 0 0 0,1 8-207 0 0,0 0 0 0 0,0 0 0 0 0,0 1 0 0 0,-1-1 0 0 0,0 1 0 0 0,0-1 0 0 0,-1 1 0 0 0,1 1 0 0 0,-1-1 0 0 0,0 1 0 0 0,-11-8 0 0 0,-2 1-1633 0 0,-1 1-1 0 0,-26-11 1 0 0,28 13-71 0 0,-1-3-3130 0 0</inkml:trace>
</inkml:ink>
</file>

<file path=ppt/ink/ink7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5.4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 372 0 0,'14'-2'601'0'0,"0"0"0"0"0,0 2 0 0 0,0 0 0 0 0,0 0 0 0 0,-1 1 0 0 0,1 1-1 0 0,0 1 1 0 0,-1 0 0 0 0,1 0 0 0 0,-1 1 0 0 0,0 1 0 0 0,0 0 0 0 0,0 1 0 0 0,-1 0 0 0 0,21 15 0 0 0,-24-14-426 0 0,0 0-1 0 0,0 0 1 0 0,-1 1 0 0 0,0 0 0 0 0,-1 0 0 0 0,0 1 0 0 0,0 0 0 0 0,-1 0 0 0 0,0 1 0 0 0,-1 0 0 0 0,0 0 0 0 0,0 0 0 0 0,-1 1 0 0 0,0-1-1 0 0,-1 1 1 0 0,0 0 0 0 0,-1 0 0 0 0,0 0 0 0 0,-1 0 0 0 0,0 12 0 0 0,-4-2 1124 0 0,3-21-1238 0 0,0 1 1 0 0,0-1-1 0 0,1 1 1 0 0,-1 0 0 0 0,-1-1-1 0 0,1 1 1 0 0,0 0 0 0 0,0-1-1 0 0,0 1 1 0 0,0-1-1 0 0,0 1 1 0 0,0-1 0 0 0,-1 1-1 0 0,1 0 1 0 0,0-1 0 0 0,-1 1-1 0 0,1-1 1 0 0,0 1-1 0 0,-1-1 1 0 0,1 1 0 0 0,0-1-1 0 0,-1 1 1 0 0,1-1 0 0 0,-1 0-1 0 0,1 1 1 0 0,-1-1-1 0 0,1 0 1 0 0,-1 1 0 0 0,1-1-1 0 0,-2 1 1 0 0,0-4-12 0 0,0 1 1 0 0,0 0-1 0 0,0 0 1 0 0,0-1-1 0 0,1 1 1 0 0,-1-1-1 0 0,1 1 1 0 0,-1-1 0 0 0,1 0-1 0 0,0 0 1 0 0,0 1-1 0 0,0-1 1 0 0,1 0-1 0 0,-1 0 1 0 0,1 0-1 0 0,-1 0 1 0 0,1 0-1 0 0,0 0 1 0 0,0 0-1 0 0,1-5 1 0 0,0-8-2 0 0,0 0 0 0 0,6-24 0 0 0,-4 28-88 0 0,3-14-636 0 0,10-30 1 0 0,-13 48-123 0 0,0 0 0 0 0,1 1 0 0 0,0-1 0 0 0,7-9 0 0 0,-9 15 210 0 0,0 0-1 0 0,-1 0 0 0 0,1 0 0 0 0,0 0 1 0 0,0 0-1 0 0,0 0 0 0 0,1 1 0 0 0,-1-1 0 0 0,0 1 1 0 0,1 0-1 0 0,-1-1 0 0 0,4 0 0 0 0,7-2-2071 0 0</inkml:trace>
</inkml:ink>
</file>

<file path=ppt/ink/ink7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5.8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6 15 1308 0 0,'1'-1'223'0'0,"0"0"0"0"0,0-1 0 0 0,0 1-1 0 0,0 0 1 0 0,0 0 0 0 0,0 1 0 0 0,0-1-1 0 0,0 0 1 0 0,0 0 0 0 0,0 0 0 0 0,0 1 0 0 0,1-1-1 0 0,-1 1 1 0 0,0-1 0 0 0,1 1 0 0 0,-1-1 0 0 0,0 1-1 0 0,1 0 1 0 0,-1-1 0 0 0,0 1 0 0 0,1 0 0 0 0,1 0-1 0 0,-1 1-42 0 0,0-1 1 0 0,0 1-1 0 0,0 0 0 0 0,0 0 0 0 0,0 0 0 0 0,0 0 0 0 0,0 0 0 0 0,-1 0 0 0 0,1 0 0 0 0,0 1 0 0 0,-1-1 0 0 0,1 0 0 0 0,1 3 0 0 0,4 5 267 0 0,-1 0-1 0 0,0 0 1 0 0,-1 0-1 0 0,7 16 1 0 0,-4-4-21 0 0,0 0 0 0 0,-2 0 1 0 0,0 1-1 0 0,-2-1 1 0 0,0 1-1 0 0,-1 0 0 0 0,-2 0 1 0 0,0 0-1 0 0,-4 38 0 0 0,2-44-273 0 0,-1 0 0 0 0,-1 0 0 0 0,-1-1 0 0 0,0 1 0 0 0,-1-1 0 0 0,-1 0 0 0 0,0 0 0 0 0,-1 0 0 0 0,-1-1 0 0 0,0 0 0 0 0,-1-1 0 0 0,0 0 0 0 0,-1 0 0 0 0,-12 12 0 0 0,19-22-103 0 0,1 0-18 0 0,-1-1 0 0 0,1 1 1 0 0,-1-1-1 0 0,1 1 0 0 0,-1-1 0 0 0,0 0 0 0 0,0 0 1 0 0,0 0-1 0 0,0-1 0 0 0,0 1 0 0 0,0-1 0 0 0,0 1 0 0 0,-1-1 1 0 0,1 0-1 0 0,-1 0 0 0 0,1-1 0 0 0,0 1 0 0 0,-1-1 0 0 0,-4 0 1 0 0,5 0-47 0 0,0 0 0 0 0,0-1 1 0 0,0 1-1 0 0,0-1 0 0 0,1 0 1 0 0,-1 0-1 0 0,0 0 0 0 0,0 0 0 0 0,1 0 1 0 0,-1-1-1 0 0,1 1 0 0 0,-1-1 1 0 0,1 0-1 0 0,0 1 0 0 0,0-1 1 0 0,-1 0-1 0 0,1-1 0 0 0,1 1 1 0 0,-1 0-1 0 0,0 0 0 0 0,0-1 0 0 0,1 1 1 0 0,0-1-1 0 0,-1 0 0 0 0,1 1 1 0 0,0-1-1 0 0,0 0 0 0 0,0 0 1 0 0,1 1-1 0 0,-1-1 0 0 0,1 0 1 0 0,-1 0-1 0 0,1 0 0 0 0,0 0 0 0 0,0 0 1 0 0,0 0-1 0 0,1 0 0 0 0,0-5 1 0 0,0 5 0 0 0,0 1 1 0 0,0-1 0 0 0,0 0 0 0 0,0 1 0 0 0,0-1 0 0 0,1 1-1 0 0,-1-1 1 0 0,1 1 0 0 0,-1 0 0 0 0,1-1 0 0 0,0 1 0 0 0,0 0-1 0 0,0 0 1 0 0,0 0 0 0 0,0 0 0 0 0,1 1 0 0 0,-1-1-1 0 0,3-1 1 0 0,0 1-9 0 0,0 0 0 0 0,0 0 0 0 0,0 1 0 0 0,0 0 0 0 0,0 0 0 0 0,1 0 0 0 0,-1 1 0 0 0,0-1 0 0 0,7 1 0 0 0,9 2-497 0 0,0 1 0 0 0,-1 1 0 0 0,37 11 0 0 0,-56-14 471 0 0,9 2-541 0 0,1 1-1 0 0,-1 0 0 0 0,-1 1 0 0 0,1 0 0 0 0,11 9 1 0 0,20 20-5325 0 0,-29-20 2419 0 0</inkml:trace>
</inkml:ink>
</file>

<file path=ppt/ink/ink7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6.2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4 1220 0 0,'4'-63'8073'0'0,"12"65"-6910"0"0,-14-1-1078 0 0,-1 0 0 0 0,1 1-1 0 0,-1-1 1 0 0,1 0 0 0 0,-1 0 0 0 0,0 1-1 0 0,0-1 1 0 0,0 1 0 0 0,1-1 0 0 0,-1 1-1 0 0,-1-1 1 0 0,1 1 0 0 0,1 2 0 0 0,9 25 482 0 0,-10-27-526 0 0,21 70 920 0 0,18 106 1 0 0,-20-50-2245 0 0,-3 0-5607 0 0,-16-123 6394 0 0,1 10-2605 0 0</inkml:trace>
</inkml:ink>
</file>

<file path=ppt/ink/ink7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6.8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 233 1308 0 0,'-3'-1'587'0'0,"-1"-1"0"0"0,1 1 0 0 0,-1 0 0 0 0,1-1 0 0 0,0 0 0 0 0,0 1 0 0 0,0-2 0 0 0,0 1 0 0 0,-5-5 0 0 0,7 7-501 0 0,1-1 0 0 0,0 1 1 0 0,-1-1-1 0 0,1 1 0 0 0,0-1 0 0 0,0 1 0 0 0,-1-1 0 0 0,1 1 1 0 0,0-1-1 0 0,0 1 0 0 0,0-1 0 0 0,0 0 0 0 0,0 1 0 0 0,0-1 0 0 0,0 1 1 0 0,0-1-1 0 0,0 1 0 0 0,0-1 0 0 0,0 0 0 0 0,0 1 0 0 0,0-1 1 0 0,1 1-1 0 0,-1-2 0 0 0,1 1-16 0 0,0-1 1 0 0,1 0-1 0 0,-1 1 1 0 0,0-1-1 0 0,0 1 1 0 0,1-1 0 0 0,-1 1-1 0 0,1 0 1 0 0,0 0-1 0 0,1-2 1 0 0,31-16 494 0 0,1 1 1 0 0,62-23 0 0 0,-4 3-233 0 0,-65 24-201 0 0,-2 1 23 0 0,1 2 0 0 0,37-12 0 0 0,-60 22-99 0 0,0 0 0 0 0,1 1 0 0 0,-1 0-1 0 0,0 0 1 0 0,1 0 0 0 0,-1 0 0 0 0,0 1 0 0 0,1-1-1 0 0,-1 1 1 0 0,0 0 0 0 0,0 1 0 0 0,0-1 0 0 0,0 1-1 0 0,0-1 1 0 0,0 1 0 0 0,0 0 0 0 0,0 1 0 0 0,-1-1-1 0 0,1 1 1 0 0,-1 0 0 0 0,0-1 0 0 0,0 1-1 0 0,0 1 1 0 0,0-1 0 0 0,4 5 0 0 0,2 6 104 0 0,0-1 0 0 0,0 1 0 0 0,-2 1 0 0 0,1-1 1 0 0,5 21-1 0 0,-9-21 110 0 0,-1 0 0 0 0,0 0 1 0 0,-1 0-1 0 0,-1 1 0 0 0,-1 28 1 0 0,0-31 321 0 0,0-11-529 0 0,0 0 1 0 0,0 0 0 0 0,0 0-1 0 0,0 0 1 0 0,-1 0-1 0 0,1 0 1 0 0,0-1-1 0 0,-1 1 1 0 0,1 0-1 0 0,0 0 1 0 0,-1 0-1 0 0,1-1 1 0 0,-1 1 0 0 0,1 0-1 0 0,-1-1 1 0 0,1 1-1 0 0,-1 0 1 0 0,0-1-1 0 0,1 1 1 0 0,-1 0-1 0 0,0-1 1 0 0,0 1-1 0 0,0-1 1 0 0,0 1-54 0 0,1-1 0 0 0,-1 0 0 0 0,1 0 0 0 0,0 0 0 0 0,-1 0 0 0 0,1 0 0 0 0,-1 1 1 0 0,1-1-1 0 0,-1 0 0 0 0,1 0 0 0 0,-1 0 0 0 0,1 0 0 0 0,0 0 0 0 0,-1-1 0 0 0,1 1 0 0 0,-1 0 0 0 0,1 0 0 0 0,-1 0 0 0 0,1 0 0 0 0,-1 0 0 0 0,1-1 1 0 0,0 1-1 0 0,-1 0 0 0 0,1 0 0 0 0,-1-1 0 0 0,1 1 0 0 0,0 0 0 0 0,-1 0 0 0 0,1-1 0 0 0,0 1 0 0 0,0-1 0 0 0,-1 1 0 0 0,1 0 0 0 0,0-1 0 0 0,0 1 1 0 0,-1 0-1 0 0,1-1 0 0 0,0 1 0 0 0,0-1 0 0 0,0 1 0 0 0,0-1 0 0 0,0 1 0 0 0,-1-1 0 0 0,1-1-7 0 0,-1-1-20 0 0,0 0 0 0 0,0-1 0 0 0,0 1 0 0 0,1 0 0 0 0,-1 0 0 0 0,1-1 0 0 0,0 1 0 0 0,0 0 0 0 0,0 0 0 0 0,1-1 0 0 0,0-4 0 0 0,4-8-80 0 0,-4 8 44 0 0,1 1-1 0 0,1 0 1 0 0,5-14 0 0 0,-6 19 13 0 0,-1 0 0 0 0,0 0 1 0 0,1 0-1 0 0,-1 0 0 0 0,1 0 0 0 0,0 0 1 0 0,0 1-1 0 0,-1-1 0 0 0,1 0 1 0 0,0 1-1 0 0,1-1 0 0 0,-1 1 0 0 0,0 0 1 0 0,0 0-1 0 0,0 0 0 0 0,5-2 0 0 0,-1 2-6 0 0,0 0-1 0 0,0 1 0 0 0,0-1 1 0 0,0 1-1 0 0,-1 0 0 0 0,1 0 1 0 0,0 1-1 0 0,0 0 0 0 0,7 2 1 0 0,57 20-139 0 0,-55-17 180 0 0,1 0 0 0 0,0-2 0 0 0,32 7 0 0 0,-35-10-104 0 0,0-1 1 0 0,0 0-1 0 0,0 0 0 0 0,0-1 1 0 0,0-1-1 0 0,0 0 1 0 0,0-1-1 0 0,-1 0 0 0 0,22-10 1 0 0,-27 10-13 0 0,0 0 0 0 0,-1-1 0 0 0,1 0 0 0 0,-1 0 0 0 0,0-1 0 0 0,0 0 0 0 0,-1 0 0 0 0,1 0 0 0 0,-1-1 0 0 0,0 1-1 0 0,-1-1 1 0 0,1-1 0 0 0,-1 1 0 0 0,0 0 0 0 0,-1-1 0 0 0,0 0 0 0 0,0 0 0 0 0,2-8 0 0 0,-4 13 112 0 0,0 1-1 0 0,-1-1 0 0 0,1 0 1 0 0,-1 1-1 0 0,0-1 0 0 0,0 0 1 0 0,1 1-1 0 0,-1-1 0 0 0,0 0 1 0 0,0 1-1 0 0,-1-1 0 0 0,1 0 1 0 0,0 1-1 0 0,0-1 0 0 0,-1 0 1 0 0,1 1-1 0 0,-1-1 0 0 0,0 1 1 0 0,1-1-1 0 0,-1 1 0 0 0,0-1 1 0 0,0 1-1 0 0,0-1 0 0 0,0 1 1 0 0,0 0-1 0 0,0-1 0 0 0,0 1 1 0 0,-1 0-1 0 0,1 0 0 0 0,0 0 1 0 0,-3-1-1 0 0,3 1 16 0 0,-1 0 1 0 0,0 1 0 0 0,0-1-1 0 0,0 1 1 0 0,0-1 0 0 0,-1 1-1 0 0,1 0 1 0 0,0-1-1 0 0,0 1 1 0 0,0 0 0 0 0,0 1-1 0 0,0-1 1 0 0,0 0-1 0 0,0 1 1 0 0,0-1 0 0 0,0 1-1 0 0,0-1 1 0 0,0 1 0 0 0,0 0-1 0 0,0 0 1 0 0,0 0-1 0 0,0 0 1 0 0,1 0 0 0 0,-3 2-1 0 0,1-1 21 0 0,0 1 1 0 0,0-1-1 0 0,1 0 0 0 0,-1 1 0 0 0,1 0 0 0 0,0 0 0 0 0,0 0 1 0 0,0 0-1 0 0,0 0 0 0 0,0 0 0 0 0,1 0 0 0 0,-1 0 1 0 0,1 1-1 0 0,0-1 0 0 0,0 1 0 0 0,0-1 0 0 0,0 1 0 0 0,0 4 1 0 0,1-2 10 0 0,1-1 0 0 0,-1 0 1 0 0,1 0-1 0 0,0 0 1 0 0,1 0-1 0 0,-1 0 1 0 0,1-1-1 0 0,0 1 1 0 0,0 0-1 0 0,0-1 1 0 0,6 8-1 0 0,-1-1-159 0 0,0-2-1 0 0,2 1 1 0 0,-1-1 0 0 0,1 0-1 0 0,0-1 1 0 0,1 0 0 0 0,0-1 0 0 0,0 0-1 0 0,22 12 1 0 0,26 2-2462 0 0,-18-15-2211 0 0,-22-8 955 0 0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5.3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3 84 728 0 0,'1'-3'1269'0'0,"-1"2"-1200"0"0,2-1 212 0 0,-1 0 0 0 0,0-1 0 0 0,1 0 0 0 0,-1 1 0 0 0,-1-1 0 0 0,1 0 0 0 0,0 1 0 0 0,0-1 0 0 0,-1 0 0 0 0,0 0 0 0 0,1 0 0 0 0,-1 1 0 0 0,0-1 0 0 0,-1 0 0 0 0,1 0 0 0 0,0 0 0 0 0,-1 1 0 0 0,1-1 0 0 0,-3-4 0 0 0,3 6-225 0 0,-1-1-1 0 0,0 1 1 0 0,0-1-1 0 0,0 1 1 0 0,0 0 0 0 0,0 0-1 0 0,0-1 1 0 0,-1 1-1 0 0,1 0 1 0 0,0 0 0 0 0,0 0-1 0 0,-1 0 1 0 0,1 0-1 0 0,-1 1 1 0 0,1-1 0 0 0,-1 0-1 0 0,1 1 1 0 0,-1-1 0 0 0,0 1-1 0 0,1-1 1 0 0,-1 1-1 0 0,-2 0 1 0 0,-36 1 849 0 0,35-1-846 0 0,-7 2 151 0 0,0 0-1 0 0,0 1 1 0 0,0 0 0 0 0,0 1-1 0 0,1 0 1 0 0,-1 0 0 0 0,-14 10 0 0 0,20-11-121 0 0,1 0 0 0 0,0 0 0 0 0,0 1 1 0 0,0 0-1 0 0,0 0 0 0 0,0 0 1 0 0,1 1-1 0 0,0-1 0 0 0,0 1 0 0 0,0 0 1 0 0,0 0-1 0 0,1 1 0 0 0,0-1 1 0 0,0 1-1 0 0,-3 8 0 0 0,5-12-53 0 0,1 0-1 0 0,-1 0 0 0 0,1 0 1 0 0,0 0-1 0 0,-1 0 1 0 0,1 0-1 0 0,0 0 0 0 0,0 0 1 0 0,0 0-1 0 0,1 0 1 0 0,-1-1-1 0 0,0 1 1 0 0,1 0-1 0 0,-1 0 0 0 0,1 0 1 0 0,-1 0-1 0 0,1 0 1 0 0,0-1-1 0 0,0 1 0 0 0,0 0 1 0 0,2 2-1 0 0,-1-2 1 0 0,1 0-1 0 0,-1 0 1 0 0,1 0 0 0 0,-1 0-1 0 0,1-1 1 0 0,0 1-1 0 0,-1-1 1 0 0,1 1 0 0 0,0-1-1 0 0,0 0 1 0 0,0 0-1 0 0,4 0 1 0 0,2 1 10 0 0,0-1 1 0 0,0 0-1 0 0,0-1 1 0 0,0 0-1 0 0,0-1 0 0 0,0 1 1 0 0,0-2-1 0 0,13-2 1 0 0,5-7 28 0 0,0-1 1 0 0,-1-2-1 0 0,0 0 0 0 0,-1-1 1 0 0,36-30-1 0 0,-61 44-74 0 0,1 1 0 0 0,0-1 1 0 0,0 0-1 0 0,0 1 0 0 0,0-1 0 0 0,0 1 0 0 0,0 0 0 0 0,0-1 0 0 0,0 1 0 0 0,0 0 0 0 0,0-1 0 0 0,0 1 0 0 0,0 0 0 0 0,0 0 0 0 0,0 0 0 0 0,1 0 0 0 0,-1 0 0 0 0,0 0 0 0 0,0 0 0 0 0,0 1 0 0 0,0-1 0 0 0,0 0 0 0 0,0 0 0 0 0,0 1 0 0 0,0-1 0 0 0,0 1 0 0 0,0-1 1 0 0,0 1-1 0 0,0-1 0 0 0,0 1 0 0 0,0 0 0 0 0,-1-1 0 0 0,1 1 0 0 0,0 0 0 0 0,1 1 0 0 0,2 3 10 0 0,0 0 0 0 0,-1 0 0 0 0,1 0 0 0 0,3 10 1 0 0,-5-11-29 0 0,29 62-1399 0 0,-15-30-2504 0 0,21 33 1 0 0,-26-50 354 0 0</inkml:trace>
</inkml:ink>
</file>

<file path=ppt/ink/ink7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7.2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8 1976 0 0,'3'-1'2064'0'0,"10"-5"-792"0"0,0 0 0 0 0,0 1 0 0 0,1 0 0 0 0,21-3 0 0 0,64-9 124 0 0,-76 14-1043 0 0,29-4-350 0 0,27-5-1623 0 0,-27-1-3590 0 0,-38 8 2292 0 0</inkml:trace>
</inkml:ink>
</file>

<file path=ppt/ink/ink7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7.5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 0 1452 0 0,'-3'1'1778'0'0,"2"-1"-1519"0"0,-1 0 1 0 0,0 1 0 0 0,1-1 0 0 0,-1 1 0 0 0,0-1 0 0 0,1 1 0 0 0,-1-1-1 0 0,1 1 1 0 0,-1 0 0 0 0,1 0 0 0 0,-1 0 0 0 0,1 0 0 0 0,0 0 0 0 0,0 0-1 0 0,-1 0 1 0 0,1 1 0 0 0,0-1 0 0 0,0 0 0 0 0,0 1 0 0 0,-1 1 0 0 0,0 1 117 0 0,0 0 1 0 0,1 0-1 0 0,-1 0 1 0 0,1 0 0 0 0,0 1-1 0 0,0-1 1 0 0,-1 8-1 0 0,1 6 486 0 0,1 0 1 0 0,4 34-1 0 0,13 55 537 0 0,-9-62-1999 0 0,-2 1-1 0 0,1 47 1 0 0,-7-90 450 0 0,-1 45-2888 0 0,-2-18-2024 0 0</inkml:trace>
  <inkml:trace contextRef="#ctx0" brushRef="#br0" timeOffset="1">288 132 1648 0 0,'4'0'306'0'0,"-1"0"1"0"0,1 0-1 0 0,0 0 0 0 0,-1 1 0 0 0,1 0 0 0 0,0-1 1 0 0,-1 1-1 0 0,1 1 0 0 0,-1-1 0 0 0,1 0 0 0 0,-1 1 1 0 0,0 0-1 0 0,0 0 0 0 0,1 0 0 0 0,-1 0 0 0 0,-1 0 1 0 0,1 1-1 0 0,0-1 0 0 0,-1 1 0 0 0,1 0 1 0 0,4 5-1 0 0,4 8 566 0 0,0 1 1 0 0,16 34-1 0 0,-18-33-262 0 0,57 132 1750 0 0,-8-18 1048 0 0,-58-131-3325 0 0,0 0 1 0 0,1-1-1 0 0,-1 1 1 0 0,0-1-1 0 0,0 1 1 0 0,1-1-1 0 0,-1 1 1 0 0,0-1 0 0 0,1 1-1 0 0,-1-1 1 0 0,0 1-1 0 0,1-1 1 0 0,-1 1-1 0 0,1-1 1 0 0,-1 1-1 0 0,1-1 1 0 0,-1 0-1 0 0,1 1 1 0 0,-1-1 0 0 0,1 0-1 0 0,-1 0 1 0 0,1 1-1 0 0,-1-1 1 0 0,1 0-1 0 0,0 0 1 0 0,-1 0-1 0 0,2 0 1 0 0,-2 0-37 0 0,1 0 0 0 0,0-1 0 0 0,0 1 0 0 0,-1 0 0 0 0,1-1 0 0 0,0 1 0 0 0,-1-1 1 0 0,1 0-1 0 0,0 1 0 0 0,-1-1 0 0 0,1 1 0 0 0,-1-1 0 0 0,1 0 0 0 0,-1 1 0 0 0,1-1 0 0 0,0-1 0 0 0,14-36 144 0 0,-14 35-80 0 0,53-212 346 0 0,-12 47-457 0 0,-39 154-196 0 0,15-39-4747 0 0</inkml:trace>
</inkml:ink>
</file>

<file path=ppt/ink/ink7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8.05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2 174 1204 0 0,'0'0'1198'0'0,"3"12"3349"0"0,-2-11-4376 0 0,0 0-1 0 0,0 0 1 0 0,0 0 0 0 0,0 0-1 0 0,0 0 1 0 0,1-1-1 0 0,-1 1 1 0 0,0 0 0 0 0,0-1-1 0 0,1 1 1 0 0,-1-1-1 0 0,0 1 1 0 0,1-1-1 0 0,-1 0 1 0 0,0 0 0 0 0,1 1-1 0 0,-1-1 1 0 0,1 0-1 0 0,-1 0 1 0 0,0 0-1 0 0,1 0 1 0 0,-1-1 0 0 0,1 1-1 0 0,-1 0 1 0 0,0-1-1 0 0,1 1 1 0 0,-1-1 0 0 0,0 1-1 0 0,0-1 1 0 0,2 0-1 0 0,7-3 25 0 0,-1 0 0 0 0,0-1-1 0 0,9-6 1 0 0,-8 4-86 0 0,-1 0 1 0 0,1 0 0 0 0,-2-1-1 0 0,1-1 1 0 0,11-13 0 0 0,-17 18-73 0 0,1 0 0 0 0,-1-1 1 0 0,-1 1-1 0 0,1-1 1 0 0,-1 1-1 0 0,1-1 1 0 0,-1 0-1 0 0,-1 0 1 0 0,1 0-1 0 0,-1 0 1 0 0,0 0-1 0 0,0 0 1 0 0,0 0-1 0 0,0-11 1 0 0,-1 15-35 0 0,-1 0-1 0 0,1 0 1 0 0,0 0 0 0 0,0 0-1 0 0,0 0 1 0 0,-1 0 0 0 0,1 0-1 0 0,-1 0 1 0 0,1 0 0 0 0,-1 0-1 0 0,1 0 1 0 0,-1 0 0 0 0,0 0-1 0 0,1 0 1 0 0,-1 0 0 0 0,0 1-1 0 0,0-1 1 0 0,1 0 0 0 0,-1 0-1 0 0,0 1 1 0 0,0-1 0 0 0,-1 0-1 0 0,0 0 10 0 0,0 0 0 0 0,-1 1-1 0 0,1-1 1 0 0,0 0-1 0 0,-1 1 1 0 0,1 0 0 0 0,0-1-1 0 0,-1 1 1 0 0,-3 1 0 0 0,-2-1 64 0 0,0 2 1 0 0,0-1-1 0 0,0 1 1 0 0,0 0-1 0 0,-8 4 1 0 0,1 1 97 0 0,0 0 1 0 0,1 1 0 0 0,-1 1-1 0 0,2 0 1 0 0,-1 1-1 0 0,1 0 1 0 0,1 1 0 0 0,-18 19-1 0 0,26-24-72 0 0,-1 0 0 0 0,1 0 0 0 0,0 0 0 0 0,0 1 0 0 0,1-1 0 0 0,0 1-1 0 0,0 0 1 0 0,0 0 0 0 0,-1 10 0 0 0,3-12-29 0 0,0 0 1 0 0,1 1-1 0 0,-1-1 0 0 0,1 0 0 0 0,1 0 1 0 0,-1 1-1 0 0,1-1 0 0 0,0 0 0 0 0,0 0 1 0 0,1 0-1 0 0,-1 0 0 0 0,1 0 0 0 0,0 0 0 0 0,4 7 1 0 0,-2-6-30 0 0,1 1 0 0 0,0-1 0 0 0,0 0 0 0 0,1 0 0 0 0,-1-1 0 0 0,1 0 0 0 0,0 0 0 0 0,12 7 0 0 0,-1-1-194 0 0,1-1 0 0 0,21 8 0 0 0,-19-10-984 0 0,39 10 0 0 0,-51-16 74 0 0,0 0 1 0 0,1-1-1 0 0,-1 0 0 0 0,1-1 0 0 0,-1 0 0 0 0,1 0 0 0 0,12-3 0 0 0,-3 0-4297 0 0</inkml:trace>
</inkml:ink>
</file>

<file path=ppt/ink/ink7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8.8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5 73 852 0 0,'0'-3'261'0'0,"0"0"0"0"0,-1 0 0 0 0,1 1 0 0 0,-1-1 0 0 0,1 0 1 0 0,-1 0-1 0 0,0 0 0 0 0,0 0 0 0 0,-1 0 0 0 0,1 1 0 0 0,0-1 0 0 0,-1 1 0 0 0,1-1 0 0 0,-1 1 0 0 0,0-1 0 0 0,0 1 0 0 0,0 0 1 0 0,0 0-1 0 0,-1 0 0 0 0,1 0 0 0 0,0 0 0 0 0,-1 1 0 0 0,1-1 0 0 0,-1 1 0 0 0,0-1 0 0 0,1 1 0 0 0,-1 0 0 0 0,0 0 0 0 0,0 0 1 0 0,-4 0-1 0 0,-2-1-68 0 0,0 0 1 0 0,0 1-1 0 0,0 0 1 0 0,-1 1-1 0 0,1 0 1 0 0,0 0-1 0 0,0 1 0 0 0,-16 4 1 0 0,23-5-165 0 0,-1 1 0 0 0,0-1-1 0 0,0 1 1 0 0,1 0 0 0 0,-1 0 0 0 0,1 1-1 0 0,-1-1 1 0 0,1 0 0 0 0,-1 1 0 0 0,1-1 0 0 0,0 1-1 0 0,0 0 1 0 0,-1 0 0 0 0,1 0 0 0 0,1 0 0 0 0,-1 0-1 0 0,0 0 1 0 0,0 1 0 0 0,1-1 0 0 0,0 0-1 0 0,-1 1 1 0 0,1 0 0 0 0,0-1 0 0 0,0 1 0 0 0,0-1-1 0 0,0 1 1 0 0,1 0 0 0 0,-1 0 0 0 0,1 0 0 0 0,0-1-1 0 0,0 1 1 0 0,0 0 0 0 0,0 0 0 0 0,0 0-1 0 0,0-1 1 0 0,1 1 0 0 0,0 0 0 0 0,-1 0 0 0 0,1-1-1 0 0,0 1 1 0 0,0 0 0 0 0,0-1 0 0 0,1 1 0 0 0,-1-1-1 0 0,2 3 1 0 0,17 25 55 0 0,1-1-1 0 0,34 35 1 0 0,9 12-6 0 0,-54-62-57 0 0,0 0 0 0 0,0 1 0 0 0,-1 0 0 0 0,-1 0 0 0 0,7 19 0 0 0,-14-30-5 0 0,0 0 1 0 0,0 0 0 0 0,0 0-1 0 0,0 0 1 0 0,-1 0-1 0 0,1 1 1 0 0,-1-1-1 0 0,0 0 1 0 0,0 0 0 0 0,-1 1-1 0 0,-1 6 1 0 0,1-8 3 0 0,0 0 0 0 0,0 0 0 0 0,-1-1 0 0 0,1 1 0 0 0,-1-1 0 0 0,0 1 0 0 0,1-1 0 0 0,-1 1 0 0 0,0-1 0 0 0,-1 0 0 0 0,1 0 0 0 0,0 0 1 0 0,-1 0-1 0 0,1 0 0 0 0,-1-1 0 0 0,1 1 0 0 0,-1-1 0 0 0,-4 2 0 0 0,4-1-11 0 0,0-1 1 0 0,-1 1 0 0 0,1-1-1 0 0,-1 0 1 0 0,0 0 0 0 0,1-1-1 0 0,-1 1 1 0 0,0-1-1 0 0,1 1 1 0 0,-1-1 0 0 0,0-1-1 0 0,0 1 1 0 0,1 0 0 0 0,-1-1-1 0 0,0 0 1 0 0,-5-1 0 0 0,4-1-43 0 0,0 1 0 0 0,1-1 0 0 0,-1 1 1 0 0,1-1-1 0 0,0-1 0 0 0,0 1 1 0 0,0 0-1 0 0,0-1 0 0 0,1 0 1 0 0,-6-7-1 0 0,-2-5-27 0 0,1-2 1 0 0,1 1-1 0 0,0-1 0 0 0,1-1 1 0 0,-5-19-1 0 0,-2 2 15 0 0,11 37 51 0 0,3-1-7 0 0,1 0 1 0 0,-1 0 0 0 0,1 0 0 0 0,-1 0 0 0 0,0 0 0 0 0,1 0-1 0 0,-1 0 1 0 0,1 0 0 0 0,-1 1 0 0 0,1-1 0 0 0,-1 0 0 0 0,1 0 0 0 0,-1 0-1 0 0,1 1 1 0 0,-1-1 0 0 0,1 0 0 0 0,-1 1 0 0 0,1-1 0 0 0,0 0-1 0 0,-1 1 1 0 0,0 0 0 0 0,-87 158-354 0 0,82-147-673 0 0,1 1 0 0 0,-6 17-1 0 0,11-29 868 0 0,0-1 0 0 0,0 1 0 0 0,-1 0 0 0 0,1 0-1 0 0,0 0 1 0 0,0 0 0 0 0,0 0 0 0 0,0 0-1 0 0,0-1 1 0 0,0 1 0 0 0,1 0 0 0 0,-1 0-1 0 0,0 0 1 0 0,0 0 0 0 0,0-1 0 0 0,1 1-1 0 0,-1 0 1 0 0,1 0 0 0 0,-1 0 0 0 0,0-1-1 0 0,1 1 1 0 0,-1 0 0 0 0,1-1 0 0 0,0 1-1 0 0,-1 0 1 0 0,1-1 0 0 0,0 1 0 0 0,0 0-1 0 0</inkml:trace>
</inkml:ink>
</file>

<file path=ppt/ink/ink7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9.2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3 66 1720 0 0,'9'-11'1348'0'0,"-5"7"-563"0"0,-1 0 0 0 0,1 0-1 0 0,-1-1 1 0 0,0 0 0 0 0,0 1 0 0 0,3-11-1 0 0,-6 15-743 0 0,0-1 0 0 0,1 1 0 0 0,-1-1-1 0 0,0 1 1 0 0,0-1 0 0 0,0 1 0 0 0,-1-1-1 0 0,1 1 1 0 0,0-1 0 0 0,0 1 0 0 0,0-1-1 0 0,0 1 1 0 0,0-1 0 0 0,-1 1 0 0 0,1 0-1 0 0,0-1 1 0 0,0 1 0 0 0,-1-1 0 0 0,1 1-1 0 0,0-1 1 0 0,0 1 0 0 0,-1 0 0 0 0,1-1-1 0 0,-1 1 1 0 0,1 0 0 0 0,0-1 0 0 0,-1 1-1 0 0,1 0 1 0 0,-1 0 0 0 0,1-1 0 0 0,-1 1-1 0 0,1 0 1 0 0,-1 0 0 0 0,1 0 0 0 0,0 0-1 0 0,-1 0 1 0 0,1-1 0 0 0,-1 1 0 0 0,1 0-1 0 0,-1 0 1 0 0,0 0 0 0 0,-19 0 625 0 0,14 3-611 0 0,0-1 0 0 0,0 1 0 0 0,0 0 1 0 0,1 1-1 0 0,0-1 0 0 0,0 1 0 0 0,0 0 0 0 0,0 0 0 0 0,0 1 1 0 0,1 0-1 0 0,0-1 0 0 0,0 2 0 0 0,0-1 0 0 0,0 0 0 0 0,1 1 0 0 0,0-1 1 0 0,0 1-1 0 0,1 0 0 0 0,-1 0 0 0 0,1 0 0 0 0,1 0 0 0 0,-1 1 1 0 0,1-1-1 0 0,0 0 0 0 0,0 1 0 0 0,1-1 0 0 0,0 0 0 0 0,1 12 0 0 0,1-12-28 0 0,-1-1-1 0 0,1 0 0 0 0,0 0 0 0 0,1 0 1 0 0,-1 0-1 0 0,1 0 0 0 0,0 0 0 0 0,0-1 1 0 0,0 1-1 0 0,5 4 0 0 0,-7-9-22 0 0,0 1 0 0 0,0-1 0 0 0,0 1 0 0 0,0-1 0 0 0,0 1-1 0 0,0-1 1 0 0,1 1 0 0 0,-1-1 0 0 0,0 0 0 0 0,0 0 0 0 0,0 0 0 0 0,0 0-1 0 0,0 0 1 0 0,1 0 0 0 0,-1 0 0 0 0,0 0 0 0 0,0 0 0 0 0,0 0 0 0 0,0 0 0 0 0,0-1-1 0 0,0 1 1 0 0,1 0 0 0 0,-1-1 0 0 0,0 1 0 0 0,1-2 0 0 0,1 1-26 0 0,0-1 0 0 0,0 0 0 0 0,0 1 0 0 0,0-1 0 0 0,0 0 0 0 0,5-5 1 0 0,7-14 336 0 0,-1-1 1 0 0,-1-1-1 0 0,16-37 1 0 0,-21 44 318 0 0,-7 14-319 0 0,0 3-302 0 0,-1-1 0 0 0,1 0 0 0 0,0 0 0 0 0,0 0 0 0 0,-1 1 0 0 0,1-1 0 0 0,0 0 0 0 0,-1 1 0 0 0,1-1 0 0 0,-1 1 0 0 0,1-1 0 0 0,0 1 0 0 0,-1-1 0 0 0,1 1 0 0 0,-1-1 0 0 0,1 1 0 0 0,-1-1 0 0 0,0 1 0 0 0,1 0 0 0 0,-1-1 0 0 0,1 1 0 0 0,-1 0 0 0 0,1 0 0 0 0,5 20 89 0 0,-6-21-99 0 0,10 34-134 0 0,18 40 1 0 0,2-5-3331 0 0,-19-44 978 0 0,2-15-1987 0 0</inkml:trace>
</inkml:ink>
</file>

<file path=ppt/ink/ink7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39.7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52 848 0 0,'3'-9'1061'0'0,"-3"6"-622"0"0,1 0 1 0 0,-1 0 0 0 0,1 1-1 0 0,0-1 1 0 0,0 0-1 0 0,1 0 1 0 0,-1 1 0 0 0,1-1-1 0 0,-1 0 1 0 0,1 1-1 0 0,0-1 1 0 0,0 1 0 0 0,0 0-1 0 0,3-4 1 0 0,-4 6-380 0 0,-1 0 1 0 0,1 0-1 0 0,0 0 1 0 0,-1 0-1 0 0,1 0 1 0 0,0 0-1 0 0,-1 0 0 0 0,1 0 1 0 0,-1 0-1 0 0,1 1 1 0 0,0-1-1 0 0,-1 0 1 0 0,1 0-1 0 0,-1 0 1 0 0,1 1-1 0 0,-1-1 1 0 0,1 0-1 0 0,-1 1 0 0 0,1-1 1 0 0,-1 0-1 0 0,1 1 1 0 0,-1-1-1 0 0,1 1 1 0 0,-1-1-1 0 0,1 1 1 0 0,-1 0-1 0 0,12 14 694 0 0,-11-14-595 0 0,6 12 291 0 0,0 0 0 0 0,0 0 0 0 0,-1 0-1 0 0,-1 1 1 0 0,0-1 0 0 0,4 26 0 0 0,9 89 1550 0 0,-16-112-1741 0 0,6 85 2742 0 0,-8-99-2125 0 0,-4-22-899 0 0,5 5-179 0 0,2 0 0 0 0,0 0 0 0 0,1 0 0 0 0,0 0 0 0 0,10-22 0 0 0,-9 27 66 0 0,0-1 0 0 0,1 1-1 0 0,0 1 1 0 0,0-1 0 0 0,1 1 0 0 0,0 0 0 0 0,1 0 0 0 0,9-8 0 0 0,-15 15 108 0 0,0 1 0 0 0,0-1 0 0 0,0 0 1 0 0,1 1-1 0 0,-1 0 0 0 0,1-1 0 0 0,-1 1 0 0 0,1 0 0 0 0,-1 0 0 0 0,1 0 1 0 0,0 1-1 0 0,-1-1 0 0 0,1 1 0 0 0,0-1 0 0 0,0 1 0 0 0,-1 0 0 0 0,1 0 1 0 0,0 0-1 0 0,0 1 0 0 0,0-1 0 0 0,5 2 0 0 0,-5-1 15 0 0,0 1-1 0 0,1-1 1 0 0,-1 1-1 0 0,0 0 1 0 0,0 0-1 0 0,0 1 1 0 0,0-1-1 0 0,0 1 1 0 0,0-1-1 0 0,-1 1 1 0 0,1 0-1 0 0,-1 0 1 0 0,0 0-1 0 0,0 0 1 0 0,0 0-1 0 0,2 6 1 0 0,-1-2 25 0 0,0 1-1 0 0,0 0 1 0 0,-1-1 0 0 0,0 1 0 0 0,-1 0-1 0 0,1 1 1 0 0,-1-1 0 0 0,-1 0-1 0 0,0 0 1 0 0,0 0 0 0 0,-3 16 0 0 0,2-12 244 0 0,-2 5 1089 0 0,1-16-842 0 0,-2-10-477 0 0,4 7-19 0 0,0 0 0 0 0,0 0 0 0 0,0-1-1 0 0,0 1 1 0 0,0 0 0 0 0,1 0-1 0 0,-1 0 1 0 0,1 0 0 0 0,-1 0-1 0 0,1 0 1 0 0,0-1 0 0 0,0 1-1 0 0,0 1 1 0 0,1-4 0 0 0,21-30-25 0 0,-13 22 18 0 0,-6 7-19 0 0,1 0 1 0 0,0 0-1 0 0,0 1 1 0 0,0 0-1 0 0,1 0 0 0 0,0 0 1 0 0,0 1-1 0 0,0-1 1 0 0,1 2-1 0 0,0-1 0 0 0,8-3 1 0 0,-13 6 19 0 0,1 1 1 0 0,0-1 0 0 0,0 1-1 0 0,-1-1 1 0 0,1 1-1 0 0,0 0 1 0 0,0 0 0 0 0,0 0-1 0 0,-1 0 1 0 0,1 1-1 0 0,0-1 1 0 0,0 1-1 0 0,-1 0 1 0 0,1-1 0 0 0,0 1-1 0 0,-1 1 1 0 0,1-1-1 0 0,-1 0 1 0 0,1 0 0 0 0,-1 1-1 0 0,0 0 1 0 0,0-1-1 0 0,1 1 1 0 0,-1 0 0 0 0,3 4-1 0 0,1 1 22 0 0,1 1 0 0 0,-2-1 0 0 0,1 1-1 0 0,-1 1 1 0 0,8 14 0 0 0,-6-2-852 0 0,0-1 0 0 0,0 1 1 0 0,4 34-1 0 0,-6-31-1211 0 0,-4-18 1043 0 0,2 6-495 0 0</inkml:trace>
</inkml:ink>
</file>

<file path=ppt/ink/ink7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40.1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40 1536 0 0,'21'-65'6653'0'0,"-21"65"-6581"0"0,1-1-1 0 0,-1 0 1 0 0,0 1-1 0 0,0-1 1 0 0,0 1-1 0 0,1-1 1 0 0,-1 1-1 0 0,0-1 1 0 0,0 1-1 0 0,1-1 1 0 0,-1 1-1 0 0,1-1 0 0 0,-1 1 1 0 0,0 0-1 0 0,1-1 1 0 0,-1 1-1 0 0,1-1 1 0 0,-1 1-1 0 0,1 0 1 0 0,-1 0-1 0 0,1-1 1 0 0,-1 1-1 0 0,1 0 1 0 0,-1 0-1 0 0,1-1 0 0 0,0 1 1 0 0,-1 0-1 0 0,2 0 1 0 0,-1 0-5 0 0,0 1 0 0 0,0-1 0 0 0,-1 1 0 0 0,1-1 0 0 0,0 1 0 0 0,0-1 0 0 0,0 1 0 0 0,0-1 0 0 0,-1 1 0 0 0,1 0 0 0 0,0-1 0 0 0,-1 1 0 0 0,1 0 1 0 0,0 0-1 0 0,0 0 0 0 0,15 31 1073 0 0,2 21 7 0 0,-3 1 1 0 0,10 66-1 0 0,5 113-133 0 0,-27-145-1596 0 0,-3-85 364 0 0,-9-14-552 0 0,5 2 626 0 0,1 0 0 0 0,0-1-1 0 0,0 1 1 0 0,1-1-1 0 0,1 1 1 0 0,-1-1 0 0 0,1-16-1 0 0,-1 1-38 0 0,-2-18-38 0 0,1-1 1 0 0,3 1-1 0 0,6-55 1 0 0,-3 73 163 0 0,1 1 0 0 0,2-1 0 0 0,0 1 0 0 0,1 0 0 0 0,2 1 1 0 0,0 0-1 0 0,14-25 0 0 0,-18 41 41 0 0,-1 1 0 0 0,1-1 0 0 0,0 1 0 0 0,0 0 0 0 0,1 0 0 0 0,0 1 0 0 0,0 0-1 0 0,1 0 1 0 0,-1 0 0 0 0,1 1 0 0 0,0 0 0 0 0,0 0 0 0 0,0 0 0 0 0,11-3 0 0 0,-16 7 14 0 0,-1-1-1 0 0,1 1 1 0 0,0-1 0 0 0,-1 1-1 0 0,1-1 1 0 0,0 1 0 0 0,-1 0-1 0 0,1 0 1 0 0,0 0 0 0 0,-1 0-1 0 0,1 0 1 0 0,0 0 0 0 0,-1 1-1 0 0,1-1 1 0 0,0 0 0 0 0,-1 1-1 0 0,1-1 1 0 0,0 1 0 0 0,-1 0-1 0 0,1-1 1 0 0,-1 1 0 0 0,1 0-1 0 0,-1 0 1 0 0,0 0 0 0 0,1 0-1 0 0,-1 0 1 0 0,0 1 0 0 0,0-1-1 0 0,0 0 1 0 0,0 0 0 0 0,0 1-1 0 0,0-1 1 0 0,0 1-1 0 0,1 1 1 0 0,-1 0 3 0 0,0 0 1 0 0,0 0-1 0 0,0 0 0 0 0,0 0 0 0 0,0 0 0 0 0,-1 0 1 0 0,1 1-1 0 0,-1-1 0 0 0,0 0 0 0 0,0 0 1 0 0,0 0-1 0 0,0 1 0 0 0,-1-1 0 0 0,0 0 0 0 0,1 0 1 0 0,-2 4-1 0 0,-4 4 7 0 0,0 0 0 0 0,0 0 0 0 0,-1-1 0 0 0,0 1 0 0 0,-1-2 1 0 0,0 1-1 0 0,-1-1 0 0 0,0 0 0 0 0,0-1 0 0 0,-12 8 0 0 0,0-1-682 0 0,0-1 0 0 0,-2-1-1 0 0,-44 18 1 0 0,31-21-3387 0 0,20-8 750 0 0</inkml:trace>
</inkml:ink>
</file>

<file path=ppt/ink/ink7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40.5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2116 0 0,'9'6'764'0'0,"0"0"0"0"0,-1 1 0 0 0,0 0 0 0 0,0 1 1 0 0,-1 0-1 0 0,1 0 0 0 0,-2 0 0 0 0,1 1 0 0 0,-1 0 0 0 0,9 18 0 0 0,0 5 771 0 0,22 67 0 0 0,2 55-16 0 0,-17-60-4769 0 0,-22-92 2724 0 0,1 1-1 0 0,-1-1 0 0 0,1 0 0 0 0,0 0 0 0 0,0 0 0 0 0,0 1 1 0 0,1-1-1 0 0,-1 0 0 0 0,0 0 0 0 0,1-1 0 0 0,1 3 1 0 0</inkml:trace>
</inkml:ink>
</file>

<file path=ppt/ink/ink7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40.8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9 150 740 0 0,'2'-2'1851'0'0,"53"-22"5849"0"0,-39 18-7204 0 0,1-1 0 0 0,-2-1 0 0 0,1 0 0 0 0,-1-1 0 0 0,0 0 0 0 0,20-17 0 0 0,-33 23-425 0 0,1 1 0 0 0,-1-1 1 0 0,0 0-1 0 0,0 1 1 0 0,0-1-1 0 0,3-5 1 0 0,-5 7-64 0 0,1 0 0 0 0,-1 1 0 0 0,0-1 0 0 0,0 0 0 0 0,0 0 0 0 0,0 1 0 0 0,0-1 0 0 0,1 0 0 0 0,-1 0 0 0 0,-1 0 0 0 0,1 0 0 0 0,0 1 0 0 0,0-1 0 0 0,0 0 0 0 0,0 0 0 0 0,-1 1 0 0 0,1-1 0 0 0,0 0 0 0 0,0 0 0 0 0,-1 1 0 0 0,1-1 0 0 0,-1 0 0 0 0,1 1 0 0 0,-1-1 0 0 0,1 0 0 0 0,-1 1 0 0 0,1-1 0 0 0,-1 1 0 0 0,0-1 0 0 0,1 1 0 0 0,-2-2 0 0 0,1 2-3 0 0,0-1 0 0 0,0 1-1 0 0,0 0 1 0 0,0-1 0 0 0,0 1-1 0 0,-1 0 1 0 0,1 0 0 0 0,0-1-1 0 0,0 1 1 0 0,0 0 0 0 0,0 0-1 0 0,0 0 1 0 0,0 0 0 0 0,0 1-1 0 0,-1-1 1 0 0,1 0 0 0 0,-2 1-1 0 0,0 0 18 0 0,-9 1 116 0 0,0 1 0 0 0,1 1-1 0 0,-1 0 1 0 0,1 1-1 0 0,0 0 1 0 0,0 0-1 0 0,1 1 1 0 0,-1 1 0 0 0,1 0-1 0 0,-16 14 1 0 0,17-13 37 0 0,0 1 0 0 0,0-1 1 0 0,1 2-1 0 0,0-1 0 0 0,1 1 1 0 0,0 0-1 0 0,-7 13 0 0 0,13-20-86 0 0,-1 0-1 0 0,0 1 0 0 0,1-1 0 0 0,0 1 0 0 0,0-1 0 0 0,0 1 1 0 0,0-1-1 0 0,1 1 0 0 0,-1 0 0 0 0,1-1 0 0 0,0 1 1 0 0,0 0-1 0 0,0-1 0 0 0,0 1 0 0 0,1 0 0 0 0,0-1 0 0 0,0 1 1 0 0,0-1-1 0 0,0 1 0 0 0,0-1 0 0 0,1 1 0 0 0,-1-1 0 0 0,1 0 1 0 0,0 0-1 0 0,0 1 0 0 0,0-1 0 0 0,0-1 0 0 0,4 4 1 0 0,1 1-38 0 0,1-1 0 0 0,0 0 0 0 0,0-1 0 0 0,0 0 0 0 0,1 0 0 0 0,0-1 0 0 0,0 0 0 0 0,0 0 0 0 0,1-1 0 0 0,-1 0 0 0 0,1-1 0 0 0,10 2 1 0 0,15 0-2316 0 0,-1-1 0 0 0,35-1 0 0 0,-47-3-2635 0 0,-16 0 3494 0 0</inkml:trace>
</inkml:ink>
</file>

<file path=ppt/ink/ink7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4.4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86 112 548 0 0,'-12'-46'4324'0'0,"-3"-17"1340"0"0,14 60-4646 0 0,0 5-550 0 0,-6 7-198 0 0,2 0 0 0 0,-1 1-1 0 0,1 0 1 0 0,1 0-1 0 0,-6 17 1 0 0,-3 7 11 0 0,-122 237 668 0 0,31-97-3386 0 0,93-155 1642 0 0,6-10-261 0 0,0-1-1 0 0,-1 1 0 0 0,0-1 1 0 0,0 0-1 0 0,-14 14 0 0 0,11-16-1837 0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8.1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1 268 0 0,'0'0'560'0'0,"3"-10"-72"0"0,3 0-228 0 0,1 1-168 0 0,-12-3-856 0 0</inkml:trace>
</inkml:ink>
</file>

<file path=ppt/ink/ink7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4.7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5 8 0 0,'6'-14'3662'0'0,"-2"15"-2537"0"0,0 0-810 0 0,0 1-1 0 0,0 0 1 0 0,0 1-1 0 0,-1-1 1 0 0,1 1-1 0 0,0 0 1 0 0,-1-1-1 0 0,0 2 1 0 0,0-1-1 0 0,5 6 1 0 0,34 48 1279 0 0,-21-28-1097 0 0,22 28-67 0 0,45 60-258 0 0,-38-35-4577 0 0,-45-71 2427 0 0,-4-1-183 0 0</inkml:trace>
</inkml:ink>
</file>

<file path=ppt/ink/ink7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5.1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 368 644 0 0,'-3'-1'2052'0'0,"-10"-1"-427"0"0,9 1-369 0 0,-10-1 2348 0 0,303-27 665 0 0,8 0-8211 0 0,-288 27 2989 0 0,0-1 0 0 0,-1 1-1 0 0,1-1 1 0 0,10-6 0 0 0,-5 2-1385 0 0</inkml:trace>
  <inkml:trace contextRef="#ctx0" brushRef="#br0" timeOffset="1">849 35 64 0 0,'3'-4'537'0'0,"-1"1"-1"0"0,1 0 1 0 0,0 0 0 0 0,0 0 0 0 0,0 0-1 0 0,1 1 1 0 0,-1-1 0 0 0,1 1 0 0 0,-1 0-1 0 0,7-3 1 0 0,-8 5-389 0 0,0-1 0 0 0,-1 1 0 0 0,1 0 0 0 0,0-1 0 0 0,0 1 0 0 0,0 0 1 0 0,0 0-1 0 0,-1 0 0 0 0,1 0 0 0 0,0 0 0 0 0,0 1 0 0 0,0-1 0 0 0,-1 1 0 0 0,1-1 0 0 0,0 1 0 0 0,0 0 0 0 0,-1-1 0 0 0,1 1 0 0 0,0 0 0 0 0,-1 0 0 0 0,1 0 0 0 0,-1 0 0 0 0,1 0 0 0 0,-1 1 0 0 0,0-1 1 0 0,3 3-1 0 0,3 5 211 0 0,0 0 1 0 0,0 1 0 0 0,-1 0-1 0 0,0 1 1 0 0,-1-1-1 0 0,0 1 1 0 0,6 19 0 0 0,15 85 535 0 0,-18-79-706 0 0,-6-24-231 0 0,12 72-391 0 0,-14-77-104 0 0,1 0 0 0 0,-1 0-1 0 0,0 1 1 0 0,-1-1 0 0 0,0 0 0 0 0,0 0-1 0 0,0 1 1 0 0,-1-1 0 0 0,-3 7-1 0 0</inkml:trace>
</inkml:ink>
</file>

<file path=ppt/ink/ink7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5.53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4 168 0 0,'2'-3'1307'0'0,"-2"3"-1121"0"0,1-1-1 0 0,-1 0 1 0 0,1 0 0 0 0,-1 0 0 0 0,1 1 0 0 0,0-1-1 0 0,0 0 1 0 0,-1 0 0 0 0,1 1 0 0 0,0-1 0 0 0,0 1-1 0 0,0-1 1 0 0,0 1 0 0 0,0-1 0 0 0,-1 1-1 0 0,1 0 1 0 0,0-1 0 0 0,0 1 0 0 0,0 0 0 0 0,0 0-1 0 0,0-1 1 0 0,0 1 0 0 0,0 0 0 0 0,2 0 0 0 0,-1 1 76 0 0,1-1 0 0 0,0 1 1 0 0,-1 0-1 0 0,1 0 0 0 0,-1 0 0 0 0,1 0 1 0 0,-1 0-1 0 0,0 0 0 0 0,4 3 1 0 0,6 5 450 0 0,-1 1 1 0 0,19 19 0 0 0,-23-21-374 0 0,46 46 932 0 0,100 99 1804 0 0,-152-152-3019 0 0,-1 0 0 0 0,1-1 0 0 0,0 1-1 0 0,0 0 1 0 0,0-1 0 0 0,0 1 0 0 0,0-1 0 0 0,0 1-1 0 0,0-1 1 0 0,0 0 0 0 0,0 1 0 0 0,0-1 0 0 0,0 0-1 0 0,0 0 1 0 0,0 1 0 0 0,0-1 0 0 0,0 0 0 0 0,0 0-1 0 0,0 0 1 0 0,0 0 0 0 0,0-1 0 0 0,0 1 0 0 0,0 0-1 0 0,0 0 1 0 0,0-1 0 0 0,0 1 0 0 0,0 0 0 0 0,0-1-1 0 0,0 1 1 0 0,0-1 0 0 0,0 1 0 0 0,0-1 0 0 0,0 0-1 0 0,-1 1 1 0 0,1-1 0 0 0,0 0 0 0 0,0 0 0 0 0,-1 1-1 0 0,1-1 1 0 0,0 0 0 0 0,-1 0 0 0 0,1 0 0 0 0,0-1-1 0 0,2-3-3 0 0,0-1 1 0 0,0 0-1 0 0,0 1 0 0 0,-1-1 0 0 0,3-10 0 0 0,0-4 36 0 0,-2-1 1 0 0,0 1-1 0 0,0-36 0 0 0,-8-63 0 0 0,3 86-281 0 0,2 32 88 0 0,-3-25-734 0 0,2 24 658 0 0,1 1 0 0 0,0 0-1 0 0,0-1 1 0 0,-1 1 0 0 0,1 0 0 0 0,-1 0 0 0 0,1-1 0 0 0,-1 1 0 0 0,0 0-1 0 0,1 0 1 0 0,-1 0 0 0 0,0 0 0 0 0,0 0 0 0 0,0 0 0 0 0,0 0 0 0 0,0 0-1 0 0,-1-2 1 0 0,-1 2-470 0 0,0 1-1 0 0,0-1 0 0 0,0 0 1 0 0,0 1-1 0 0,-1-1 0 0 0,1 1 1 0 0,0 0-1 0 0,0 0 0 0 0,0 1 1 0 0,0-1-1 0 0,0 0 0 0 0,-3 2 1 0 0</inkml:trace>
</inkml:ink>
</file>

<file path=ppt/ink/ink7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5.9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3 0 1892 0 0,'3'2'1557'0'0,"-1"-1"-1233"0"0,1 1 0 0 0,-1 0 0 0 0,0 0-1 0 0,0 0 1 0 0,0 0 0 0 0,0 0 0 0 0,0 0 0 0 0,0 1 0 0 0,-1-1 0 0 0,1 1-1 0 0,-1-1 1 0 0,0 1 0 0 0,1 0 0 0 0,-1-1 0 0 0,0 1 0 0 0,-1 0 0 0 0,2 4-1 0 0,0 7 473 0 0,0 1-1 0 0,0 21 1 0 0,2 15 229 0 0,-1-38-846 0 0,0-1 0 0 0,2 0 0 0 0,-1 0 0 0 0,2 0 0 0 0,-1 0 0 0 0,1-1 0 0 0,1 0 0 0 0,14 19 1 0 0,-11-18-53 0 0,1 0 1 0 0,0-1 0 0 0,0 0-1 0 0,1-1 1 0 0,0 0 0 0 0,26 15-1 0 0,-36-24-95 0 0,-1 1 0 0 0,1-1 0 0 0,0 0 0 0 0,0 0 0 0 0,0 0 0 0 0,0-1 0 0 0,0 1 0 0 0,0 0 0 0 0,0-1 0 0 0,0 1 0 0 0,0-1 0 0 0,0 0 0 0 0,1 1 0 0 0,-1-1 0 0 0,0 0 0 0 0,0-1 0 0 0,0 1 0 0 0,0 0 0 0 0,0 0 0 0 0,0-1 0 0 0,1 0 0 0 0,-1 1 0 0 0,0-1 0 0 0,0 0 0 0 0,-1 0 0 0 0,1 0 0 0 0,0 0 0 0 0,3-2 0 0 0,-3 0-12 0 0,0 1 0 0 0,-1-1-1 0 0,1 1 1 0 0,0-1 0 0 0,-1 0 0 0 0,0 0-1 0 0,0 0 1 0 0,0 1 0 0 0,0-1-1 0 0,0 0 1 0 0,0-1 0 0 0,-1 1 0 0 0,0 0-1 0 0,1 0 1 0 0,-1 0 0 0 0,0 0-1 0 0,-1 0 1 0 0,1 0 0 0 0,-1-4 0 0 0,-2-5 22 0 0,0 0 1 0 0,-1 0-1 0 0,0 1 1 0 0,-1-1 0 0 0,-1 1-1 0 0,1 0 1 0 0,-2 1 0 0 0,1 0-1 0 0,-1 0 1 0 0,-1 0 0 0 0,0 1-1 0 0,0 0 1 0 0,-15-12 0 0 0,9 8-277 0 0,-1 2 1 0 0,-1-1 0 0 0,0 2-1 0 0,0 0 1 0 0,-1 1 0 0 0,0 1-1 0 0,-1 0 1 0 0,-20-5 0 0 0,34 11-126 0 0,-1 1 0 0 0,1 0 1 0 0,-1 0-1 0 0,1 0 0 0 0,-1 1 1 0 0,1 0-1 0 0,-1 0 0 0 0,1 0 0 0 0,-1 0 1 0 0,0 0-1 0 0,1 1 0 0 0,-9 2 1 0 0,12-2 226 0 0,1-1 0 0 0,0 0 0 0 0,-1 0 0 0 0,1 1 0 0 0,0-1 0 0 0,-1 0 0 0 0,1 1 0 0 0,0-1 0 0 0,-1 0 0 0 0,1 1 0 0 0,0-1 0 0 0,0 1 0 0 0,0-1 0 0 0,-1 0 0 0 0,1 1 0 0 0,0-1 0 0 0,0 1 0 0 0,0-1 0 0 0,0 1 0 0 0,0-1 0 0 0,0 1 0 0 0,0-1 0 0 0,-1 0 0 0 0,2 1 0 0 0,-1-1 1 0 0,0 1-1 0 0,0-1 0 0 0,0 1 0 0 0,0-1 0 0 0,0 1 0 0 0,0-1 0 0 0,0 0 0 0 0,0 1 0 0 0,1-1 0 0 0,-1 1 0 0 0,0-1 0 0 0,0 0 0 0 0,1 1 0 0 0,-1-1 0 0 0,0 1 0 0 0,0-1 0 0 0,1 1 0 0 0</inkml:trace>
</inkml:ink>
</file>

<file path=ppt/ink/ink7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6.2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2 1184 0 0,'32'-9'7062'0'0,"-28"10"-5993"0"0,-4-1-1033 0 0,0 0 0 0 0,1 0 1 0 0,-1 0-1 0 0,0 0 1 0 0,0 0-1 0 0,1 0 0 0 0,-1 0 1 0 0,0 0-1 0 0,1 1 1 0 0,-1-1-1 0 0,0 0 0 0 0,1 0 1 0 0,-1 0-1 0 0,0 0 1 0 0,0 0-1 0 0,1 1 0 0 0,-1-1 1 0 0,0 0-1 0 0,0 0 0 0 0,1 0 1 0 0,-1 1-1 0 0,0-1 1 0 0,0 0-1 0 0,0 0 0 0 0,1 1 1 0 0,-1-1-1 0 0,0 1 1 0 0,-6 10 413 0 0,1 0 0 0 0,0 1 0 0 0,0 0 1 0 0,1 0-1 0 0,1 1 0 0 0,-2 13 0 0 0,4-21-407 0 0,0 0-1 0 0,1 0 1 0 0,-1 0-1 0 0,1 0 1 0 0,0-1-1 0 0,1 1 1 0 0,-1 0 0 0 0,1 0-1 0 0,0 0 1 0 0,0 0-1 0 0,1 0 1 0 0,-1-1-1 0 0,1 1 1 0 0,0 0-1 0 0,0-1 1 0 0,1 0-1 0 0,-1 1 1 0 0,1-1-1 0 0,4 4 1 0 0,-5-5-53 0 0,1-1 1 0 0,-1 0-1 0 0,1 0 0 0 0,0 0 0 0 0,0 0 1 0 0,0 0-1 0 0,0-1 0 0 0,0 1 1 0 0,0-1-1 0 0,0 0 0 0 0,0 0 0 0 0,0 0 1 0 0,1 0-1 0 0,-1-1 0 0 0,0 1 1 0 0,1-1-1 0 0,-1 0 0 0 0,1 0 0 0 0,-1 0 1 0 0,0 0-1 0 0,1-1 0 0 0,-1 1 0 0 0,0-1 1 0 0,1 0-1 0 0,-1 0 0 0 0,6-2 1 0 0,2-3-136 0 0,-1 1 0 0 0,1-1 0 0 0,-1-1 0 0 0,0 0 0 0 0,17-16 0 0 0,-26 22 143 0 0,-1 1 1 0 0,0-1-1 0 0,1 1 0 0 0,-1 0 1 0 0,1-1-1 0 0,-1 1 0 0 0,0 0 1 0 0,1 0-1 0 0,-1-1 0 0 0,1 1 1 0 0,-1 0-1 0 0,1 0 0 0 0,-1 0 0 0 0,1-1 1 0 0,-1 1-1 0 0,0 0 0 0 0,1 0 1 0 0,-1 0-1 0 0,1 0 0 0 0,-1 0 1 0 0,1 0-1 0 0,-1 0 0 0 0,1 0 1 0 0,-1 0-1 0 0,1 0 0 0 0,-1 0 1 0 0,1 0-1 0 0,0 1 0 0 0,9 10 422 0 0,5 5 549 0 0,-11-14-769 0 0,0 0-1 0 0,0 0 1 0 0,1 0 0 0 0,-1-1 0 0 0,0 1-1 0 0,1-1 1 0 0,-1 0 0 0 0,1 0 0 0 0,0-1-1 0 0,-1 0 1 0 0,1 1 0 0 0,0-1-1 0 0,-1-1 1 0 0,1 1 0 0 0,7-2 0 0 0,-9 1-147 0 0,0 0 1 0 0,-1-1-1 0 0,1 1 1 0 0,0 0-1 0 0,-1-1 1 0 0,1 1 0 0 0,-1-1-1 0 0,1 0 1 0 0,-1 0-1 0 0,0 0 1 0 0,0 0-1 0 0,0 0 1 0 0,0 0-1 0 0,0-1 1 0 0,0 1 0 0 0,0-1-1 0 0,-1 1 1 0 0,0-1-1 0 0,1 0 1 0 0,-1 1-1 0 0,0-1 1 0 0,0 0 0 0 0,0 0-1 0 0,-1 0 1 0 0,1 0-1 0 0,-1-3 1 0 0,1-2-129 0 0,0 1 1 0 0,-1-1-1 0 0,0 0 1 0 0,0 1-1 0 0,-1-1 1 0 0,0 1-1 0 0,0-1 1 0 0,-1 1-1 0 0,0-1 1 0 0,0 1 0 0 0,-1 0-1 0 0,0 0 1 0 0,0 0-1 0 0,-1 1 1 0 0,-6-11-1 0 0,7 13-282 0 0,-1-1-1 0 0,0 1 1 0 0,0 0-1 0 0,0 0 1 0 0,-1 1-1 0 0,1-1 1 0 0,-1 1 0 0 0,0 0-1 0 0,0 0 1 0 0,0 0-1 0 0,0 1 1 0 0,0 0-1 0 0,-1 0 1 0 0,1 0-1 0 0,-1 1 1 0 0,1-1-1 0 0,-1 1 1 0 0,0 1 0 0 0,0-1-1 0 0,-11 1 1 0 0,-19 4-4192 0 0,18-1 1014 0 0</inkml:trace>
</inkml:ink>
</file>

<file path=ppt/ink/ink7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6.5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4 12 304 0 0,'0'-1'243'0'0,"-1"0"0"0"0,0 0 1 0 0,1 0-1 0 0,-1 1 0 0 0,0-1 0 0 0,1 0 0 0 0,-1 1 1 0 0,0-1-1 0 0,0 0 0 0 0,0 1 0 0 0,0-1 0 0 0,0 1 0 0 0,0-1 1 0 0,1 1-1 0 0,-1 0 0 0 0,0-1 0 0 0,0 1 0 0 0,0 0 1 0 0,0 0-1 0 0,0 0 0 0 0,0 0 0 0 0,0-1 0 0 0,-1 1 1 0 0,1 1-1 0 0,0-1 0 0 0,-1 0 0 0 0,0 1-75 0 0,1 0 0 0 0,0 0-1 0 0,0 0 1 0 0,-1 0 0 0 0,1 0-1 0 0,0 0 1 0 0,0 0 0 0 0,0 0 0 0 0,0 0-1 0 0,0 1 1 0 0,1-1 0 0 0,-1 0-1 0 0,0 1 1 0 0,1-1 0 0 0,-2 3 0 0 0,0 4 122 0 0,-1 0 0 0 0,1 1 0 0 0,1-1 0 0 0,-1 0 0 0 0,1 13 0 0 0,3 28 277 0 0,14 76 0 0 0,0-8-2649 0 0,-8-38-3659 0 0,-7-66 3540 0 0</inkml:trace>
</inkml:ink>
</file>

<file path=ppt/ink/ink7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7.1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2 155 1524 0 0,'-80'-39'7529'0'0,"78"38"-7197"0"0,35-9 567 0 0,200-30 278 0 0,-19-20 1104 0 0,-211 59-2239 0 0,1 0 0 0 0,0 0 0 0 0,0 1-1 0 0,0-1 1 0 0,-1 1 0 0 0,1 0 0 0 0,0 0 0 0 0,0 0 0 0 0,0 0 0 0 0,0 1 0 0 0,-1-1-1 0 0,1 1 1 0 0,0 0 0 0 0,0 0 0 0 0,-1 1 0 0 0,1-1 0 0 0,-1 1 0 0 0,1-1-1 0 0,-1 1 1 0 0,0 0 0 0 0,0 1 0 0 0,1-1 0 0 0,-2 1 0 0 0,1-1 0 0 0,0 1 0 0 0,0 0-1 0 0,-1 0 1 0 0,0 0 0 0 0,3 4 0 0 0,13 22 375 0 0,-1 1 0 0 0,-2 1 0 0 0,-1 0-1 0 0,-1 1 1 0 0,11 49 0 0 0,-12-42 1115 0 0,-11-37-1008 0 0,-3 0 48 0 0,2-2-559 0 0,0 0-1 0 0,0 0 1 0 0,0 0-1 0 0,0 1 0 0 0,0-1 1 0 0,0 0-1 0 0,0 0 1 0 0,0 0-1 0 0,0 0 0 0 0,0 1 1 0 0,0-1-1 0 0,-1 0 0 0 0,1 0 1 0 0,0 0-1 0 0,0 0 1 0 0,0 0-1 0 0,0 0 0 0 0,0 1 1 0 0,0-1-1 0 0,-1 0 1 0 0,1 0-1 0 0,0 0 0 0 0,0 0 1 0 0,0 0-1 0 0,0 0 1 0 0,0 0-1 0 0,-1 0 0 0 0,1 0 1 0 0,0 0-1 0 0,0 0 0 0 0,0 0 1 0 0,0 0-1 0 0,-1 0 1 0 0,1 0-1 0 0,0 0 0 0 0,0 0 1 0 0,0 0-1 0 0,0 0 1 0 0,-1 0-1 0 0,1 0 0 0 0,0 0 1 0 0,0 0-1 0 0,-1 0 1 0 0,-1-5-48 0 0,-1 1 1 0 0,1-1 0 0 0,0 0 0 0 0,0 0-1 0 0,0 0 1 0 0,1 0 0 0 0,0 0 0 0 0,0-1-1 0 0,0 1 1 0 0,0 0 0 0 0,1 0 0 0 0,0-1-1 0 0,0 1 1 0 0,1 0 0 0 0,-1-1 0 0 0,1 1-1 0 0,3-10 1 0 0,-2 5-124 0 0,1 0 0 0 0,0 1 0 0 0,1-1 0 0 0,0 1 0 0 0,1 0-1 0 0,0 0 1 0 0,0 0 0 0 0,12-15 0 0 0,-15 23 118 0 0,0-1 0 0 0,1 0 1 0 0,-1 0-1 0 0,0 1 0 0 0,0-1 0 0 0,1 1 1 0 0,-1 0-1 0 0,1 0 0 0 0,-1 0 0 0 0,1 0 1 0 0,-1 0-1 0 0,1 0 0 0 0,0 1 0 0 0,-1-1 0 0 0,1 1 1 0 0,0 0-1 0 0,-1 0 0 0 0,1 0 0 0 0,0 0 1 0 0,0 0-1 0 0,-1 1 0 0 0,1-1 0 0 0,0 1 0 0 0,3 1 1 0 0,6 2-5 0 0,1 1 1 0 0,-1 0-1 0 0,20 12 1 0 0,-26-13 28 0 0,13 7 18 0 0,1-1 1 0 0,0 0 0 0 0,1-2-1 0 0,-1 0 1 0 0,2-2 0 0 0,30 6-1 0 0,-44-11-10 0 0,-1 0 0 0 0,1-1-1 0 0,0 0 1 0 0,-1 0-1 0 0,1-1 1 0 0,-1 0 0 0 0,1 0-1 0 0,-1 0 1 0 0,13-6 0 0 0,-15 5-24 0 0,1-1 0 0 0,-1 0 0 0 0,0 0 1 0 0,0 0-1 0 0,0-1 0 0 0,-1 0 0 0 0,1 0 0 0 0,-1 0 1 0 0,0 0-1 0 0,0-1 0 0 0,0 1 0 0 0,-1-1 1 0 0,6-10-1 0 0,-5 8 4 0 0,-3 6 13 0 0,1-1 0 0 0,-1 1 0 0 0,0-1 0 0 0,0 0 0 0 0,0 1 0 0 0,0-1 0 0 0,-1 0 0 0 0,1 0 0 0 0,0 0 0 0 0,-1 0 0 0 0,1 0 0 0 0,-1 1 0 0 0,0-1-1 0 0,1 0 1 0 0,-1 0 0 0 0,0 0 0 0 0,0 0 0 0 0,0 0 0 0 0,-1 0 0 0 0,1 0 0 0 0,0 0 0 0 0,-2-3 0 0 0,1 4 7 0 0,1 0 1 0 0,-1 1 0 0 0,0-1-1 0 0,0 1 1 0 0,0-1-1 0 0,1 1 1 0 0,-1 0-1 0 0,0-1 1 0 0,0 1-1 0 0,0 0 1 0 0,0-1-1 0 0,0 1 1 0 0,0 0 0 0 0,0 0-1 0 0,0 0 1 0 0,0 0-1 0 0,0 0 1 0 0,0 0-1 0 0,-1 0 1 0 0,-12 2-36 0 0,10-2 33 0 0,0 1 0 0 0,1 0 0 0 0,-1 0 0 0 0,0 1 0 0 0,1-1 0 0 0,-1 0 0 0 0,1 1 0 0 0,0 0 0 0 0,-1 0 0 0 0,1 0-1 0 0,0 0 1 0 0,0 1 0 0 0,0-1 0 0 0,1 1 0 0 0,-1 0 0 0 0,1 0 0 0 0,-4 5 0 0 0,5-7 16 0 0,0 1-1 0 0,0 0 1 0 0,0 0-1 0 0,0 0 1 0 0,0 0-1 0 0,1 0 1 0 0,-1 0-1 0 0,1 1 0 0 0,0-1 1 0 0,0 0-1 0 0,-1 0 1 0 0,1 0-1 0 0,1 0 1 0 0,-1 0-1 0 0,0 1 1 0 0,0-1-1 0 0,1 0 0 0 0,-1 0 1 0 0,2 2-1 0 0,-1-1-68 0 0,1 1 0 0 0,0-1-1 0 0,0 0 1 0 0,0 0-1 0 0,0 0 1 0 0,1 0 0 0 0,-1 0-1 0 0,1 0 1 0 0,0-1-1 0 0,3 3 1 0 0,3 1-490 0 0,0 0 0 0 0,0-1 0 0 0,1 0 0 0 0,0 0 0 0 0,-1-1 0 0 0,20 5 0 0 0,-22-7-139 0 0,-1-1-1 0 0,0 0 1 0 0,1 0-1 0 0,-1 0 0 0 0,1-1 1 0 0,-1 1-1 0 0,1-2 1 0 0,-1 1-1 0 0,12-3 0 0 0,-4 0-1854 0 0</inkml:trace>
</inkml:ink>
</file>

<file path=ppt/ink/ink7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8.2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 1 24 0 0,'0'0'4873'0'0,"-8"19"-2213"0"0,4-1 1689 0 0,-4-22-4489 0 0,16 13 221 0 0,1 1-1 0 0,-1-1 1 0 0,-1 1-1 0 0,0 0 1 0 0,0 1-1 0 0,7 15 0 0 0,-3-3 3 0 0,-2 1-1 0 0,9 30 0 0 0,-17-49-58 0 0,1 1 0 0 0,-1-1-1 0 0,-1 1 1 0 0,1-1-1 0 0,-1 1 1 0 0,0-1 0 0 0,0 1-1 0 0,0-1 1 0 0,-1 1-1 0 0,0-1 1 0 0,0 0 0 0 0,-1 1-1 0 0,1-1 1 0 0,-1 0-1 0 0,-4 7 1 0 0,4-10 27 0 0,-1 0 0 0 0,1-1 0 0 0,-1 0 0 0 0,0 1 0 0 0,1-1 0 0 0,-1 0 0 0 0,0 0 0 0 0,0-1 0 0 0,0 1 0 0 0,0-1 0 0 0,0 1 0 0 0,-5-1 0 0 0,7 0-42 0 0,-2 0 76 0 0,-5-5 31 0 0,7 5-106 0 0,-1 0-1 0 0,1-1 0 0 0,0 1 0 0 0,0-1 0 0 0,0 1 0 0 0,0-1 1 0 0,0 0-1 0 0,0 1 0 0 0,0-1 0 0 0,0 0 0 0 0,0 0 0 0 0,-1-1 1 0 0,0-2 5 0 0,0 2-11 0 0,1 1 1 0 0,0-1-1 0 0,1 0 0 0 0,-1 0 1 0 0,0 0-1 0 0,0 0 1 0 0,1 0-1 0 0,-1 0 0 0 0,1 0 1 0 0,0 0-1 0 0,-1 0 0 0 0,1 0 1 0 0,0 0-1 0 0,0 0 0 0 0,1 0 1 0 0,-1 0-1 0 0,0 0 1 0 0,1 0-1 0 0,0-2 0 0 0,15-54-50 0 0,-15 57 28 0 0,0-3 1 0 0,0 0 0 0 0,0 0-1 0 0,1 1 1 0 0,-1-1 0 0 0,1 1-1 0 0,2-5 1 0 0,78-15 100 0 0,-48 9-25 0 0,63-35-1 0 0,-52 18-2833 0 0,-43 30 2077 0 0</inkml:trace>
</inkml:ink>
</file>

<file path=ppt/ink/ink7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9.1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0 110 1624 0 0,'0'0'1218'0'0,"13"-6"3391"0"0,22 13-3078 0 0,-30-5-1395 0 0,0-1-1 0 0,1 1 1 0 0,-1-1-1 0 0,0 0 1 0 0,0-1 0 0 0,1 1-1 0 0,-1-1 1 0 0,0 0-1 0 0,0-1 1 0 0,11-1 0 0 0,-12 1-102 0 0,0 1 1 0 0,0-1-1 0 0,0-1 1 0 0,0 1-1 0 0,0 0 1 0 0,0-1 0 0 0,-1 0-1 0 0,1 0 1 0 0,-1 0-1 0 0,1 0 1 0 0,-1-1-1 0 0,1 1 1 0 0,-1-1 0 0 0,0 0-1 0 0,0 0 1 0 0,-1 0-1 0 0,1 0 1 0 0,-1-1-1 0 0,1 1 1 0 0,-1-1 0 0 0,0 0-1 0 0,0 1 1 0 0,-1-1-1 0 0,1 0 1 0 0,1-5-1 0 0,-3 7-30 0 0,0 1 0 0 0,0-1 0 0 0,0 1 0 0 0,0 0 0 0 0,0-1 0 0 0,0 1-1 0 0,-1 0 1 0 0,1-1 0 0 0,0 1 0 0 0,-1 0 0 0 0,1-1 0 0 0,-1 1-1 0 0,1 0 1 0 0,-1-1 0 0 0,0 1 0 0 0,0 0 0 0 0,1 0 0 0 0,-1 0 0 0 0,0 0-1 0 0,0 0 1 0 0,0 0 0 0 0,0 0 0 0 0,0 0 0 0 0,0 0 0 0 0,-1 0 0 0 0,1 1-1 0 0,0-1 1 0 0,0 0 0 0 0,0 1 0 0 0,-1-1 0 0 0,-2 0 0 0 0,0-1 8 0 0,-1 1-1 0 0,0-1 1 0 0,0 1 0 0 0,0 0-1 0 0,0 0 1 0 0,0 1 0 0 0,-6-1 0 0 0,0 3 40 0 0,0-1 0 0 0,0 2 1 0 0,0-1-1 0 0,1 1 1 0 0,0 1-1 0 0,-1 0 0 0 0,1 1 1 0 0,1 0-1 0 0,-1 0 0 0 0,1 1 1 0 0,-1 0-1 0 0,2 1 1 0 0,-14 12-1 0 0,17-15-6 0 0,1 1 1 0 0,0-1-1 0 0,0 1 1 0 0,1 0-1 0 0,-1 1 1 0 0,1-1-1 0 0,0 0 1 0 0,1 1-1 0 0,-1 0 1 0 0,1 0-1 0 0,-2 7 1 0 0,3-8-21 0 0,1-1-1 0 0,-1 1 1 0 0,1-1 0 0 0,0 1 0 0 0,0-1-1 0 0,1 1 1 0 0,0-1 0 0 0,-1 1 0 0 0,1-1-1 0 0,1 0 1 0 0,-1 1 0 0 0,1-1 0 0 0,-1 0-1 0 0,1 0 1 0 0,0 0 0 0 0,5 7 0 0 0,0-3-106 0 0,-1 0 0 0 0,1-1 0 0 0,0 0 0 0 0,1 0 0 0 0,0-1 0 0 0,0 1 0 0 0,0-2 0 0 0,1 1 0 0 0,0-1 0 0 0,0-1 0 0 0,0 0 0 0 0,0 0 0 0 0,1-1 0 0 0,0 0 0 0 0,10 2 0 0 0,-5-2-421 0 0,-1-1-1 0 0,0 0 1 0 0,0-1 0 0 0,1 0-1 0 0,-1-2 1 0 0,0 0-1 0 0,1 0 1 0 0,-1-1 0 0 0,0-1-1 0 0,15-4 1 0 0,-11 0 69 0 0,-1 0 0 0 0,0-1 0 0 0,-1-1-1 0 0,1 0 1 0 0,-2-1 0 0 0,16-13 0 0 0,-22 15 637 0 0,0 0 1 0 0,0-1-1 0 0,0 0 0 0 0,-1-1 1 0 0,13-19-1 0 0,-8-4 2027 0 0,-12 30-1642 0 0,-1 3-512 0 0,0-1-1 0 0,-1 1 0 0 0,1-1 0 0 0,0 1 0 0 0,-1-1 1 0 0,1 1-1 0 0,0-1 0 0 0,-1 1 0 0 0,1-1 0 0 0,-1 1 1 0 0,1 0-1 0 0,-1-1 0 0 0,1 1 0 0 0,-1 0 0 0 0,1-1 0 0 0,-1 1 1 0 0,1 0-1 0 0,-1 0 0 0 0,1 0 0 0 0,-1-1 0 0 0,1 1 1 0 0,-2 0-1 0 0,-3 2 43 0 0,0 1 1 0 0,1-1-1 0 0,-1 1 1 0 0,0 0 0 0 0,1 1-1 0 0,0-1 1 0 0,0 1-1 0 0,0 0 1 0 0,0 0-1 0 0,0 0 1 0 0,1 0-1 0 0,0 1 1 0 0,-1-1-1 0 0,2 1 1 0 0,-1 0 0 0 0,1 0-1 0 0,-1 0 1 0 0,1 0-1 0 0,1 0 1 0 0,-1 0-1 0 0,0 7 1 0 0,0-5-61 0 0,1 1 1 0 0,-1 0 0 0 0,2-1-1 0 0,-1 1 1 0 0,1 0-1 0 0,0 0 1 0 0,1 0 0 0 0,0-1-1 0 0,0 1 1 0 0,1 0-1 0 0,0-1 1 0 0,0 1 0 0 0,0-1-1 0 0,7 13 1 0 0,-6-15-44 0 0,1 1 0 0 0,-1-2 0 0 0,1 1-1 0 0,0 0 1 0 0,0-1 0 0 0,0 1 0 0 0,1-1 0 0 0,0 0 0 0 0,-1-1 0 0 0,1 1 0 0 0,0-1 0 0 0,1 0-1 0 0,-1 0 1 0 0,1-1 0 0 0,-1 0 0 0 0,1 0 0 0 0,0 0 0 0 0,0 0 0 0 0,0-1 0 0 0,0 0 0 0 0,0 0 0 0 0,0-1-1 0 0,0 0 1 0 0,0 0 0 0 0,0 0 0 0 0,0 0 0 0 0,10-3 0 0 0,-2-1-57 0 0,-1 1 1 0 0,0-2-1 0 0,0 1 0 0 0,0-2 1 0 0,0 0-1 0 0,-1 0 0 0 0,0-1 1 0 0,-1-1-1 0 0,1 0 0 0 0,-2 0 1 0 0,15-14-1 0 0,-7 2-11 0 0,0 0 0 0 0,-1-1 0 0 0,0-1-1 0 0,13-27 1 0 0,-29 48 24 0 0,-6 4-47 0 0,4-3 73 0 0,1 0 0 0 0,0 0 1 0 0,-1 0-1 0 0,1 0 1 0 0,-1 0-1 0 0,1 1 0 0 0,0-1 1 0 0,-1 0-1 0 0,1 0 1 0 0,0 0-1 0 0,-1 0 1 0 0,1 0-1 0 0,-1 1 0 0 0,1-1 1 0 0,0 0-1 0 0,-1 0 1 0 0,1 1-1 0 0,0-1 0 0 0,0 0 1 0 0,-1 0-1 0 0,1 1 1 0 0,0-1-1 0 0,0 0 0 0 0,-1 1 1 0 0,1-1-1 0 0,0 1 1 0 0,0-1-1 0 0,-1 1 0 0 0,0 2 14 0 0,1-1-1 0 0,-1 1 1 0 0,1-1-1 0 0,-1 1 0 0 0,1 0 1 0 0,0-1-1 0 0,0 1 1 0 0,0 0-1 0 0,0-1 0 0 0,0 1 1 0 0,1-1-1 0 0,-1 1 1 0 0,1 0-1 0 0,0-1 0 0 0,0 1 1 0 0,0-1-1 0 0,0 1 0 0 0,0-1 1 0 0,0 0-1 0 0,0 0 1 0 0,1 1-1 0 0,0-1 0 0 0,-1 0 1 0 0,1 0-1 0 0,0 0 1 0 0,0 0-1 0 0,0-1 0 0 0,0 1 1 0 0,0 0-1 0 0,0-1 0 0 0,0 0 1 0 0,1 1-1 0 0,-1-1 1 0 0,1 0-1 0 0,-1 0 0 0 0,1 0 1 0 0,3 0-1 0 0,1 1 40 0 0,0-1-1 0 0,0 0 0 0 0,0-1 1 0 0,0 0-1 0 0,0 0 1 0 0,0 0-1 0 0,0-1 1 0 0,0 0-1 0 0,0 0 0 0 0,0-1 1 0 0,0 0-1 0 0,0 0 1 0 0,-1 0-1 0 0,10-6 1 0 0,-13 6-35 0 0,1 1 1 0 0,-1-1 0 0 0,0 0 0 0 0,0-1 0 0 0,-1 1-1 0 0,1 0 1 0 0,0-1 0 0 0,-1 0 0 0 0,0 1 0 0 0,1-1 0 0 0,-1 0-1 0 0,0 0 1 0 0,0 0 0 0 0,-1-1 0 0 0,1 1 0 0 0,-1 0-1 0 0,1-1 1 0 0,-1 1 0 0 0,0-1 0 0 0,-1 1 0 0 0,1-1-1 0 0,0 1 1 0 0,-1-1 0 0 0,0 0 0 0 0,0 1 0 0 0,0-1-1 0 0,0 1 1 0 0,-1-1 0 0 0,1 0 0 0 0,-3-5 0 0 0,2 4-1 0 0,-1 0 0 0 0,0 0 0 0 0,0 0 0 0 0,-1 0 0 0 0,0 1-1 0 0,0-1 1 0 0,0 1 0 0 0,0-1 0 0 0,0 1 0 0 0,-1 0 0 0 0,0 0 0 0 0,0 1 0 0 0,-5-5 0 0 0,1 3-115 0 0,1 0-1 0 0,-1 1 0 0 0,0-1 1 0 0,0 1-1 0 0,0 1 1 0 0,-18-5-1 0 0,22 7-211 0 0,1 0 1 0 0,-1 1-1 0 0,0 0 0 0 0,0 0 1 0 0,0 0-1 0 0,0 0 0 0 0,0 1 1 0 0,0-1-1 0 0,0 1 1 0 0,1 0-1 0 0,-1 0 0 0 0,0 1 1 0 0,0-1-1 0 0,1 1 0 0 0,-1-1 1 0 0,1 1-1 0 0,0 0 0 0 0,-7 5 1 0 0,6 3-2411 0 0,4-8 2104 0 0</inkml:trace>
</inkml:ink>
</file>

<file path=ppt/ink/ink7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9.4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8 1332 0 0,'7'-4'635'0'0,"0"0"0"0"0,0 1 1 0 0,0 0-1 0 0,0 0 0 0 0,0 1 0 0 0,1 0 0 0 0,-1 0 1 0 0,1 1-1 0 0,0 0 0 0 0,14-1 0 0 0,-16 3-437 0 0,-1 0 1 0 0,0-1-1 0 0,0 2 1 0 0,0-1-1 0 0,0 1 0 0 0,0-1 1 0 0,0 1-1 0 0,0 1 0 0 0,0-1 1 0 0,-1 1-1 0 0,1-1 0 0 0,-1 2 1 0 0,0-1-1 0 0,0 0 0 0 0,0 1 1 0 0,7 7-1 0 0,-5-3 19 0 0,0 0 0 0 0,0 1 0 0 0,-1 0 0 0 0,0 0 0 0 0,-1 0 0 0 0,1 0 0 0 0,-2 1 0 0 0,1-1 0 0 0,-2 1 0 0 0,1 0 0 0 0,-1 0 0 0 0,-1 0 0 0 0,0 0 0 0 0,0 1 0 0 0,-1-1 0 0 0,0 0 0 0 0,-1 0 0 0 0,0 0 0 0 0,0 1 0 0 0,-1-1 0 0 0,-1 0 0 0 0,0-1 0 0 0,0 1 0 0 0,-1 0 0 0 0,0-1 0 0 0,0 0 0 0 0,-7 9 0 0 0,11-17-188 0 0,0-1-1 0 0,-1 0 1 0 0,1 1 0 0 0,0-1-1 0 0,0 1 1 0 0,0-1 0 0 0,-1 0-1 0 0,1 1 1 0 0,0-1 0 0 0,-1 0-1 0 0,1 1 1 0 0,0-1 0 0 0,-1 0-1 0 0,1 0 1 0 0,0 1 0 0 0,-1-1-1 0 0,1 0 1 0 0,0 0 0 0 0,-1 0-1 0 0,1 1 1 0 0,-1-1 0 0 0,1 0 0 0 0,-1 0-1 0 0,1 0 1 0 0,0 0 0 0 0,-1 0-1 0 0,1 0 1 0 0,-1 0 0 0 0,1 0-1 0 0,-1 0 1 0 0,1 0 0 0 0,0 0-1 0 0,-1 0 1 0 0,1 0 0 0 0,-1 0-1 0 0,1-1 1 0 0,-1 1 0 0 0,1 0-1 0 0,0 0 1 0 0,-1 0 0 0 0,1-1-1 0 0,0 1 1 0 0,-1 0 0 0 0,1 0-1 0 0,0-1 1 0 0,-1 1 0 0 0,1-1-1 0 0,-9-16 466 0 0,8 9-444 0 0,1 1 0 0 0,0-1 1 0 0,1 0-1 0 0,0 1 0 0 0,0-1 0 0 0,0 1 0 0 0,1-1 0 0 0,0 1 1 0 0,6-13-1 0 0,4-6-12 0 0,17-28 1 0 0,-26 49-34 0 0,10-17-306 0 0,25-32 0 0 0,-32 47-315 0 0,1-1-1 0 0,0 1 0 0 0,0 0 1 0 0,0 0-1 0 0,1 0 0 0 0,15-8 1 0 0,-20 13 203 0 0,0 0 1 0 0,0 1 0 0 0,0 0 0 0 0,0 0-1 0 0,0 0 1 0 0,0 0 0 0 0,0 0-1 0 0,1 0 1 0 0,-1 1 0 0 0,6-1-1 0 0,-5 2-606 0 0,1-1 0 0 0,-1 1 0 0 0,0 0 0 0 0,0 0 0 0 0,7 3-1 0 0,1 1-1228 0 0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8.6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8 59 164 0 0,'-19'-43'6246'0'0,"19"41"-5422"0"0,-2-11 2511 0 0,8 42-2591 0 0,-1 0 0 0 0,-1 0 0 0 0,-2 1 0 0 0,-2 45 0 0 0,0-50-364 0 0,6 250 4234 0 0,-5-275-4598 0 0,-1 1 0 0 0,0-1 0 0 0,0 0-1 0 0,0 0 1 0 0,0 1 0 0 0,0-1 0 0 0,0 0 0 0 0,0 1 0 0 0,1-1 0 0 0,-1 0-1 0 0,0 1 1 0 0,0-1 0 0 0,0 0 0 0 0,0 1 0 0 0,0-1 0 0 0,-1 0 0 0 0,1 0-1 0 0,0 1 1 0 0,0-1 0 0 0,0 0 0 0 0,0 1 0 0 0,0-1 0 0 0,0 0-1 0 0,0 1 1 0 0,0-1 0 0 0,-1 0 0 0 0,1 0 0 0 0,0 1 0 0 0,0-1 0 0 0,0 0-1 0 0,-1 0 1 0 0,1 0 0 0 0,0 1 0 0 0,0-1 0 0 0,-1 0 0 0 0,1 0-1 0 0,0 0 1 0 0,0 0 0 0 0,-1 1 0 0 0,1-1 0 0 0,0 0 0 0 0,-1 0 0 0 0,1 0-1 0 0,0 0 1 0 0,-1 0 0 0 0,1 0 0 0 0,0 0 0 0 0,0 0 0 0 0,-1 0-1 0 0,1 0 1 0 0,0 0 0 0 0,-1 0 0 0 0,1 0 0 0 0,0 0 0 0 0,-1 0 0 0 0,1 0-1 0 0,0 0 1 0 0,-1 0 0 0 0,1-1 0 0 0,0 1 0 0 0,0 0 0 0 0,-1 0-1 0 0,1 0 1 0 0,0 0 0 0 0,0-1 0 0 0,-1 1 0 0 0,1 0 0 0 0,0 0 0 0 0,0-1-1 0 0,-14-13 183 0 0,12 8-235 0 0,-1 0 0 0 0,1 1-1 0 0,0-1 1 0 0,1 0 0 0 0,-1 0 0 0 0,1 0 0 0 0,0 0 0 0 0,1 0-1 0 0,-1-7 1 0 0,6-55-527 0 0,-4 59 476 0 0,2-6-30 0 0,0 0 1 0 0,0 1-1 0 0,2-1 0 0 0,-1 1 1 0 0,2 0-1 0 0,0 0 1 0 0,1 1-1 0 0,0-1 1 0 0,1 2-1 0 0,0-1 0 0 0,1 1 1 0 0,16-16-1 0 0,-19 21 69 0 0,1 1 0 0 0,0 0 0 0 0,0 1 0 0 0,0 0 1 0 0,1 0-1 0 0,0 0 0 0 0,0 1 0 0 0,0 0 0 0 0,15-4 0 0 0,-16 6 23 0 0,0 0 1 0 0,0 1-1 0 0,0 1 1 0 0,0-1-1 0 0,0 1 0 0 0,0 0 1 0 0,0 0-1 0 0,0 1 1 0 0,0 0-1 0 0,-1 1 0 0 0,1-1 1 0 0,0 1-1 0 0,11 5 1 0 0,-6-2 3 0 0,-2 1 1 0 0,1 1-1 0 0,-1-1 1 0 0,0 1 0 0 0,0 1-1 0 0,-1 0 1 0 0,0 0 0 0 0,0 1-1 0 0,-1 0 1 0 0,0 1 0 0 0,6 10-1 0 0,-9-12 57 0 0,0 0 1 0 0,0 0-1 0 0,-1 0 0 0 0,0 1 0 0 0,-1-1 0 0 0,0 1 1 0 0,0 0-1 0 0,-1 0 0 0 0,0 0 0 0 0,-1 1 0 0 0,0-1 0 0 0,0 0 1 0 0,-1 0-1 0 0,0 1 0 0 0,-2 10 0 0 0,1-14-1 0 0,0 0 0 0 0,-1-1 0 0 0,0 1-1 0 0,0-1 1 0 0,0 1 0 0 0,-1-1 0 0 0,1 0-1 0 0,-1 0 1 0 0,-1 0 0 0 0,1-1 0 0 0,-1 1-1 0 0,-6 6 1 0 0,3-5 5 0 0,0 0 1 0 0,0-1-1 0 0,-1 1 0 0 0,0-1 0 0 0,0-1 1 0 0,-1 0-1 0 0,-9 4 0 0 0,-5 0-50 0 0,0-2 1 0 0,0 0-1 0 0,0-2 0 0 0,-1 0 1 0 0,-29 0-1 0 0,32-4-1130 0 0,0 0-1 0 0,0-2 1 0 0,-34-6-1 0 0,36 0-1277 0 0,19 8 2327 0 0,-1 0 1 0 0,1 0-1 0 0,0-1 1 0 0,0 1-1 0 0,-1 0 1 0 0,1 0-1 0 0,0-1 1 0 0,0 1-1 0 0,-1 0 1 0 0,1 0-1 0 0,0-1 1 0 0,0 1-1 0 0,0 0 1 0 0,0 0 0 0 0,0-1-1 0 0,-1 1 1 0 0,1 0-1 0 0,0-1 1 0 0,0 1-1 0 0,0 0 1 0 0,0-1-1 0 0,0 1 1 0 0,0 0-1 0 0,0-1 1 0 0,0 1-1 0 0,0 0 1 0 0,0-1-1 0 0,0 1 1 0 0,0 0-1 0 0,1-1 1 0 0,-1 1-1 0 0,0 0 1 0 0,0 0-1 0 0,0-1 1 0 0,0 1-1 0 0,1-1 1 0 0,5-8-2044 0 0,2-1-1141 0 0</inkml:trace>
</inkml:ink>
</file>

<file path=ppt/ink/ink7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3:59.7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 54 1648 0 0,'18'-18'2278'0'0,"-14"14"-1620"0"0,0-1 0 0 0,0 1 0 0 0,1 0 0 0 0,-1 0 0 0 0,1 1 1 0 0,0 0-1 0 0,8-5 0 0 0,-13 8-593 0 0,1 0 1 0 0,0 0-1 0 0,0 0 1 0 0,0 0 0 0 0,0 0-1 0 0,-1 0 1 0 0,1 0-1 0 0,0 0 1 0 0,0 0-1 0 0,0 1 1 0 0,0-1-1 0 0,-1 0 1 0 0,1 0 0 0 0,0 1-1 0 0,0-1 1 0 0,-1 0-1 0 0,1 1 1 0 0,0-1-1 0 0,-1 1 1 0 0,1-1-1 0 0,0 1 1 0 0,-1-1-1 0 0,1 1 1 0 0,-1 0 0 0 0,1-1-1 0 0,0 2 1 0 0,11 18 962 0 0,-4 3-538 0 0,-1 1 0 0 0,-1 0 0 0 0,-1 1 0 0 0,-2-1 0 0 0,0 1 0 0 0,-1-1 0 0 0,-2 1 0 0 0,-3 33 0 0 0,2-43-357 0 0,-1 0 1 0 0,-1-1 0 0 0,-1 1-1 0 0,0-1 1 0 0,-11 27-1 0 0,12-35-101 0 0,1-1-1 0 0,-1 1 0 0 0,0 0 0 0 0,-1-1 0 0 0,1 0 0 0 0,-1 1 1 0 0,0-2-1 0 0,-1 1 0 0 0,1 0 0 0 0,-1-1 0 0 0,0 0 0 0 0,0 0 0 0 0,0 0 1 0 0,-1-1-1 0 0,-9 6 0 0 0,12-8-63 0 0,1-1 1 0 0,0 1 0 0 0,-1-1-1 0 0,1 1 1 0 0,-1-1-1 0 0,1 0 1 0 0,-1 0-1 0 0,1 0 1 0 0,-5-1-1 0 0,6 1 14 0 0,0 0-1 0 0,0 0 0 0 0,0-1 1 0 0,1 1-1 0 0,-1 0 0 0 0,0 0 1 0 0,0-1-1 0 0,1 1 0 0 0,-1 0 1 0 0,0-1-1 0 0,1 1 0 0 0,-1-1 1 0 0,0 1-1 0 0,1-1 0 0 0,-1 0 1 0 0,1 1-1 0 0,-1-1 0 0 0,1 1 1 0 0,-1-1-1 0 0,1 0 0 0 0,-1 0 1 0 0,1 1-1 0 0,0-1 0 0 0,-1 0 1 0 0,1 0-1 0 0,0 1 0 0 0,-1-1 1 0 0,1 0-1 0 0,0 0 0 0 0,0 0 1 0 0,0 1-1 0 0,0-2 0 0 0,0-1-2 0 0,0 0 0 0 0,0 0 0 0 0,0 0 0 0 0,1 0 0 0 0,-1 0 0 0 0,1 0 0 0 0,0 1 0 0 0,0-1 0 0 0,0 0 0 0 0,0 0 0 0 0,0 1 0 0 0,1-1 0 0 0,-1 1 0 0 0,1-1 0 0 0,0 1 0 0 0,-1-1 0 0 0,1 1 0 0 0,0 0 0 0 0,3-3-1 0 0,-1 3-14 0 0,1-1 0 0 0,-1 0 0 0 0,0 1 0 0 0,1 0-1 0 0,0 0 1 0 0,-1 0 0 0 0,1 1 0 0 0,0 0-1 0 0,0 0 1 0 0,8-1 0 0 0,3 1-157 0 0,0 0 1 0 0,0 2-1 0 0,0 0 0 0 0,0 0 1 0 0,-1 2-1 0 0,21 5 1 0 0,-24-5-227 0 0,0 1 0 0 0,-1 1 1 0 0,1 0-1 0 0,-1 0 0 0 0,1 1 1 0 0,16 13-1 0 0,-19-12-927 0 0,0 1 1 0 0,0 0-1 0 0,-1 1 1 0 0,9 10-1 0 0,-11-11-1192 0 0</inkml:trace>
</inkml:ink>
</file>

<file path=ppt/ink/ink7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0.6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05 628 0 0,'0'0'8193'0'0,"14"-5"-6989"0"0,-3 0-823 0 0,8-3 280 0 0,0-1 0 0 0,30-20 1 0 0,-43 25-607 0 0,-1 0 0 0 0,0-1 0 0 0,0 0 0 0 0,0 0 0 0 0,0 0 0 0 0,-1 0 0 0 0,0-1 0 0 0,0 1 0 0 0,0-1 0 0 0,-1 0 0 0 0,0-1 0 0 0,4-9 0 0 0,-5 8-29 0 0,1 0 0 0 0,-2 0 0 0 0,1 0 1 0 0,-1 0-1 0 0,0 0 0 0 0,-1 0 1 0 0,0 0-1 0 0,0-1 0 0 0,-2-9 1 0 0,1 14-24 0 0,0-1-1 0 0,0 0 1 0 0,-1 0 0 0 0,1 1 0 0 0,-1-1 0 0 0,0 1 0 0 0,-1-1 0 0 0,1 1 0 0 0,-1 0 0 0 0,1 0-1 0 0,-1 0 1 0 0,-1 0 0 0 0,1 0 0 0 0,0 1 0 0 0,-8-7 0 0 0,10 10-5 0 0,0-1 1 0 0,0 1-1 0 0,0-1 0 0 0,0 1 0 0 0,0-1 1 0 0,0 1-1 0 0,0 0 0 0 0,0-1 1 0 0,0 1-1 0 0,-1 0 0 0 0,1 0 1 0 0,0 0-1 0 0,0 0 0 0 0,0 0 1 0 0,0 0-1 0 0,-1 0 0 0 0,-1 0-2 0 0,2 0 3 0 0,0 0 0 0 0,0 0 1 0 0,0 0-1 0 0,0 0 1 0 0,-1 0-1 0 0,1 0 1 0 0,0 1-1 0 0,0-1 0 0 0,0 0 1 0 0,0 0-1 0 0,0 1 1 0 0,0-1-1 0 0,0 1 1 0 0,0-1-1 0 0,0 1 0 0 0,0 0 1 0 0,1-1-1 0 0,-1 1 1 0 0,0 0-1 0 0,-1 1 1 0 0,0-1 0 0 0,-1 2 4 0 0,1-1 0 0 0,0 0 0 0 0,0 1 0 0 0,-1-1 0 0 0,1 1-1 0 0,1 0 1 0 0,-1-1 0 0 0,0 1 0 0 0,1 0 0 0 0,-1 0 0 0 0,1 0 0 0 0,0 1 0 0 0,0-1 0 0 0,0 0 0 0 0,1 0 0 0 0,-1 0 0 0 0,0 7 0 0 0,1 5 33 0 0,0 0-1 0 0,2 21 1 0 0,-2-33-34 0 0,7 42 305 0 0,2 0 0 0 0,3-1 0 0 0,24 67 1 0 0,-19-64 148 0 0,-2 1 0 0 0,15 81 0 0 0,-30-122-377 0 0,1-1 0 0 0,-1 1 0 0 0,0 0 0 0 0,-1 0 0 0 0,1 0 0 0 0,-1 0 0 0 0,-1-1 0 0 0,-3 13 0 0 0,4-18-47 0 0,1 1-1 0 0,-1-1 1 0 0,1 1 0 0 0,-1-1-1 0 0,0 1 1 0 0,0-1 0 0 0,0 1-1 0 0,0-1 1 0 0,0 0 0 0 0,0 1 0 0 0,0-1-1 0 0,0 0 1 0 0,0 0 0 0 0,-1 0-1 0 0,1 0 1 0 0,0 0 0 0 0,-1 0-1 0 0,1 0 1 0 0,-1 0 0 0 0,1-1 0 0 0,-1 1-1 0 0,1-1 1 0 0,-1 1 0 0 0,0-1-1 0 0,1 1 1 0 0,-1-1 0 0 0,1 0 0 0 0,-1 0-1 0 0,0 0 1 0 0,1 0 0 0 0,-1 0-1 0 0,0 0 1 0 0,1 0 0 0 0,-1-1-1 0 0,0 1 1 0 0,1 0 0 0 0,-1-1 0 0 0,1 1-1 0 0,-1-1 1 0 0,-2-1 0 0 0,0-1 3 0 0,0 1 0 0 0,1 0 1 0 0,0-1-1 0 0,0 0 0 0 0,-1 0 0 0 0,2 0 1 0 0,-1 0-1 0 0,0 0 0 0 0,1 0 1 0 0,-1-1-1 0 0,1 0 0 0 0,0 1 0 0 0,0-1 1 0 0,0 0-1 0 0,1 0 0 0 0,-2-5 1 0 0,0 0-53 0 0,1 1 0 0 0,0-1 0 0 0,0 1 0 0 0,1-1 0 0 0,1 0 1 0 0,0-17-1 0 0,1 17-254 0 0,0 0 1 0 0,1 0-1 0 0,0-1 1 0 0,1 1 0 0 0,-1 0-1 0 0,2 1 1 0 0,0-1-1 0 0,0 1 1 0 0,0-1-1 0 0,1 1 1 0 0,0 0-1 0 0,11-12 1 0 0,-10 14-554 0 0,-1 1 1 0 0,1 0-1 0 0,0 0 0 0 0,0 0 0 0 0,1 1 1 0 0,-1 0-1 0 0,1 0 0 0 0,0 0 1 0 0,0 1-1 0 0,8-2 0 0 0,-1 1-2944 0 0</inkml:trace>
</inkml:ink>
</file>

<file path=ppt/ink/ink7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1.5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08 31 628 0 0,'-3'-3'217'0'0,"0"0"1"0"0,-1 0-1 0 0,1 0 0 0 0,-1 1 0 0 0,1 0 0 0 0,-1 0 1 0 0,0 0-1 0 0,0 0 0 0 0,0 0 0 0 0,0 1 1 0 0,0 0-1 0 0,0 0 0 0 0,-1 0 0 0 0,1 0 1 0 0,0 0-1 0 0,-1 1 0 0 0,1 0 0 0 0,0 0 1 0 0,-1 0-1 0 0,1 1 0 0 0,0-1 0 0 0,0 1 1 0 0,-1 0-1 0 0,-6 3 0 0 0,-6 2 214 0 0,1 0 0 0 0,-1 1 0 0 0,2 1 1 0 0,-27 17-1 0 0,25-14-178 0 0,1 1 1 0 0,0 1-1 0 0,0 0 1 0 0,1 2-1 0 0,1-1 1 0 0,0 2-1 0 0,2-1 1 0 0,-1 2-1 0 0,-14 27 1 0 0,21-34-175 0 0,1 0-1 0 0,1 1 1 0 0,0 0 0 0 0,1-1 0 0 0,-1 1 0 0 0,2 0 0 0 0,0 1 0 0 0,0-1 0 0 0,1 0 0 0 0,1 1-1 0 0,0-1 1 0 0,0 0 0 0 0,1 1 0 0 0,0-1 0 0 0,1 0 0 0 0,1 0 0 0 0,-1 0 0 0 0,9 18-1 0 0,-8-20-16 0 0,2-1-1 0 0,-1 0 0 0 0,1 0 0 0 0,0 0 1 0 0,1-1-1 0 0,0 0 0 0 0,0 0 0 0 0,13 11 1 0 0,-17-17-54 0 0,0 1-1 0 0,-1-1 1 0 0,1 1 0 0 0,0-1 0 0 0,0 0 0 0 0,0 1-1 0 0,0-1 1 0 0,0-1 0 0 0,0 1 0 0 0,0 0 0 0 0,1 0-1 0 0,-1-1 1 0 0,0 1 0 0 0,0-1 0 0 0,1 1 0 0 0,-1-1 0 0 0,0 0-1 0 0,0 0 1 0 0,1 0 0 0 0,-1-1 0 0 0,0 1 0 0 0,1 0-1 0 0,-1-1 1 0 0,0 1 0 0 0,0-1 0 0 0,0 0 0 0 0,0 0-1 0 0,0 0 1 0 0,1 0 0 0 0,-2 0 0 0 0,1 0 0 0 0,0-1 0 0 0,0 1-1 0 0,0 0 1 0 0,-1-1 0 0 0,1 0 0 0 0,0 1 0 0 0,-1-1-1 0 0,0 0 1 0 0,1 0 0 0 0,0-2 0 0 0,5-7-42 0 0,0-1 1 0 0,-1 1-1 0 0,-1-2 1 0 0,0 1-1 0 0,0 0 0 0 0,4-22 1 0 0,9-83 53 0 0,-6 35 590 0 0,-13 82-610 0 0,1 0 1 0 0,0 0 0 0 0,0 0 0 0 0,0 0 0 0 0,0-1 0 0 0,0 1-1 0 0,0 0 1 0 0,0 0 0 0 0,0 0 0 0 0,0-1 0 0 0,0 1 0 0 0,0 0-1 0 0,0 0 1 0 0,0 0 0 0 0,0-1 0 0 0,0 1 0 0 0,0 0 0 0 0,0 0-1 0 0,0 0 1 0 0,0 0 0 0 0,1-1 0 0 0,-1 1 0 0 0,0 0 0 0 0,0 0-1 0 0,0 0 1 0 0,0 0 0 0 0,0-1 0 0 0,0 1 0 0 0,0 0 0 0 0,1 0-1 0 0,-1 0 1 0 0,0 0 0 0 0,0 0 0 0 0,0 0 0 0 0,0-1-1 0 0,1 1 1 0 0,-1 0 0 0 0,0 0 0 0 0,0 0 0 0 0,0 0 0 0 0,1 0-1 0 0,-1 0 1 0 0,0 0 0 0 0,0 0 0 0 0,0 0 0 0 0,0 0 0 0 0,1 0-1 0 0,-1 0 1 0 0,0 0 0 0 0,0 0 0 0 0,0 0 0 0 0,1 0 0 0 0,-1 0-1 0 0,0 0 1 0 0,0 0 0 0 0,0 0 0 0 0,1 0 0 0 0,-1 1 0 0 0,0-1-1 0 0,0 0 1 0 0,11 16 34 0 0,6 28 36 0 0,-17-44-69 0 0,71 181 33 0 0,-12-66-3063 0 0,-58-114 2806 0 0,1 3-51 0 0,0-1-1 0 0,0 0 1 0 0,1 1-1 0 0,-1-1 1 0 0,1 0 0 0 0,0 0-1 0 0,5 4 1 0 0,8-2-3430 0 0,2-5 1531 0 0</inkml:trace>
</inkml:ink>
</file>

<file path=ppt/ink/ink7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1.9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0 864 0 0,'6'-8'842'0'0,"0"1"-1"0"0,0-1 1 0 0,1 1-1 0 0,9-8 1 0 0,-16 14-738 0 0,1 1 1 0 0,0-1-1 0 0,0 1 1 0 0,0 0-1 0 0,0-1 1 0 0,0 1 0 0 0,0 0-1 0 0,-1-1 1 0 0,1 1-1 0 0,0 0 1 0 0,0 0-1 0 0,0 0 1 0 0,0 0-1 0 0,0 0 1 0 0,0 0-1 0 0,0 0 1 0 0,0 0-1 0 0,0 0 1 0 0,0 0-1 0 0,0 1 1 0 0,0-1-1 0 0,0 0 1 0 0,0 1 0 0 0,0-1-1 0 0,1 1 1 0 0,18 15 1200 0 0,-15-8-985 0 0,0 1 0 0 0,0 0 0 0 0,0 0-1 0 0,-1 0 1 0 0,-1 0 0 0 0,0 0 0 0 0,0 1 0 0 0,-1 0 0 0 0,0-1 0 0 0,0 1 0 0 0,0 18 0 0 0,-2-3 455 0 0,-1 0 1 0 0,-1 1 0 0 0,-7 35 0 0 0,-1-14 1592 0 0,9-46-2313 0 0,1-1 0 0 0,0 1-1 0 0,-1 0 1 0 0,1-1 0 0 0,-1 1 0 0 0,1 0 0 0 0,0-1-1 0 0,-1 1 1 0 0,1-1 0 0 0,-1 1 0 0 0,1-1 0 0 0,-1 1-1 0 0,0-1 1 0 0,1 0 0 0 0,-1 1 0 0 0,0-1 0 0 0,1 0 0 0 0,-1 1-1 0 0,0-1 1 0 0,1 0 0 0 0,-1 0 0 0 0,0 1 0 0 0,1-1-1 0 0,-1 0 1 0 0,0 0 0 0 0,1 0 0 0 0,-1 0 0 0 0,0 0-1 0 0,0 0 1 0 0,1 0 0 0 0,-1 0 0 0 0,0-1 0 0 0,0 1-1 0 0,1 0 1 0 0,-1 0 0 0 0,0 0 0 0 0,1-1 0 0 0,-1 1-1 0 0,0-1 1 0 0,0 1-130 0 0,1-1 78 0 0,-1 1 0 0 0,0-1 1 0 0,1 1-1 0 0,-1-1 0 0 0,1 0 0 0 0,-1 1 1 0 0,1-1-1 0 0,0 0 0 0 0,-1 1 0 0 0,1-1 1 0 0,0 0-1 0 0,-1 0 0 0 0,1 1 0 0 0,0-1 0 0 0,0 0 1 0 0,0 0-1 0 0,0 0 0 0 0,0 1 0 0 0,0-1 1 0 0,0 0-1 0 0,0 0 0 0 0,0-1 0 0 0,0 1 2 0 0,0-6-25 0 0,0 0 1 0 0,0 0 0 0 0,1-1 0 0 0,0 1 0 0 0,0 0 0 0 0,1 0 0 0 0,0 0 0 0 0,0 0 0 0 0,1 0 0 0 0,0 1 0 0 0,5-11-1 0 0,0 4-37 0 0,0 0 0 0 0,1 0-1 0 0,1 1 1 0 0,13-15 0 0 0,-20 24 9 0 0,0-1 1 0 0,1 1-1 0 0,-1 0 1 0 0,1 0-1 0 0,0 0 1 0 0,0 0-1 0 0,0 1 1 0 0,0 0-1 0 0,1-1 1 0 0,-1 2-1 0 0,1-1 1 0 0,-1 0-1 0 0,1 1 1 0 0,-1 0-1 0 0,1 0 1 0 0,0 0-1 0 0,0 1 1 0 0,-1-1-1 0 0,1 1 1 0 0,0 1 0 0 0,0-1-1 0 0,0 0 1 0 0,-1 1-1 0 0,1 0 1 0 0,0 0-1 0 0,-1 1 1 0 0,1-1-1 0 0,-1 1 1 0 0,1 0-1 0 0,-1 0 1 0 0,0 0-1 0 0,0 1 1 0 0,0 0-1 0 0,0-1 1 0 0,0 1-1 0 0,-1 1 1 0 0,1-1-1 0 0,4 6 1 0 0,-1 1-340 0 0,0 0 1 0 0,0 1-1 0 0,-1 0 1 0 0,0 0-1 0 0,-1 0 1 0 0,-1 1-1 0 0,6 18 0 0 0,-1 8-2813 0 0,3 41 0 0 0,-5-32-1861 0 0</inkml:trace>
</inkml:ink>
</file>

<file path=ppt/ink/ink7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3.1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2 64 908 0 0,'0'-3'305'0'0,"0"0"-1"0"0,-1 0 1 0 0,0 0 0 0 0,1 0-1 0 0,-1-1 1 0 0,0 1 0 0 0,-1 0-1 0 0,1 0 1 0 0,0 1 0 0 0,-1-1-1 0 0,0 0 1 0 0,1 0 0 0 0,-1 1-1 0 0,0-1 1 0 0,-1 1 0 0 0,1-1-1 0 0,0 1 1 0 0,-1 0 0 0 0,1 0-1 0 0,-1 0 1 0 0,-4-2 0 0 0,6 3-241 0 0,0 1 0 0 0,-1 0 0 0 0,1-1 0 0 0,0 1 1 0 0,0 0-1 0 0,0 0 0 0 0,-1 0 0 0 0,1 0 0 0 0,0 0 1 0 0,0 0-1 0 0,-1 0 0 0 0,1 0 0 0 0,0 1 0 0 0,0-1 0 0 0,0 0 1 0 0,0 1-1 0 0,-3 0 0 0 0,1 1 121 0 0,-2-1-39 0 0,1 1-1 0 0,-1 1 1 0 0,1-1-1 0 0,-1 0 0 0 0,1 1 1 0 0,0 0-1 0 0,0 0 1 0 0,0 1-1 0 0,0-1 0 0 0,0 1 1 0 0,1-1-1 0 0,-4 6 1 0 0,0 1 86 0 0,-1 1 0 0 0,2 0 0 0 0,-9 17 0 0 0,8-13-89 0 0,2 1-1 0 0,0 0 1 0 0,0 0-1 0 0,2 0 1 0 0,0 0-1 0 0,0 0 1 0 0,2 1-1 0 0,0-1 0 0 0,3 31 1 0 0,-1-35-100 0 0,0-1-1 0 0,1 1 1 0 0,1-1 0 0 0,0 0 0 0 0,0 0 0 0 0,1 0-1 0 0,1-1 1 0 0,-1 1 0 0 0,2-1 0 0 0,0 0-1 0 0,0 0 1 0 0,0-1 0 0 0,1 1 0 0 0,16 14 0 0 0,-21-22-50 0 0,0 0 1 0 0,0 0 0 0 0,0-1 0 0 0,1 1 0 0 0,-1-1 0 0 0,0 0-1 0 0,1 0 1 0 0,-1 0 0 0 0,1 0 0 0 0,-1 0 0 0 0,1 0 0 0 0,0-1-1 0 0,-1 1 1 0 0,1-1 0 0 0,0 0 0 0 0,-1 1 0 0 0,1-1 0 0 0,0-1-1 0 0,-1 1 1 0 0,1 0 0 0 0,0-1 0 0 0,4-1 0 0 0,-3 1-65 0 0,-1 0 1 0 0,0-1 0 0 0,1 0-1 0 0,-1 0 1 0 0,0 0-1 0 0,0 0 1 0 0,0 0-1 0 0,-1 0 1 0 0,1-1 0 0 0,0 0-1 0 0,-1 1 1 0 0,0-1-1 0 0,1 0 1 0 0,-1 0 0 0 0,0 0-1 0 0,1-5 1 0 0,6-12-248 0 0,-1-1 0 0 0,-1 1 0 0 0,6-35-1 0 0,6-68-57 0 0,-9 50 560 0 0,-10 72-166 0 0,0 1 0 0 0,0-1 0 0 0,0 1 0 0 0,0-1 0 0 0,0 1 0 0 0,0 0 0 0 0,0-1 0 0 0,0 1 0 0 0,0-1 0 0 0,0 1 0 0 0,0 0 0 0 0,0-1-1 0 0,0 1 1 0 0,1-1 0 0 0,-1 1 0 0 0,0 0 0 0 0,0-1 0 0 0,1 1 0 0 0,-1 0 0 0 0,0-1 0 0 0,0 1 0 0 0,1 0 0 0 0,-1-1 0 0 0,0 1 0 0 0,1 0 0 0 0,-1 0 0 0 0,0-1 0 0 0,1 1 0 0 0,-1 0 0 0 0,8 8 276 0 0,3 20 219 0 0,29 183 1959 0 0,-33-160-1770 0 0,-2-13 4359 0 0,6-60-4381 0 0,-8 13-561 0 0,5-4-59 0 0,0 0 0 0 0,0 1-1 0 0,20-23 1 0 0,-25 32-136 0 0,1-1-1 0 0,0 0 0 0 0,0 1 1 0 0,0-1-1 0 0,1 1 0 0 0,-1 1 1 0 0,1-1-1 0 0,0 0 0 0 0,0 1 1 0 0,0 0-1 0 0,0 0 0 0 0,0 1 1 0 0,10-3-1 0 0,-10 4-84 0 0,0 0 0 0 0,0 0-1 0 0,0 1 1 0 0,0-1 0 0 0,-1 1-1 0 0,1 0 1 0 0,0 0 0 0 0,-1 1-1 0 0,1 0 1 0 0,-1-1 0 0 0,1 1 0 0 0,-1 1-1 0 0,0-1 1 0 0,0 1 0 0 0,0-1-1 0 0,0 1 1 0 0,0 0 0 0 0,-1 1-1 0 0,1-1 1 0 0,5 8 0 0 0,0 1-565 0 0,0 0 0 0 0,-1 1 0 0 0,0 0 0 0 0,-1 0 0 0 0,6 17 0 0 0,1 8-1552 0 0,-9-22 236 0 0,1 0-1 0 0,9 15 1 0 0,-9-20 15 0 0</inkml:trace>
</inkml:ink>
</file>

<file path=ppt/ink/ink7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3.4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6 51 1580 0 0,'0'-2'172'0'0,"1"1"0"0"0,-1-1 0 0 0,0 1 0 0 0,0-1 0 0 0,0 1 1 0 0,-1 0-1 0 0,1-1 0 0 0,0 1 0 0 0,0-1 0 0 0,-1 1 0 0 0,1-1 0 0 0,-1 1 0 0 0,1 0 0 0 0,-1-1 0 0 0,0 1 0 0 0,0 0 0 0 0,1-1 0 0 0,-1 1 0 0 0,0 0 1 0 0,0 0-1 0 0,0 0 0 0 0,0 0 0 0 0,0 0 0 0 0,-1 0 0 0 0,1 0 0 0 0,0 0 0 0 0,0 1 0 0 0,0-1 0 0 0,-1 0 0 0 0,1 1 0 0 0,-3-2 0 0 0,1 2-33 0 0,1 0-1 0 0,-1 0 1 0 0,0 0-1 0 0,0 0 1 0 0,0 0-1 0 0,1 1 1 0 0,-1-1-1 0 0,0 1 1 0 0,0 0-1 0 0,1 0 1 0 0,-1 0-1 0 0,1 0 1 0 0,-1 0-1 0 0,1 0 1 0 0,-4 3-1 0 0,-1 1 44 0 0,0 0-1 0 0,0 0 1 0 0,1 1-1 0 0,0 0 1 0 0,0 0-1 0 0,0 1 1 0 0,1 0 0 0 0,0-1-1 0 0,0 2 1 0 0,1-1-1 0 0,0 0 1 0 0,-4 10-1 0 0,6-12-102 0 0,0 1-1 0 0,1 0 1 0 0,0-1-1 0 0,-1 1 1 0 0,2 0-1 0 0,-1 0 1 0 0,1 0-1 0 0,0 0 1 0 0,0 0-1 0 0,0 0 1 0 0,1-1-1 0 0,0 1 1 0 0,0 0-1 0 0,1 0 1 0 0,-1-1-1 0 0,1 1 1 0 0,1 0-1 0 0,3 7 1 0 0,-3-8-18 0 0,0-1 1 0 0,0 1-1 0 0,0 0 0 0 0,1-1 1 0 0,-1 0-1 0 0,1 0 0 0 0,0 0 1 0 0,1 0-1 0 0,-1-1 0 0 0,1 0 1 0 0,-1 1-1 0 0,1-2 0 0 0,0 1 1 0 0,0 0-1 0 0,9 2 0 0 0,-12-4-48 0 0,0-1 0 0 0,0 0 0 0 0,0 1 0 0 0,0-1-1 0 0,0 0 1 0 0,1 0 0 0 0,-1 0 0 0 0,0-1 0 0 0,0 1-1 0 0,0 0 1 0 0,0-1 0 0 0,0 0 0 0 0,0 1 0 0 0,0-1-1 0 0,0 0 1 0 0,0 0 0 0 0,0 0 0 0 0,0 0 0 0 0,0 0-1 0 0,-1 0 1 0 0,1-1 0 0 0,0 1 0 0 0,-1-1 0 0 0,1 1-1 0 0,-1-1 1 0 0,0 1 0 0 0,1-1 0 0 0,-1 0 0 0 0,1-2-1 0 0,1-1 1 0 0,-1 1-1 0 0,0-1 1 0 0,0 0-1 0 0,0 0 1 0 0,0 0-1 0 0,-1 0 0 0 0,0-1 1 0 0,0 1-1 0 0,0 0 1 0 0,-1-6-1 0 0,0 2-115 0 0,-1-1 0 0 0,0 1-1 0 0,0 0 1 0 0,-1 0 0 0 0,-1 0 0 0 0,0 0-1 0 0,0 0 1 0 0,0 1 0 0 0,-1-1 0 0 0,0 1 0 0 0,-1 0-1 0 0,0 0 1 0 0,-7-8 0 0 0,5 8-571 0 0,1 1 0 0 0,-1 0 0 0 0,0 0-1 0 0,-1 0 1 0 0,0 1 0 0 0,0 0 0 0 0,-11-6 0 0 0,8 4-1355 0 0,7 3 209 0 0,-1-1 255 0 0</inkml:trace>
</inkml:ink>
</file>

<file path=ppt/ink/ink7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3.8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2 804 0 0,'15'5'811'0'0,"-1"-1"0"0"0,1 2 0 0 0,-1 0-1 0 0,0 1 1 0 0,-1 0 0 0 0,0 1 0 0 0,23 18 0 0 0,-27-19-494 0 0,-2 1 0 0 0,1-1 1 0 0,-1 1-1 0 0,0 0 0 0 0,-1 1 0 0 0,1 0 1 0 0,-2 0-1 0 0,1 0 0 0 0,-2 1 0 0 0,1 0 1 0 0,-1-1-1 0 0,3 13 0 0 0,2 5 789 0 0,-6-20 80 0 0,-1 0 0 0 0,0 0 1 0 0,0 1-1 0 0,0-1 0 0 0,0 12 0 0 0,9-36-345 0 0,-1-6-1190 0 0,1-1 0 0 0,1 2 0 0 0,1 0-1 0 0,1 0 1 0 0,1 1 0 0 0,1 1 0 0 0,1 0-1 0 0,34-30 1 0 0,-43 44-331 0 0,1-1 0 0 0,-1 1-1 0 0,1 1 1 0 0,0 0 0 0 0,1 0-1 0 0,-1 1 1 0 0,1 0-1 0 0,0 1 1 0 0,0 0 0 0 0,0 0-1 0 0,0 1 1 0 0,0 1 0 0 0,12-1-1 0 0,-15 3-1732 0 0,10 3-581 0 0</inkml:trace>
</inkml:ink>
</file>

<file path=ppt/ink/ink7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4.6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7 51 872 0 0,'1'-1'235'0'0,"1"-1"0"0"0,-1 1 1 0 0,0-1-1 0 0,0 0 0 0 0,0 1 0 0 0,0-1 0 0 0,0 0 1 0 0,-1 0-1 0 0,1 0 0 0 0,0 0 0 0 0,-1 0 0 0 0,1 0 1 0 0,-1 0-1 0 0,0 0 0 0 0,0 0 0 0 0,0 0 0 0 0,0 0 0 0 0,0 0 1 0 0,0 0-1 0 0,0 0 0 0 0,-1 0 0 0 0,1 0 0 0 0,-2-3 1 0 0,1 5-183 0 0,1-1 1 0 0,-1 1 0 0 0,0 0 0 0 0,0-1-1 0 0,0 1 1 0 0,0 0 0 0 0,0 0 0 0 0,1-1 0 0 0,-1 1-1 0 0,0 0 1 0 0,0 0 0 0 0,0 0 0 0 0,0 0-1 0 0,0 0 1 0 0,0 1 0 0 0,1-1 0 0 0,-1 0-1 0 0,-2 1 1 0 0,3-1 6 0 0,-6 1 140 0 0,0 1 0 0 0,0-1-1 0 0,0 2 1 0 0,1-1 0 0 0,-1 1 0 0 0,1-1-1 0 0,-1 2 1 0 0,1-1 0 0 0,0 0 0 0 0,0 1-1 0 0,-8 8 1 0 0,2-1 88 0 0,0 1 0 0 0,1 0 0 0 0,-13 18-1 0 0,18-22-157 0 0,0 0-1 0 0,1 0 0 0 0,0 1 0 0 0,0 0 0 0 0,1-1 1 0 0,0 1-1 0 0,0 0 0 0 0,1 1 0 0 0,0-1 1 0 0,-1 18-1 0 0,3-23-73 0 0,0 1 1 0 0,0-1-1 0 0,1 1 0 0 0,0 0 1 0 0,0-1-1 0 0,0 1 0 0 0,0-1 1 0 0,1 0-1 0 0,-1 1 0 0 0,1-1 1 0 0,0 0-1 0 0,1 0 1 0 0,-1 0-1 0 0,1 0 0 0 0,0 0 1 0 0,-1-1-1 0 0,2 1 0 0 0,-1-1 1 0 0,0 0-1 0 0,1 0 1 0 0,-1 0-1 0 0,1 0 0 0 0,4 2 1 0 0,-6-4-50 0 0,1 0 0 0 0,-1 0 0 0 0,1 0 0 0 0,-1 0-1 0 0,1 0 1 0 0,-1-1 0 0 0,1 1 0 0 0,-1-1 0 0 0,1 0 0 0 0,-1 1 0 0 0,1-1 0 0 0,0 0 0 0 0,-1-1 0 0 0,1 1 0 0 0,-1 0 0 0 0,1-1 0 0 0,-1 1 0 0 0,1-1 0 0 0,-1 0 0 0 0,1 0 0 0 0,-1 0 0 0 0,1 0 0 0 0,-1 0 0 0 0,0-1 0 0 0,0 1 0 0 0,0-1 0 0 0,0 1 0 0 0,0-1 0 0 0,0 0 0 0 0,0 0 0 0 0,0 0 0 0 0,1-2 0 0 0,6-7-110 0 0,0-1 1 0 0,-2 1-1 0 0,1-1 1 0 0,7-17-1 0 0,-15 28 96 0 0,19-46-188 0 0,-16 37 104 0 0,0 1 0 0 0,1-1 0 0 0,9-16 1 0 0,-12 25 36 0 0,-1 24 343 0 0,1 0 52 0 0,1-1 1 0 0,1 1 0 0 0,1-1-1 0 0,1 1 1 0 0,1-1 0 0 0,1-1 0 0 0,1 1-1 0 0,1-1 1 0 0,22 39 0 0 0,-30-58-287 0 0,0-1 0 0 0,0 1 0 0 0,0-1 0 0 0,1 1-1 0 0,-1-1 1 0 0,0 0 0 0 0,0 1 0 0 0,1-1 0 0 0,-1 0 0 0 0,1 0 0 0 0,-1 0 0 0 0,1 0 0 0 0,-1 0 0 0 0,1 0 0 0 0,0 0 0 0 0,0 0 0 0 0,-1-1-1 0 0,1 1 1 0 0,0-1 0 0 0,0 1 0 0 0,0-1 0 0 0,1 0 0 0 0,0 0-22 0 0,0 0 1 0 0,0-1-1 0 0,0 0 0 0 0,0 1 0 0 0,-1-1 1 0 0,1 0-1 0 0,0 0 0 0 0,-1-1 0 0 0,1 1 0 0 0,-1-1 1 0 0,1 1-1 0 0,3-4 0 0 0,5-6-37 0 0,0 0 1 0 0,0 0-1 0 0,-2-1 0 0 0,11-14 1 0 0,-19 24 9 0 0,31-45-219 0 0,-13 18-226 0 0,27-32 1 0 0,-46 60 410 0 0,1 0 0 0 0,0 1 1 0 0,-1-1-1 0 0,1 0 0 0 0,0 1 1 0 0,0-1-1 0 0,0 1 0 0 0,0-1 1 0 0,-1 1-1 0 0,1-1 1 0 0,0 1-1 0 0,0 0 0 0 0,0-1 1 0 0,0 1-1 0 0,0 0 0 0 0,0 0 1 0 0,0 0-1 0 0,0 0 0 0 0,0 0 1 0 0,0 0-1 0 0,0 0 1 0 0,0 0-1 0 0,0 0 0 0 0,0 0 1 0 0,0 0-1 0 0,1 1 0 0 0,19 12-192 0 0,27 38 257 0 0,-29-29 187 0 0,43 36 0 0 0,-56-53-180 0 0,1 0-1 0 0,0 0 1 0 0,0-1 0 0 0,0 0 0 0 0,1 0 0 0 0,0-1 0 0 0,-1 0 0 0 0,1 0 0 0 0,0-1 0 0 0,0 0 0 0 0,10 1 0 0 0,-12-3-42 0 0,-1 0 1 0 0,1 0 0 0 0,0 0-1 0 0,0-1 1 0 0,-1 0-1 0 0,1 0 1 0 0,-1-1 0 0 0,1 1-1 0 0,-1-1 1 0 0,0 0-1 0 0,1-1 1 0 0,-1 1 0 0 0,0-1-1 0 0,0 0 1 0 0,-1 0-1 0 0,1-1 1 0 0,-1 1-1 0 0,1-1 1 0 0,-1 0 0 0 0,0 0-1 0 0,-1-1 1 0 0,1 1-1 0 0,-1-1 1 0 0,0 1 0 0 0,3-7-1 0 0,0 1-35 0 0,-1-1 0 0 0,0 0 0 0 0,-1 0 0 0 0,0 0 0 0 0,0 0 0 0 0,-2-1 0 0 0,1 1 0 0 0,-1-1 0 0 0,-1 0 1 0 0,0-24-1 0 0,-1 34 19 0 0,0-1 1 0 0,0 0-1 0 0,0 1 1 0 0,0-1-1 0 0,0 0 1 0 0,-1 1-1 0 0,1-1 1 0 0,-1 0-1 0 0,0 1 1 0 0,0-1-1 0 0,0 1 1 0 0,0-1-1 0 0,0 1 1 0 0,-1 0-1 0 0,1-1 1 0 0,-1 1-1 0 0,1 0 1 0 0,-1 0-1 0 0,0 0 1 0 0,0 0-1 0 0,-4-3 1 0 0,6 5 8 0 0,-1-1 1 0 0,0 1-1 0 0,0 0 1 0 0,0-1-1 0 0,0 1 1 0 0,0 0-1 0 0,0 0 1 0 0,0 0-1 0 0,0 0 0 0 0,0 0 1 0 0,0 0-1 0 0,0 0 1 0 0,0 0-1 0 0,0 0 1 0 0,0 0-1 0 0,0 1 1 0 0,1-1-1 0 0,-1 0 1 0 0,0 1-1 0 0,0-1 1 0 0,0 0-1 0 0,0 1 0 0 0,0-1 1 0 0,1 1-1 0 0,-1-1 1 0 0,0 1-1 0 0,0 0 1 0 0,1-1-1 0 0,-1 1 1 0 0,0 0-1 0 0,0 1 1 0 0,-1 0-3 0 0,0 1 1 0 0,1-1-1 0 0,-1 1 1 0 0,1 0 0 0 0,-1-1-1 0 0,1 1 1 0 0,0 0 0 0 0,-1 3-1 0 0,1 1 8 0 0,0 1-1 0 0,0-1 1 0 0,1 0-1 0 0,0 1 1 0 0,0-1-1 0 0,0 0 0 0 0,1 1 1 0 0,0-1-1 0 0,1 0 1 0 0,0 0-1 0 0,4 13 1 0 0,-1-9-55 0 0,0-1 0 0 0,1 0 0 0 0,0 0 0 0 0,1 0 1 0 0,0-1-1 0 0,0 1 0 0 0,9 7 0 0 0,-4-5-517 0 0,1-1 0 0 0,1 0-1 0 0,-1 0 1 0 0,21 10 0 0 0,-20-13-883 0 0,-1-2 0 0 0,1 0-1 0 0,0 0 1 0 0,24 6 0 0 0,-19-10-2158 0 0</inkml:trace>
</inkml:ink>
</file>

<file path=ppt/ink/ink7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5.1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18 992 0 0,'0'-1'274'0'0,"1"0"0"0"0,-1 0-1 0 0,1 0 1 0 0,0 0 0 0 0,-1 0 0 0 0,1 0-1 0 0,0 0 1 0 0,-1 0 0 0 0,1 0 0 0 0,0 0-1 0 0,0 1 1 0 0,0-1 0 0 0,0 0-1 0 0,0 1 1 0 0,0-1 0 0 0,0 1 0 0 0,0-1-1 0 0,0 1 1 0 0,0-1 0 0 0,0 1 0 0 0,0 0-1 0 0,2-1 1 0 0,-2 1-130 0 0,0 0 0 0 0,1 1 1 0 0,-1-1-1 0 0,1 0 0 0 0,-1 1 0 0 0,0-1 0 0 0,0 1 0 0 0,1-1 0 0 0,-1 1 0 0 0,0 0 0 0 0,0-1 1 0 0,0 1-1 0 0,0 0 0 0 0,0 0 0 0 0,2 1 0 0 0,2 4 175 0 0,0 0-1 0 0,-1-1 1 0 0,1 2 0 0 0,-1-1 0 0 0,4 8-1 0 0,15 40 1480 0 0,-2 1 0 0 0,-3 0-1 0 0,17 84 1 0 0,-35-138-1707 0 0,0-1-1 0 0,0 1 1 0 0,1-1-1 0 0,-1 1 1 0 0,0-1-1 0 0,0 0 1 0 0,0 1 0 0 0,0 0-1 0 0,0-1 1 0 0,0 1-1 0 0,0-1 1 0 0,0 1-1 0 0,0-1 1 0 0,0 1-1 0 0,0-1 1 0 0,0 1 0 0 0,0-1-1 0 0,0 1 1 0 0,-1-1-1 0 0,1 0 1 0 0,0 1-1 0 0,0-1 1 0 0,0 1 0 0 0,-1-1-1 0 0,1 1 1 0 0,-11-5 434 0 0,-9-19-503 0 0,12 7-67 0 0,1-1 0 0 0,1 0 0 0 0,0-1 0 0 0,-5-35 0 0 0,-2-74-530 0 0,12 94 241 0 0,1 0 1 0 0,1 0 0 0 0,3 1 0 0 0,7-36 0 0 0,-8 54 3 0 0,0 0 1 0 0,1 1 0 0 0,1-1 0 0 0,0 1 0 0 0,1 0-1 0 0,1 1 1 0 0,0-1 0 0 0,0 1 0 0 0,1 1-1 0 0,1-1 1 0 0,19-19 0 0 0,-25 28 97 0 0,1 0-1 0 0,-1 1 0 0 0,1 0 1 0 0,0 0-1 0 0,-1 0 1 0 0,1 0-1 0 0,0 0 1 0 0,0 1-1 0 0,0-1 1 0 0,1 1-1 0 0,-1 0 0 0 0,0 0 1 0 0,7 0-1 0 0,-9 1 42 0 0,-1 0 1 0 0,1 0-1 0 0,0 0 0 0 0,0 1 0 0 0,-1-1 0 0 0,1 0 0 0 0,0 1 0 0 0,0-1 0 0 0,-1 1 0 0 0,1 0 0 0 0,0-1 0 0 0,-1 1 0 0 0,1 0 0 0 0,-1 0 0 0 0,1 0 0 0 0,-1 0 1 0 0,0 0-1 0 0,1 0 0 0 0,-1 1 0 0 0,0-1 0 0 0,0 0 0 0 0,1 1 0 0 0,-1-1 0 0 0,0 1 0 0 0,-1-1 0 0 0,1 1 0 0 0,0-1 0 0 0,0 1 0 0 0,-1 0 0 0 0,1-1 1 0 0,-1 1-1 0 0,1 0 0 0 0,-1-1 0 0 0,1 4 0 0 0,-2 11-2649 0 0</inkml:trace>
</inkml:ink>
</file>

<file path=ppt/ink/ink7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5.6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 126 1184 0 0,'-2'1'1344'0'0,"-10"5"1969"0"0,15-7-2757 0 0,48-21 682 0 0,0 3 0 0 0,69-16 0 0 0,-85 27-916 0 0,1 1 1 0 0,0 2-1 0 0,0 2 1 0 0,56 1 0 0 0,-77 3-191 0 0,1 1 1 0 0,-1 1-1 0 0,0 0 1 0 0,0 1-1 0 0,0 0 0 0 0,0 1 1 0 0,24 13-1 0 0,-33-15-68 0 0,0 1 0 0 0,0 0 1 0 0,0 0-1 0 0,-1 0 0 0 0,0 1 0 0 0,1 0 0 0 0,-1 0 0 0 0,6 9 0 0 0,-9-10-30 0 0,1 0 0 0 0,-1 0 0 0 0,0 0-1 0 0,0 0 1 0 0,-1 0 0 0 0,1 1 0 0 0,-1-1 0 0 0,0 1 0 0 0,0-1 0 0 0,0 1-1 0 0,0 0 1 0 0,-1-1 0 0 0,0 10 0 0 0,-2-5 93 0 0,1 0 0 0 0,-1 0 0 0 0,0-1 1 0 0,-1 1-1 0 0,0-1 0 0 0,-1 1 0 0 0,-8 14 0 0 0,5-15 303 0 0,1-9-63 0 0,6 0-360 0 0,0 1 0 0 0,-1-1 0 0 0,1 1 1 0 0,0-1-1 0 0,0 0 0 0 0,-1 1 1 0 0,1-1-1 0 0,0 0 0 0 0,0 1 0 0 0,0-1 1 0 0,0 0-1 0 0,0 1 0 0 0,0-1 0 0 0,0 0 1 0 0,0 1-1 0 0,0-1 0 0 0,0 0 0 0 0,1 1 1 0 0,-1-1-1 0 0,0 0 0 0 0,0 1 1 0 0,1-1-1 0 0,-1 0 0 0 0,5-7-15 0 0,1 1 1 0 0,-1 0-1 0 0,1 1 0 0 0,1-1 1 0 0,-1 1-1 0 0,9-6 0 0 0,45-30-365 0 0,-54 38 311 0 0,40-24-634 0 0,60-27 0 0 0,-101 53 548 0 0,-4 2 144 0 0,0 0 1 0 0,0-1-1 0 0,0 1 0 0 0,0 0 0 0 0,0 0 0 0 0,0 0 1 0 0,1-1-1 0 0,-1 1 0 0 0,0 0 0 0 0,0 0 1 0 0,0 1-1 0 0,0-1 0 0 0,0 0 0 0 0,0 0 0 0 0,0 0 1 0 0,0 1-1 0 0,0-1 0 0 0,0 1 0 0 0,0-1 0 0 0,0 1 1 0 0,0-1-1 0 0,0 1 0 0 0,0-1 0 0 0,0 1 0 0 0,1 1 1 0 0,-1-1 5 0 0,-1 0 1 0 0,1 0 0 0 0,-1 1 0 0 0,0-1 0 0 0,1 0 0 0 0,-1 0 0 0 0,0 1 0 0 0,0-1 0 0 0,0 0 0 0 0,0 0 0 0 0,0 1 0 0 0,0 1-1 0 0,0 0-11 0 0,0 22-37 0 0,-1-11 219 0 0,1 1 1 0 0,4 27 0 0 0,-3-37-98 0 0,0 0-1 0 0,0 0 1 0 0,1-1-1 0 0,0 1 1 0 0,0 0-1 0 0,0-1 1 0 0,0 1-1 0 0,1-1 1 0 0,-1 0-1 0 0,1 1 1 0 0,0-1 0 0 0,6 4-1 0 0,-5-3 30 0 0,1-1 1 0 0,0 0-1 0 0,0 0 0 0 0,1-1 0 0 0,-1 0 0 0 0,1 0 1 0 0,-1 0-1 0 0,1-1 0 0 0,0 1 0 0 0,0-1 1 0 0,0-1-1 0 0,1 1 0 0 0,-1-1 0 0 0,7 0 0 0 0,-9 0-69 0 0,0-1-1 0 0,0 0 0 0 0,0-1 0 0 0,0 1 0 0 0,0-1 0 0 0,0 1 0 0 0,0-1 0 0 0,0 0 0 0 0,0-1 0 0 0,-1 1 1 0 0,1-1-1 0 0,0 1 0 0 0,-1-1 0 0 0,0 0 0 0 0,1-1 0 0 0,-1 1 0 0 0,0-1 0 0 0,0 1 0 0 0,0-1 1 0 0,0 0-1 0 0,-1 0 0 0 0,1 0 0 0 0,2-5 0 0 0,-1 1-37 0 0,0 0 0 0 0,-1 0 0 0 0,0 0 0 0 0,0-1 0 0 0,-1 0 1 0 0,0 1-1 0 0,0-1 0 0 0,-1 0 0 0 0,0 0 0 0 0,0 0 0 0 0,-1 0 0 0 0,0 1 0 0 0,0-1 0 0 0,-1 0 0 0 0,0 0 0 0 0,-1 0 1 0 0,-2-10-1 0 0,2 12-223 0 0,-1 0 0 0 0,1-1 0 0 0,-1 1 0 0 0,0 0 0 0 0,0 1 0 0 0,-1-1 0 0 0,0 0 0 0 0,0 1 0 0 0,0 0 0 0 0,-1 0 0 0 0,1 0 0 0 0,-1 1 0 0 0,0-1 0 0 0,-1 1 0 0 0,1 0 0 0 0,-1 1 0 0 0,0-1 0 0 0,1 1 0 0 0,-1 1 0 0 0,-1-1 0 0 0,-7-2 0 0 0,-9 1-3659 0 0,-32-3 0 0 0,54 7 3723 0 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9.3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91 1636 0 0,'3'-1'368'0'0,"1"0"142"0"0,0-1-1 0 0,0 1 0 0 0,0 1 0 0 0,1-1 0 0 0,-1 0 0 0 0,0 1 0 0 0,0 0 1 0 0,1 0-1 0 0,-1 0 0 0 0,0 1 0 0 0,7 0 0 0 0,-10 0-402 0 0,1 0-1 0 0,-1 0 1 0 0,0-1-1 0 0,0 1 1 0 0,0 0-1 0 0,1 0 1 0 0,-1 0-1 0 0,0 0 1 0 0,0 0-1 0 0,0 0 1 0 0,0 1-1 0 0,-1-1 1 0 0,1 0-1 0 0,0 0 1 0 0,0 1-1 0 0,-1-1 1 0 0,1 0-1 0 0,-1 1 1 0 0,1 2-1 0 0,7 31 914 0 0,-6-28-774 0 0,4 41-285 0 0,-2-1 0 0 0,-2 53 1 0 0,-2-99-118 0 0,0 0 0 0 0,0 0 1 0 0,0 1-1 0 0,0-1 1 0 0,0 0-1 0 0,-1 0 0 0 0,1 1 1 0 0,0-1-1 0 0,-1 0 0 0 0,1 0 1 0 0,-1 0-1 0 0,1 0 0 0 0,-1 0 1 0 0,0 0-1 0 0,-1 2 1 0 0,2-2 83 0 0,-1-1 1 0 0,1 0 0 0 0,-1 0 0 0 0,1 0-1 0 0,0 1 1 0 0,-1-1 0 0 0,1 0 0 0 0,-1 0-1 0 0,1 0 1 0 0,0 0 0 0 0,-1 0 0 0 0,1 0 0 0 0,-1 0-1 0 0,1 0 1 0 0,-1 0 0 0 0,1 0 0 0 0,-1 0-1 0 0,1 0 1 0 0,0 0 0 0 0,-1 0 0 0 0,1 0-1 0 0,-1 0 1 0 0,1-1 0 0 0,0 1 0 0 0,-1 0-1 0 0,1 0 1 0 0,-1 0 0 0 0,1-1 0 0 0,0 1 0 0 0,-1 0-1 0 0,1-1 1 0 0,0 1 0 0 0,-1 0 0 0 0,1 0-1 0 0,0-1 1 0 0,0 1 0 0 0,-1-1 0 0 0,1 1-1 0 0,0 0 1 0 0,0-1 0 0 0,0 1 0 0 0,-1-1-1 0 0,1 0 1 0 0,-4-6-203 0 0,0-1 1 0 0,1 1-1 0 0,0-1 0 0 0,0 0 0 0 0,1 0 0 0 0,0-1 0 0 0,-2-12 1 0 0,3 11 614 0 0,0-1 0 0 0,1 0 0 0 0,0 1 0 0 0,0-1 1 0 0,1 0-1 0 0,0 1 0 0 0,1-1 0 0 0,0 1 0 0 0,7-19 1 0 0,-9 28-284 0 0,1 0 1 0 0,0 0 0 0 0,-1 0 0 0 0,1 0-1 0 0,0 1 1 0 0,-1-1 0 0 0,1 0-1 0 0,0 0 1 0 0,0 0 0 0 0,0 1 0 0 0,0-1-1 0 0,0 0 1 0 0,0 1 0 0 0,0-1-1 0 0,0 0 1 0 0,0 1 0 0 0,0-1 0 0 0,0 1-1 0 0,0 0 1 0 0,0-1 0 0 0,0 1-1 0 0,0 0 1 0 0,1 0 0 0 0,-1 0 0 0 0,0 0-1 0 0,0 0 1 0 0,0 0 0 0 0,0 0-1 0 0,2 0 1 0 0,31 10 746 0 0,-30-8-646 0 0,35 17 444 0 0,0 1 1 0 0,-2 2-1 0 0,37 28 0 0 0,-20-13-297 0 0,24 11 2886 0 0,-77-47-3123 0 0,0 0-1 0 0,0-1 1 0 0,0 1-1 0 0,0-1 0 0 0,0 1 1 0 0,0-1-1 0 0,0 0 1 0 0,1 1-1 0 0,-1-1 0 0 0,0 0 1 0 0,0 0-1 0 0,0 0 1 0 0,1 0-1 0 0,-1 0 0 0 0,0 0 1 0 0,0 0-1 0 0,0 0 1 0 0,1 0-1 0 0,-1-1 1 0 0,0 1-1 0 0,0 0 0 0 0,0-1 1 0 0,0 1-1 0 0,1-1 1 0 0,-1 1-1 0 0,0-1 0 0 0,0 0 1 0 0,0 1-1 0 0,0-1 1 0 0,-1 0-1 0 0,1 0 0 0 0,0 0 1 0 0,0 0-1 0 0,0 0 1 0 0,1-1-1 0 0,0-2 5 0 0,1 0 1 0 0,-1 0-1 0 0,0 0 0 0 0,0 0 0 0 0,0 0 1 0 0,0-1-1 0 0,1-5 0 0 0,-1-2 47 0 0,0-1 1 0 0,-1 0-1 0 0,0 0 0 0 0,-1 0 0 0 0,0 0 0 0 0,-1 1 0 0 0,-4-22 0 0 0,1 15-272 0 0,-1 0 0 0 0,-1 1 0 0 0,-1-1 1 0 0,-12-23-1 0 0,16 35-798 0 0,-1 1 0 0 0,-1-1 0 0 0,1 1 0 0 0,-1 0 0 0 0,0 0 0 0 0,-6-5 0 0 0,128-8-7981 0 0,5 22 11437 0 0,-115-2-2233 0 0,0 0 1 0 0,1 1-1 0 0,-1-1 0 0 0,0 1 1 0 0,0 1-1 0 0,0-1 0 0 0,-1 1 1 0 0,1 1-1 0 0,-1-1 0 0 0,1 1 0 0 0,-1 0 1 0 0,0 0-1 0 0,-1 1 0 0 0,1 0 1 0 0,-1 0-1 0 0,0 0 0 0 0,0 0 0 0 0,0 1 1 0 0,-1 0-1 0 0,0 0 0 0 0,0 0 1 0 0,5 12-1 0 0,2 9-104 0 0,-2 0 0 0 0,0 0 0 0 0,-2 1 0 0 0,5 41-1 0 0,-3-20-993 0 0,-8-42 74 0 0,2 15-241 0 0</inkml:trace>
</inkml:ink>
</file>

<file path=ppt/ink/ink7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6.1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1336 0 0,'14'0'1586'0'0,"0"1"1"0"0,-1 0-1 0 0,18 3 0 0 0,-25-2-1250 0 0,0 0-1 0 0,0 0 1 0 0,0 0-1 0 0,0 1 1 0 0,0-1 0 0 0,-1 1-1 0 0,1 1 1 0 0,-1-1-1 0 0,9 8 1 0 0,-3 1 139 0 0,0 1 1 0 0,-1-1-1 0 0,0 1 1 0 0,-1 1-1 0 0,0 0 1 0 0,-2 0-1 0 0,11 25 1 0 0,-8-17 392 0 0,-9-20-250 0 0,1-14-333 0 0,1 0-1 0 0,1 0 1 0 0,-1 0-1 0 0,2 1 1 0 0,0 0-1 0 0,7-13 0 0 0,-10 21-298 0 0,0 0 0 0 0,0 0 0 0 0,1 1 0 0 0,-1-1-1 0 0,1 1 1 0 0,-1-1 0 0 0,1 1 0 0 0,0 0 0 0 0,0 0-1 0 0,0 0 1 0 0,0 0 0 0 0,6-1 0 0 0,-7 2 7 0 0,0 1 0 0 0,0-1 0 0 0,1 1 0 0 0,-1 0 0 0 0,0 0-1 0 0,0 0 1 0 0,0 1 0 0 0,0-1 0 0 0,0 0 0 0 0,0 1 0 0 0,1-1 0 0 0,-1 1 0 0 0,0 0 0 0 0,-1 0 0 0 0,1 0 0 0 0,0 0 0 0 0,0 0 0 0 0,0 0 0 0 0,0 0 0 0 0,-1 0 0 0 0,1 1 0 0 0,2 1 0 0 0,0 2-6 0 0,1 1 1 0 0,0-1-1 0 0,-1 1 1 0 0,0-1-1 0 0,-1 1 1 0 0,1 0-1 0 0,-1 0 0 0 0,0 1 1 0 0,3 10-1 0 0,-1 1 168 0 0,0-1 0 0 0,2 24-1 0 0,-7-38 89 0 0,-3 4 433 0 0,1-9-637 0 0,1-1 0 0 0,-1 0 0 0 0,1 0-1 0 0,0 0 1 0 0,0 0 0 0 0,0 0 0 0 0,1 0 0 0 0,-1-1 0 0 0,1 1-1 0 0,-1 0 1 0 0,1 0 0 0 0,0 0 0 0 0,0-1 0 0 0,1 1 0 0 0,-1 0-1 0 0,1 0 1 0 0,-1 0 0 0 0,1-1 0 0 0,2-4 0 0 0,1-3-17 0 0,0-1 0 0 0,1 1 0 0 0,0 0 0 0 0,7-10 0 0 0,-8 15-27 0 0,0 1 1 0 0,1 0-1 0 0,-1 0 0 0 0,1 0 1 0 0,0 0-1 0 0,0 1 0 0 0,1 0 0 0 0,-1 0 1 0 0,1 0-1 0 0,0 1 0 0 0,9-4 1 0 0,-11 6-25 0 0,0 0 1 0 0,0 1-1 0 0,1 0 1 0 0,-1 0-1 0 0,0 0 1 0 0,0 0-1 0 0,0 0 0 0 0,1 1 1 0 0,-1 0-1 0 0,0 0 1 0 0,0 0-1 0 0,0 0 1 0 0,0 1-1 0 0,0-1 1 0 0,-1 1-1 0 0,1 0 1 0 0,0 0-1 0 0,-1 1 0 0 0,1-1 1 0 0,-1 1-1 0 0,4 3 1 0 0,-4-2-200 0 0,0-1 1 0 0,0 1 0 0 0,0 0-1 0 0,-1 0 1 0 0,1 1 0 0 0,-1-1-1 0 0,0 0 1 0 0,0 1 0 0 0,-1-1-1 0 0,1 1 1 0 0,-1-1 0 0 0,0 1-1 0 0,-1 0 1 0 0,1 0 0 0 0,0 6-1 0 0,-2-1-1028 0 0,0-1-1 0 0,0 1 1 0 0,-1-1-1 0 0,0 1 1 0 0,0-1-1 0 0,-8 17 1 0 0,1-5-3339 0 0</inkml:trace>
</inkml:ink>
</file>

<file path=ppt/ink/ink7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6.9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8 7 184 0 0,'-7'-7'6960'0'0,"4"10"-6741"0"0,0-1-1 0 0,1 1 1 0 0,-1 0 0 0 0,1 0-1 0 0,0 0 1 0 0,-1 1 0 0 0,2-1-1 0 0,-1 0 1 0 0,0 1 0 0 0,1-1-1 0 0,-1 1 1 0 0,1 0 0 0 0,0-1-1 0 0,0 1 1 0 0,0 0 0 0 0,1 0-1 0 0,0 0 1 0 0,-1-1 0 0 0,2 7-1 0 0,-2 8 301 0 0,2 0 0 0 0,6 36-1 0 0,36 171 563 0 0,-4-31-5882 0 0,-37-156 360 0 0</inkml:trace>
</inkml:ink>
</file>

<file path=ppt/ink/ink7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7.4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5 161 108 0 0,'-48'-51'6992'0'0,"47"51"-6951"0"0,1-1 0 0 0,-1 1 0 0 0,1 0 0 0 0,-1-1 1 0 0,1 1-1 0 0,0-1 0 0 0,-1 1 0 0 0,1-1 0 0 0,0 1 0 0 0,-1-1 0 0 0,1 1 0 0 0,0-1 1 0 0,0 1-1 0 0,0-1 0 0 0,-1 1 0 0 0,1-1 0 0 0,0 1 0 0 0,0-1 0 0 0,0 0 0 0 0,0 1 1 0 0,0-1-1 0 0,0 1 0 0 0,0-1 0 0 0,0 1 0 0 0,0-1 0 0 0,0 0 0 0 0,0 1 0 0 0,0-1 1 0 0,1 1-1 0 0,-1-1 0 0 0,0 1 0 0 0,0-1 0 0 0,0 1 0 0 0,1-1 0 0 0,-1 1 0 0 0,0-1 1 0 0,1 1-1 0 0,-1-1 0 0 0,1 1 0 0 0,-1 0 0 0 0,0-1 0 0 0,1 1 0 0 0,-1-1 0 0 0,1 1 0 0 0,-1 0 1 0 0,1 0-1 0 0,-1-1 0 0 0,1 1 0 0 0,-1 0 0 0 0,1 0 0 0 0,0-1 0 0 0,29-10 400 0 0,-29 11-386 0 0,280-65 1886 0 0,-262 61-1793 0 0,-11 2-77 0 0,-1 1-1 0 0,1 0 1 0 0,0 0-1 0 0,0 1 1 0 0,-1 0-1 0 0,1 0 1 0 0,0 1-1 0 0,-1 0 1 0 0,1 0-1 0 0,11 4 1 0 0,-14-3 4 0 0,-1 0 1 0 0,1 0-1 0 0,-1 1 0 0 0,1-1 1 0 0,-1 1-1 0 0,0 0 1 0 0,0 0-1 0 0,0 1 0 0 0,-1-1 1 0 0,1 1-1 0 0,-1 0 1 0 0,0 0-1 0 0,0 0 0 0 0,0 0 1 0 0,-1 1-1 0 0,5 8 1 0 0,-1 2 125 0 0,-1 0 0 0 0,0 1 0 0 0,-1 0 0 0 0,4 32 0 0 0,-2 65 3321 0 0,-5-123-3599 0 0,0 0 0 0 0,1-1 0 0 0,1 1 1 0 0,-1 0-1 0 0,2 0 0 0 0,-1 0 0 0 0,1 0 1 0 0,11-18-1 0 0,-3 5-374 0 0,-12 22 428 0 0,1 0-1 0 0,-1 1 1 0 0,1-1-1 0 0,-1 0 0 0 0,1 1 1 0 0,-1-1-1 0 0,1 1 1 0 0,0-1-1 0 0,-1 0 1 0 0,1 1-1 0 0,0 0 0 0 0,-1-1 1 0 0,1 1-1 0 0,0-1 1 0 0,0 1-1 0 0,-1 0 1 0 0,1 0-1 0 0,0-1 0 0 0,0 1 1 0 0,0 0-1 0 0,-1 0 1 0 0,1 0-1 0 0,0 0 1 0 0,0 0-1 0 0,0 0 1 0 0,0 0-1 0 0,-1 0 0 0 0,1 0 1 0 0,0 0-1 0 0,1 1 1 0 0,1 0-14 0 0,1 0 0 0 0,-1 0-1 0 0,0 0 1 0 0,0 1 0 0 0,0-1 0 0 0,5 4 0 0 0,-2-1 6 0 0,12 8 33 0 0,0 0 0 0 0,32 14 0 0 0,-44-23 24 0 0,1-1 0 0 0,0 1 0 0 0,-1-2 0 0 0,1 1 0 0 0,0-1-1 0 0,0 0 1 0 0,0 0 0 0 0,0-1 0 0 0,0 0 0 0 0,0 0 0 0 0,0 0 0 0 0,12-3 0 0 0,-11 0-103 0 0,0 1-1 0 0,-1-1 0 0 0,1 0 1 0 0,0-1-1 0 0,-1 0 0 0 0,0 0 1 0 0,0-1-1 0 0,0 1 0 0 0,0-2 1 0 0,-1 1-1 0 0,10-10 1 0 0,-12 10 16 0 0,1-1 1 0 0,-1 1 0 0 0,0-1 0 0 0,-1 1 0 0 0,1-1 0 0 0,-1 0 0 0 0,-1-1 0 0 0,1 1-1 0 0,-1 0 1 0 0,0-1 0 0 0,0 1 0 0 0,-1-1 0 0 0,0 0 0 0 0,1-12 0 0 0,-2 17 45 0 0,0-1 1 0 0,-1 0-1 0 0,1 1 1 0 0,-1-1 0 0 0,0 0-1 0 0,1 1 1 0 0,-1-1-1 0 0,-2-3 1 0 0,2 5 7 0 0,1 0 0 0 0,-1 0 0 0 0,1 0-1 0 0,-1 0 1 0 0,1 1 0 0 0,-1-1 0 0 0,0 0 0 0 0,1 0 0 0 0,-1 1 0 0 0,0-1 0 0 0,0 0 0 0 0,1 1 0 0 0,-1-1 0 0 0,0 1 0 0 0,0-1-1 0 0,0 1 1 0 0,0-1 0 0 0,0 1 0 0 0,0 0 0 0 0,0-1 0 0 0,0 1 0 0 0,0 0 0 0 0,0 0 0 0 0,0 0 0 0 0,0 0 0 0 0,0 0-1 0 0,0 0 1 0 0,-1 0 0 0 0,0 0 8 0 0,0 1-1 0 0,0 0 0 0 0,0-1 0 0 0,-1 1 1 0 0,1 0-1 0 0,0 0 0 0 0,0 0 0 0 0,0 0 1 0 0,1 1-1 0 0,-1-1 0 0 0,0 0 0 0 0,0 1 1 0 0,1-1-1 0 0,-1 1 0 0 0,1 0 0 0 0,-1-1 1 0 0,1 1-1 0 0,0 0 0 0 0,0 0 0 0 0,-1 0 1 0 0,1 0-1 0 0,1 0 0 0 0,-1 0 0 0 0,0 0 1 0 0,0 1-1 0 0,1-1 0 0 0,0 0 0 0 0,-1 0 1 0 0,1 1-1 0 0,0-1 0 0 0,0 0 0 0 0,0 0 1 0 0,0 3-1 0 0,2 4-61 0 0,0 1 1 0 0,0-1-1 0 0,1 0 1 0 0,0 0-1 0 0,0 0 0 0 0,1-1 1 0 0,0 1-1 0 0,1-1 1 0 0,0 1-1 0 0,0-2 0 0 0,1 1 1 0 0,0-1-1 0 0,0 1 0 0 0,10 7 1 0 0,10 8-1960 0 0,0-1 0 0 0,47 29 0 0 0,-52-38-305 0 0,1-2-405 0 0</inkml:trace>
</inkml:ink>
</file>

<file path=ppt/ink/ink7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8.6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0 64 536 0 0,'2'-9'849'0'0,"-1"6"-662"0"0,0 0 0 0 0,0 0 0 0 0,-1 1 0 0 0,1-1 0 0 0,-1 0 0 0 0,0 0 0 0 0,0 0 0 0 0,0 0-1 0 0,0 0 1 0 0,0 0 0 0 0,-1 1 0 0 0,1-1 0 0 0,-1 0 0 0 0,0 0 0 0 0,-1-3 0 0 0,2 6-148 0 0,-1-1 0 0 0,0 1 1 0 0,1-1-1 0 0,-1 1 0 0 0,0-1 1 0 0,0 1-1 0 0,1-1 1 0 0,-1 1-1 0 0,0 0 0 0 0,0 0 1 0 0,0-1-1 0 0,0 1 0 0 0,1 0 1 0 0,-1 0-1 0 0,0 0 0 0 0,0 0 1 0 0,0 0-1 0 0,0 0 0 0 0,0 0 1 0 0,-1 0-1 0 0,-20 5 468 0 0,18-4-416 0 0,0 1 1 0 0,0 0-1 0 0,0-1 1 0 0,1 1 0 0 0,-1 1-1 0 0,1-1 1 0 0,-1 0 0 0 0,1 1-1 0 0,0 0 1 0 0,0 0 0 0 0,0 0-1 0 0,0 0 1 0 0,-3 5-1 0 0,4-5-23 0 0,1-1 0 0 0,0 0-1 0 0,1 0 1 0 0,-1 1 0 0 0,0-1-1 0 0,1 1 1 0 0,-1-1-1 0 0,1 1 1 0 0,0-1 0 0 0,-1 1-1 0 0,1-1 1 0 0,1 1 0 0 0,-1-1-1 0 0,0 1 1 0 0,0-1-1 0 0,1 0 1 0 0,0 1 0 0 0,-1-1-1 0 0,1 1 1 0 0,0-1 0 0 0,0 0-1 0 0,0 0 1 0 0,1 1 0 0 0,2 3-1 0 0,9 11 90 0 0,2 0-1 0 0,0-1 0 0 0,1 0 1 0 0,33 25-1 0 0,6 6-15 0 0,-37-31-92 0 0,4 5-29 0 0,20 23-1 0 0,-37-39 8 0 0,-1 1-1 0 0,1-1 0 0 0,-2 1 0 0 0,1 0 0 0 0,0 0 1 0 0,-1 1-1 0 0,0-1 0 0 0,-1 0 0 0 0,0 1 0 0 0,3 8 1 0 0,-5-12-7 0 0,0 0 1 0 0,-1 0 0 0 0,1-1 0 0 0,0 1 0 0 0,-1 0 0 0 0,0 0 0 0 0,1-1 0 0 0,-1 1 0 0 0,0-1 0 0 0,0 1 0 0 0,-1-1 0 0 0,1 1 0 0 0,0-1 0 0 0,-1 0-1 0 0,0 1 1 0 0,1-1 0 0 0,-1 0 0 0 0,0 0 0 0 0,0 0 0 0 0,0-1 0 0 0,0 1 0 0 0,0 0 0 0 0,-1-1 0 0 0,1 1 0 0 0,-1-1 0 0 0,-3 2-1 0 0,-1 0-3 0 0,0 1-1 0 0,0-2 1 0 0,0 1-1 0 0,-1-1 0 0 0,1 0 1 0 0,-1 0-1 0 0,1-1 0 0 0,-12 1 1 0 0,11-2-34 0 0,0-1 0 0 0,1 1 1 0 0,-1-1-1 0 0,0-1 0 0 0,1 0 1 0 0,0 0-1 0 0,-1 0 1 0 0,1-1-1 0 0,0 0 0 0 0,0 0 1 0 0,0-1-1 0 0,-6-4 0 0 0,4 1-57 0 0,1 0-1 0 0,0 0 1 0 0,0 0-1 0 0,1-1 1 0 0,0 0-1 0 0,1 0 1 0 0,-12-19-1 0 0,9 11-47 0 0,1-1-1 0 0,1 0 1 0 0,1 0 0 0 0,0 0-1 0 0,1-1 1 0 0,1 0 0 0 0,0 0-1 0 0,1 0 1 0 0,0-31-1 0 0,3 46 187 0 0,7 15 176 0 0,-5-5-182 0 0,-1-1 0 0 0,0 0 1 0 0,-1 1-1 0 0,1-1 0 0 0,-1 1 0 0 0,-1-1 0 0 0,1 0 1 0 0,-2 9-1 0 0,1-4 45 0 0,-7 38-149 0 0,-3-1-1 0 0,-1 0 0 0 0,-26 67 1 0 0,30-93-1642 0 0,-6 30 1 0 0,15-38-722 0 0</inkml:trace>
</inkml:ink>
</file>

<file path=ppt/ink/ink7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9.0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5 7 36 0 0,'0'0'57'0'0,"0"-1"0"0"0,0 1 0 0 0,0 0 0 0 0,0 0 0 0 0,1 0-1 0 0,-1-1 1 0 0,0 1 0 0 0,0 0 0 0 0,0 0 0 0 0,0 0 0 0 0,0-1 0 0 0,0 1 0 0 0,0 0 0 0 0,-1 0 0 0 0,1 0 0 0 0,0-1-1 0 0,0 1 1 0 0,0 0 0 0 0,0 0 0 0 0,0 0 0 0 0,0-1 0 0 0,0 1 0 0 0,0 0 0 0 0,0 0 0 0 0,-1 0 0 0 0,1 0-1 0 0,0 0 1 0 0,0-1 0 0 0,0 1 0 0 0,0 0 0 0 0,0 0 0 0 0,-1 0 0 0 0,1 0 0 0 0,0 0 0 0 0,0 0 0 0 0,0 0 0 0 0,-1-1-1 0 0,1 1 1 0 0,0 0 0 0 0,0 0 0 0 0,0 0 0 0 0,-1 0 0 0 0,1 0 0 0 0,0 0 0 0 0,0 0 0 0 0,0 0 0 0 0,-1 0 0 0 0,1 0-1 0 0,0 0 1 0 0,0 0 0 0 0,0 0 0 0 0,-1 0 0 0 0,1 1 0 0 0,-19 5 1107 0 0,-18 16-63 0 0,25-14-808 0 0,1 1-1 0 0,0 1 1 0 0,0-1-1 0 0,0 2 0 0 0,2-1 1 0 0,-1 1-1 0 0,-11 19 0 0 0,19-27-241 0 0,0 1 0 0 0,0-1 0 0 0,0 0 0 0 0,1 1 0 0 0,-1-1 0 0 0,1 1-1 0 0,0-1 1 0 0,0 1 0 0 0,0 0 0 0 0,1 0 0 0 0,-1-1 0 0 0,1 1 0 0 0,0 0 0 0 0,0 0-1 0 0,0-1 1 0 0,1 1 0 0 0,-1 0 0 0 0,1 0 0 0 0,0-1 0 0 0,0 1 0 0 0,0-1-1 0 0,0 1 1 0 0,1-1 0 0 0,0 1 0 0 0,-1-1 0 0 0,1 0 0 0 0,0 1 0 0 0,1-1 0 0 0,-1 0-1 0 0,0-1 1 0 0,1 1 0 0 0,0 0 0 0 0,5 4 0 0 0,-5-4-30 0 0,1-1 1 0 0,-1 1-1 0 0,1-1 1 0 0,-1 0-1 0 0,1 0 1 0 0,0 0-1 0 0,0 0 1 0 0,0 0-1 0 0,0-1 1 0 0,0 0-1 0 0,0 0 1 0 0,0 0-1 0 0,0 0 1 0 0,1-1-1 0 0,-1 1 1 0 0,0-1-1 0 0,0 0 1 0 0,1-1-1 0 0,-1 1 1 0 0,0-1-1 0 0,0 0 1 0 0,5-1-1 0 0,-1-1-30 0 0,-1 0 0 0 0,1-1 0 0 0,-1 0 0 0 0,0 0 0 0 0,0-1 0 0 0,-1 0 0 0 0,1 0 0 0 0,-1-1 0 0 0,0 0 0 0 0,8-9 0 0 0,56-79 1691 0 0,-69 92-1600 0 0,8 0 110 0 0,-6 3 12 0 0,-3 9-102 0 0,0-7-104 0 0,3 90 491 0 0,-1-44-1305 0 0,-6 92-1 0 0,2-88-1936 0 0,1-50 1988 0 0,9-19-4267 0 0</inkml:trace>
</inkml:ink>
</file>

<file path=ppt/ink/ink7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9.5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8 164 0 0,'4'-3'441'0'0,"23"-15"2041"0"0,-26 17-2313 0 0,0 0 1 0 0,1 0-1 0 0,-1 1 0 0 0,1-1 0 0 0,0 0 0 0 0,-1 1 0 0 0,1 0 1 0 0,-1-1-1 0 0,1 1 0 0 0,0 0 0 0 0,-1 0 0 0 0,1 0 1 0 0,0 0-1 0 0,-1 0 0 0 0,1 0 0 0 0,-1 0 0 0 0,4 2 1 0 0,-1-1 72 0 0,0 2 0 0 0,1-1 1 0 0,-1 0-1 0 0,0 1 0 0 0,-1 0 1 0 0,1 0-1 0 0,0 0 1 0 0,-1 0-1 0 0,0 1 0 0 0,1-1 1 0 0,-1 1-1 0 0,3 5 1 0 0,-2-1 96 0 0,1 1 1 0 0,-1-1 0 0 0,-1 0 0 0 0,0 1 0 0 0,4 17 0 0 0,-2 3 637 0 0,-2 1 1 0 0,0 56-1 0 0,-3-86-975 0 0,2 18 1141 0 0,-2-15-576 0 0,-5 4 915 0 0,4-9-1492 0 0,-1-1 1 0 0,1 1-1 0 0,0-1 0 0 0,1 0 1 0 0,-1 1-1 0 0,0-1 0 0 0,1 0 1 0 0,-1 0-1 0 0,1 0 1 0 0,0 1-1 0 0,0-1 0 0 0,0 0 1 0 0,1 0-1 0 0,-1 0 0 0 0,0 1 1 0 0,3-6-1 0 0,-1-1-152 0 0,1 1 0 0 0,0-1 0 0 0,0 1-1 0 0,8-13 1 0 0,-9 18 124 0 0,-1 0 1 0 0,2 0-1 0 0,-1-1 0 0 0,0 2 0 0 0,0-1 1 0 0,1 0-1 0 0,0 0 0 0 0,0 1 0 0 0,-1-1 1 0 0,1 1-1 0 0,1 0 0 0 0,-1 0 0 0 0,0 0 0 0 0,0 0 1 0 0,1 1-1 0 0,-1-1 0 0 0,1 1 0 0 0,-1 0 1 0 0,1 0-1 0 0,0 0 0 0 0,-1 1 0 0 0,1-1 1 0 0,0 1-1 0 0,0 0 0 0 0,6 0 0 0 0,-5 1 22 0 0,0 0-1 0 0,0 1 1 0 0,0-1-1 0 0,-1 1 1 0 0,1 0-1 0 0,0 0 1 0 0,-1 0 0 0 0,0 1-1 0 0,1 0 1 0 0,-1 0-1 0 0,0 0 1 0 0,-1 0-1 0 0,1 0 1 0 0,0 1-1 0 0,-1 0 1 0 0,0 0-1 0 0,0 0 1 0 0,4 7-1 0 0,-2-4 118 0 0,-2 0 0 0 0,1 0 0 0 0,-1 0 0 0 0,0 0 0 0 0,0 0 0 0 0,-1 1-1 0 0,0-1 1 0 0,-1 1 0 0 0,1 0 0 0 0,-1-1 0 0 0,-1 1 0 0 0,0 0 0 0 0,0 0 0 0 0,0 0-1 0 0,-1-1 1 0 0,-3 16 0 0 0,3-21 609 0 0,-1-3-570 0 0,1 1-129 0 0,0-1 0 0 0,0 1-1 0 0,1-1 1 0 0,-1 1 0 0 0,0-1-1 0 0,0 1 1 0 0,1-1 0 0 0,-1 0-1 0 0,1 1 1 0 0,-1-1 0 0 0,0 0 0 0 0,1 0-1 0 0,-1 1 1 0 0,1-1 0 0 0,0 0-1 0 0,-1 0 1 0 0,1 0 0 0 0,0 1-1 0 0,-1-1 1 0 0,1 0 0 0 0,0 0-1 0 0,0 0 1 0 0,0 0 0 0 0,-1-1 0 0 0,1-2 3 0 0,0 0 1 0 0,1 0 0 0 0,-1 0 0 0 0,1 0 0 0 0,-1 0 0 0 0,2-4 0 0 0,2-2-21 0 0,-1-1 0 0 0,2 1 0 0 0,-1 1 0 0 0,7-11 0 0 0,-10 18-3 0 0,1-1-1 0 0,-1 0 1 0 0,1 1 0 0 0,-1-1-1 0 0,1 1 1 0 0,0 0-1 0 0,0 0 1 0 0,0 0 0 0 0,1 0-1 0 0,-1 0 1 0 0,0 0-1 0 0,1 0 1 0 0,-1 1-1 0 0,1-1 1 0 0,-1 1 0 0 0,1 0-1 0 0,0 0 1 0 0,0 0-1 0 0,0 0 1 0 0,-1 0-1 0 0,7 0 1 0 0,-7 1 7 0 0,-1 0 0 0 0,1 0-1 0 0,-1 1 1 0 0,1-1 0 0 0,0 0 0 0 0,-1 1-1 0 0,1 0 1 0 0,-1-1 0 0 0,1 1 0 0 0,-1 0-1 0 0,0-1 1 0 0,1 1 0 0 0,-1 0 0 0 0,0 0-1 0 0,0 0 1 0 0,1 0 0 0 0,-1 0 0 0 0,1 2-1 0 0,14 22-25 0 0,-11-12-454 0 0,-2 1-1 0 0,0-1 1 0 0,0 1 0 0 0,-1 0 0 0 0,-1-1 0 0 0,0 21 0 0 0,-8 41-6312 0 0,7-61 1559 0 0</inkml:trace>
</inkml:ink>
</file>

<file path=ppt/ink/ink7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09.9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2 155 152 0 0,'0'0'7105'0'0,"12"-11"-5223"0"0,11-11-800 0 0,-12 11-741 0 0,0 0 1 0 0,9-13-1 0 0,-17 21-291 0 0,-1-1 0 0 0,1 1-1 0 0,-1-1 1 0 0,0 0 0 0 0,-1 1 0 0 0,1-1-1 0 0,-1 0 1 0 0,0 0 0 0 0,1 0 0 0 0,-2 0-1 0 0,1 0 1 0 0,0-7 0 0 0,-1 10-44 0 0,0 0 0 0 0,0 1 0 0 0,0-1 1 0 0,0 0-1 0 0,0 0 0 0 0,-1 0 0 0 0,1 0 0 0 0,0 1 1 0 0,0-1-1 0 0,-1 0 0 0 0,1 0 0 0 0,-1 1 0 0 0,1-1 1 0 0,-1 0-1 0 0,1 1 0 0 0,-1-1 0 0 0,1 0 0 0 0,-1 1 1 0 0,1-1-1 0 0,-1 1 0 0 0,0-1 0 0 0,1 1 0 0 0,-1-1 1 0 0,0 1-1 0 0,1-1 0 0 0,-1 1 0 0 0,0 0 1 0 0,0-1-1 0 0,0 1 0 0 0,1 0 0 0 0,-1 0 0 0 0,0 0 1 0 0,0 0-1 0 0,-1-1 0 0 0,-28 3 171 0 0,23 0-90 0 0,0 0 0 0 0,0 1 1 0 0,1 0-1 0 0,-1 0 0 0 0,1 0 1 0 0,-1 1-1 0 0,1 0 0 0 0,0 0 1 0 0,0 1-1 0 0,1 0 0 0 0,-1 0 1 0 0,1 0-1 0 0,0 0 0 0 0,0 1 1 0 0,1 0-1 0 0,0 0 0 0 0,0 0 1 0 0,-5 10-1 0 0,6-10-9 0 0,0 0 1 0 0,1 0-1 0 0,0 0 1 0 0,0 0-1 0 0,0 1 0 0 0,1-1 1 0 0,-1 0-1 0 0,2 1 0 0 0,-1-1 1 0 0,1 1-1 0 0,0-1 0 0 0,0 1 1 0 0,1-1-1 0 0,-1 1 1 0 0,2-1-1 0 0,-1 0 0 0 0,1 1 1 0 0,0-1-1 0 0,0 0 0 0 0,6 11 1 0 0,1-4-58 0 0,0-1-1 0 0,1 0 1 0 0,0 0 0 0 0,1-1 0 0 0,0 0 0 0 0,1-1 0 0 0,0 0 0 0 0,1-1-1 0 0,19 11 1 0 0,-16-11-667 0 0,0-1 1 0 0,1-1-1 0 0,0 0 0 0 0,0-1 0 0 0,1-1 0 0 0,0-1 0 0 0,31 4 0 0 0,-5-8-3805 0 0,-20-1 674 0 0</inkml:trace>
</inkml:ink>
</file>

<file path=ppt/ink/ink7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10.4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7 50 1132 0 0,'-11'1'469'0'0,"0"1"1"0"0,0 1-1 0 0,0 0 1 0 0,1 1-1 0 0,-1 0 0 0 0,1 0 1 0 0,0 1-1 0 0,0 0 0 0 0,0 1 1 0 0,1 0-1 0 0,0 1 0 0 0,0 0 1 0 0,1 0-1 0 0,-1 1 0 0 0,2 0 1 0 0,-1 0-1 0 0,1 1 0 0 0,-7 11 1 0 0,10-14-393 0 0,0 0 1 0 0,1 0-1 0 0,-1 1 1 0 0,1-1-1 0 0,1 1 1 0 0,-1 0-1 0 0,1 0 1 0 0,0 0-1 0 0,0 0 1 0 0,1 0-1 0 0,0 1 1 0 0,1-1-1 0 0,-1 0 1 0 0,1 0-1 0 0,1 1 1 0 0,-1-1-1 0 0,1 0 1 0 0,1 0-1 0 0,-1 1 1 0 0,1-1-1 0 0,1 0 1 0 0,-1-1-1 0 0,1 1 1 0 0,0 0-1 0 0,0-1 1 0 0,1 1-1 0 0,0-1 1 0 0,7 8-1 0 0,-3-5-64 0 0,0 0 1 0 0,0-1-1 0 0,1 0 0 0 0,1 0 0 0 0,-1-1 0 0 0,1-1 1 0 0,0 1-1 0 0,1-1 0 0 0,-1-1 0 0 0,1 0 1 0 0,1-1-1 0 0,-1 0 0 0 0,0 0 0 0 0,1-2 0 0 0,19 4 1 0 0,-21-5-116 0 0,0-1 0 0 0,0 0 1 0 0,-1 0-1 0 0,1-1 0 0 0,0 0 1 0 0,0-1-1 0 0,-1 0 0 0 0,1-1 0 0 0,-1 0 1 0 0,1 0-1 0 0,-1-1 0 0 0,0 0 1 0 0,0 0-1 0 0,-1-1 0 0 0,1-1 1 0 0,-1 1-1 0 0,0-1 0 0 0,-1 0 1 0 0,9-10-1 0 0,-2 0-145 0 0,0-1 1 0 0,-1 0-1 0 0,-1-1 1 0 0,-1-1-1 0 0,11-23 1 0 0,37-104 781 0 0,-18 38 1920 0 0,-30 92-2003 0 0,-11 16-431 0 0,1 0 0 0 0,-1-1 1 0 0,0 1-1 0 0,0 0 0 0 0,1 0 0 0 0,-1 0 1 0 0,0 0-1 0 0,1 0 0 0 0,-1 0 0 0 0,0 0 0 0 0,1 0 1 0 0,-1 0-1 0 0,1-1 0 0 0,-1 1 0 0 0,0 1 0 0 0,1-1 1 0 0,-1 0-1 0 0,0 0 0 0 0,1 0 0 0 0,-1 0 0 0 0,0 0 1 0 0,1 0-1 0 0,-1 0 0 0 0,0 0 0 0 0,1 0 0 0 0,-1 1 1 0 0,1-1-1 0 0,0 2 32 0 0,0-1 0 0 0,1 1 0 0 0,-1-1 0 0 0,0 1 0 0 0,0 0 1 0 0,0-1-1 0 0,0 1 0 0 0,0 0 0 0 0,0 0 0 0 0,0 0 0 0 0,0 2 0 0 0,12 45 298 0 0,-3-1 0 0 0,5 61-1 0 0,-11-77-275 0 0,3 31 50 0 0,-4-27-1302 0 0,2-1 0 0 0,14 56 0 0 0,-19-90 1036 0 0,11 25-1321 0 0,-11-25 1219 0 0,1 0 1 0 0,-1 0 0 0 0,1 1-1 0 0,0-1 1 0 0,0 0 0 0 0,0 0 0 0 0,0 0-1 0 0,0 0 1 0 0,0 0 0 0 0,0-1 0 0 0,0 1-1 0 0,0 0 1 0 0,0 0 0 0 0,0-1 0 0 0,1 1-1 0 0,-1-1 1 0 0,0 1 0 0 0,0-1 0 0 0,1 1-1 0 0,1-1 1 0 0,15 2-2053 0 0</inkml:trace>
</inkml:ink>
</file>

<file path=ppt/ink/ink7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11.2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5 58 1176 0 0,'8'-30'3287'0'0,"-8"29"-3165"0"0,1 0-1 0 0,-1 0 1 0 0,0 0-1 0 0,0 0 1 0 0,0 0 0 0 0,0 0-1 0 0,-1 0 1 0 0,1 0-1 0 0,0 0 1 0 0,0 0 0 0 0,-1 0-1 0 0,1 0 1 0 0,0 0-1 0 0,-1 0 1 0 0,1 0 0 0 0,-1 0-1 0 0,1 0 1 0 0,-1 1-1 0 0,1-1 1 0 0,-1 0 0 0 0,0 0-1 0 0,0 1 1 0 0,0-2-1 0 0,0 2-57 0 0,0-1 0 0 0,0 1 0 0 0,0 0 0 0 0,0 0 0 0 0,0 0 0 0 0,0 0-1 0 0,0 0 1 0 0,0 0 0 0 0,0 0 0 0 0,0 0 0 0 0,0 0 0 0 0,0 0 0 0 0,0 1 0 0 0,0-1 0 0 0,0 0-1 0 0,0 1 1 0 0,1-1 0 0 0,-2 1 0 0 0,0 0 104 0 0,-5 1 15 0 0,-1 1 0 0 0,1 0 0 0 0,0 1 0 0 0,0 0 0 0 0,0 0 0 0 0,1 0 0 0 0,-1 1-1 0 0,1 0 1 0 0,0 0 0 0 0,1 0 0 0 0,-1 1 0 0 0,-7 9 0 0 0,5-3-46 0 0,0 0-1 0 0,0 0 1 0 0,1 1 0 0 0,0 0-1 0 0,-8 24 1 0 0,13-30-94 0 0,0-1-1 0 0,1 0 0 0 0,0 1 1 0 0,0-1-1 0 0,0 1 1 0 0,1 10-1 0 0,0-15-32 0 0,0 0 0 0 0,0 0 1 0 0,0-1-1 0 0,0 1 0 0 0,1 0 0 0 0,-1 0 1 0 0,1 0-1 0 0,0 0 0 0 0,-1-1 0 0 0,1 1 0 0 0,0 0 1 0 0,0-1-1 0 0,0 1 0 0 0,0 0 0 0 0,0-1 1 0 0,0 1-1 0 0,1-1 0 0 0,-1 0 0 0 0,0 1 0 0 0,1-1 1 0 0,-1 0-1 0 0,1 0 0 0 0,-1 0 0 0 0,1 0 1 0 0,0 0-1 0 0,-1 0 0 0 0,1 0 0 0 0,2 0 0 0 0,0 0-48 0 0,-1 0 0 0 0,0-1 0 0 0,0 0 0 0 0,0 1 0 0 0,0-1 0 0 0,1 0-1 0 0,-1 0 1 0 0,0-1 0 0 0,0 1 0 0 0,0-1 0 0 0,1 0 0 0 0,-1 1-1 0 0,0-1 1 0 0,4-3 0 0 0,-1 2-60 0 0,-1-2 0 0 0,0 1-1 0 0,-1 0 1 0 0,1-1 0 0 0,0 0-1 0 0,-1 0 1 0 0,6-7 0 0 0,4-8-100 0 0,-1-1-1 0 0,0 0 1 0 0,11-26-1 0 0,-8 16 553 0 0,-15 28 100 0 0,-3 6-322 0 0,0 1-1 0 0,0 0 0 0 0,1-1 1 0 0,-1 1-1 0 0,1 0 0 0 0,0 0 0 0 0,0 0 1 0 0,1 0-1 0 0,0 0 0 0 0,0 0 1 0 0,0 0-1 0 0,1 6 0 0 0,0 1 58 0 0,2 0-1 0 0,-1 1 1 0 0,2-1-1 0 0,0 0 1 0 0,0-1 0 0 0,1 1-1 0 0,0-1 1 0 0,1 0-1 0 0,10 15 1 0 0,-12-20-129 0 0,1 0 0 0 0,-1-1 0 0 0,1 0-1 0 0,0 1 1 0 0,0-2 0 0 0,1 1 0 0 0,0-1 0 0 0,-1 1 0 0 0,1-2 0 0 0,1 1 0 0 0,-1-1 0 0 0,1 1-1 0 0,-1-2 1 0 0,1 1 0 0 0,0-1 0 0 0,0 0 0 0 0,9 1 0 0 0,-11-3-44 0 0,1 0 0 0 0,-1 0 1 0 0,0 0-1 0 0,0-1 0 0 0,0 0 0 0 0,0 0 1 0 0,0 0-1 0 0,-1-1 0 0 0,1 0 1 0 0,0 1-1 0 0,-1-2 0 0 0,1 1 0 0 0,-1 0 1 0 0,1-1-1 0 0,-1 0 0 0 0,0 0 1 0 0,0 0-1 0 0,-1-1 0 0 0,5-4 0 0 0,0-1-3 0 0,-1 1-1 0 0,0-1 1 0 0,-1 0-1 0 0,0-1 0 0 0,-1 1 1 0 0,1-1-1 0 0,4-15 0 0 0,0-10 33 0 0,11-57-1 0 0,-9 32-18 0 0,-3 11-339 0 0,-9 47 265 0 0,5 16-138 0 0,6 11 182 0 0,0 0 0 0 0,2 0 0 0 0,1-2-1 0 0,20 28 1 0 0,-17-27 13 0 0,-1 2 0 0 0,-1 0 0 0 0,18 41 0 0 0,-31-64 18 0 0,-1 1 1 0 0,0 0-1 0 0,0-1 0 0 0,0 1 0 0 0,0 0 0 0 0,-1 0 1 0 0,1 0-1 0 0,-1 0 0 0 0,0-1 0 0 0,0 1 1 0 0,-1 0-1 0 0,1 0 0 0 0,-1 0 0 0 0,0 0 0 0 0,0-1 1 0 0,0 1-1 0 0,0 0 0 0 0,0-1 0 0 0,-1 1 1 0 0,0-1-1 0 0,0 1 0 0 0,0-1 0 0 0,0 0 0 0 0,0 0 1 0 0,-1 0-1 0 0,1 0 0 0 0,-1 0 0 0 0,0-1 0 0 0,0 1 1 0 0,0-1-1 0 0,0 1 0 0 0,0-1 0 0 0,-1 0 1 0 0,1-1-1 0 0,-1 1 0 0 0,1 0 0 0 0,-1-1 0 0 0,1 0 1 0 0,-7 1-1 0 0,8-1-5 0 0,0-1 0 0 0,0 1-1 0 0,0-1 1 0 0,0 0 0 0 0,0 0 0 0 0,1 1 0 0 0,-1-2 0 0 0,0 1 0 0 0,0 0-1 0 0,0 0 1 0 0,0 0 0 0 0,-2-2 0 0 0,3 2-21 0 0,0 0 1 0 0,0-1-1 0 0,0 1 0 0 0,1-1 1 0 0,-1 1-1 0 0,0-1 0 0 0,0 0 1 0 0,1 1-1 0 0,-1-1 1 0 0,0 0-1 0 0,1 1 0 0 0,-1-1 1 0 0,1 0-1 0 0,-1 0 0 0 0,1 0 1 0 0,-1 1-1 0 0,1-1 0 0 0,-1-1 1 0 0,1 0-20 0 0,-1-1 0 0 0,1 1 0 0 0,0 0 0 0 0,0 0 1 0 0,0 0-1 0 0,0-1 0 0 0,0 1 0 0 0,0 0 0 0 0,1 0 0 0 0,-1-1 1 0 0,1 1-1 0 0,0 0 0 0 0,-1 0 0 0 0,1 0 0 0 0,0 0 0 0 0,2-3 1 0 0,62-90-1647 0 0,-45 68 1137 0 0,0 0-1 0 0,-3-1 1 0 0,20-39 0 0 0,-33 58 474 0 0,-1 1 1 0 0,0-1 0 0 0,0 1-1 0 0,-1-1 1 0 0,0 0 0 0 0,1-11 0 0 0,-3 18 19 0 0,0 5 43 0 0,1 0 29 0 0,0 0-1 0 0,0 1 1 0 0,0-1 0 0 0,0 0-1 0 0,0 0 1 0 0,2 3 0 0 0,7 14 222 0 0,1-1 0 0 0,0-1 1 0 0,27 32-1 0 0,-25-34-23 0 0,-1 0 1 0 0,-1 1-1 0 0,0 0 0 0 0,13 28 0 0 0,-24-43-216 0 0,1 0 0 0 0,0 0 0 0 0,-1 0 0 0 0,1 0-1 0 0,-1 0 1 0 0,0 0 0 0 0,1-1 0 0 0,-1 1-1 0 0,0 0 1 0 0,0 0 0 0 0,-1 0 0 0 0,1 0 0 0 0,0 0-1 0 0,0 0 1 0 0,-1 0 0 0 0,1 0 0 0 0,-1 0 0 0 0,0-1-1 0 0,0 1 1 0 0,-1 3 0 0 0,0-2-48 0 0,-1 0 1 0 0,0 0 0 0 0,1 0-1 0 0,-1-1 1 0 0,0 1-1 0 0,0-1 1 0 0,0 1-1 0 0,-1-1 1 0 0,-5 3-1 0 0,-6 2-980 0 0,-1-1-1 0 0,0 0 1 0 0,-27 5-1 0 0,43-11 995 0 0,-48 8-5127 0 0,26-4 1188 0 0</inkml:trace>
</inkml:ink>
</file>

<file path=ppt/ink/ink7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37.5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0 20 0 0,'0'0'1519'0'0,"0"0"-1398"0"0,-1 1-1 0 0,1-1 1 0 0,-1 0 0 0 0,1 0 0 0 0,-1 0 0 0 0,1 1 0 0 0,0-1-1 0 0,-1 0 1 0 0,1 1 0 0 0,-1-1 0 0 0,1 0 0 0 0,0 1 0 0 0,-1-1 0 0 0,1 1-1 0 0,0-1 1 0 0,0 0 0 0 0,-1 1 0 0 0,1-1 0 0 0,0 1 0 0 0,0 0-1 0 0,3 10 386 0 0,0 0 0 0 0,2 0 0 0 0,-1-1-1 0 0,1 1 1 0 0,1-1 0 0 0,8 12-1 0 0,17 34 275 0 0,17 68 64 0 0,-43-106-529 0 0,0 0-1 0 0,-1 1 1 0 0,-1 0-1 0 0,2 36 1 0 0,-5-53-219 0 0,0 0 1 0 0,0 0-1 0 0,0 0 0 0 0,0 0 0 0 0,-1 0 1 0 0,1 0-1 0 0,-1 0 0 0 0,1 0 0 0 0,-1-1 1 0 0,0 1-1 0 0,1 0 0 0 0,-1 0 0 0 0,0-1 1 0 0,0 1-1 0 0,0 0 0 0 0,-1-1 0 0 0,1 1 1 0 0,0-1-1 0 0,-1 0 0 0 0,1 1 0 0 0,-1-1 1 0 0,1 0-1 0 0,-1 0 0 0 0,1 0 0 0 0,-1 0 1 0 0,0 0-1 0 0,1 0 0 0 0,-1 0 0 0 0,0-1 1 0 0,-3 2-1 0 0,2-2-4 0 0,0 1 0 0 0,0-1 0 0 0,0 0 0 0 0,0 0 0 0 0,0 0 0 0 0,0 0 0 0 0,0 0 0 0 0,1-1 0 0 0,-1 1 0 0 0,0-1 0 0 0,0 0 0 0 0,0 0 0 0 0,1 0 0 0 0,-1 0 0 0 0,0 0 0 0 0,1 0 0 0 0,-1-1 0 0 0,1 1 0 0 0,-3-3 0 0 0,0-1 0 0 0,1 1 0 0 0,0 0 0 0 0,0-1 1 0 0,0 0-1 0 0,1 0 0 0 0,0 0 0 0 0,0 0 0 0 0,0 0 1 0 0,0-1-1 0 0,1 1 0 0 0,0-1 0 0 0,0 0 1 0 0,1 0-1 0 0,-2-8 0 0 0,2 5-38 0 0,1-1 1 0 0,0 1-1 0 0,0 0 0 0 0,1-1 1 0 0,0 1-1 0 0,1 0 0 0 0,0 0 1 0 0,5-16-1 0 0,-1 11-58 0 0,0-1 0 0 0,1 1-1 0 0,1 0 1 0 0,0 0 0 0 0,0 1 0 0 0,2 0 0 0 0,0 1-1 0 0,0 0 1 0 0,1 1 0 0 0,22-19 0 0 0,-24 24-368 0 0,1 0 0 0 0,-1 0 0 0 0,1 1-1 0 0,1 0 1 0 0,-1 1 0 0 0,1 0 0 0 0,-1 1 0 0 0,18-3 0 0 0,-15 4-1101 0 0,1 0 1 0 0,-1 1-1 0 0,0 1 1 0 0,1 0-1 0 0,-1 1 1 0 0,20 4-1 0 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29.7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75 16 0 0,'0'-3'1401'0'0,"1"-1"-923"0"0,0-1 0 0 0,0 1-1 0 0,0 0 1 0 0,0-1 0 0 0,1 1-1 0 0,-1 0 1 0 0,6-7 1096 0 0,-4 11-964 0 0,0 1-449 0 0,0 0 0 0 0,0 0-1 0 0,0 0 1 0 0,0 1 0 0 0,0-1-1 0 0,0 1 1 0 0,-1-1 0 0 0,1 1-1 0 0,-1 0 1 0 0,1 0 0 0 0,-1 0-1 0 0,0 1 1 0 0,1-1 0 0 0,1 4 0 0 0,42 47 2174 0 0,64 58 1 0 0,-108-110-2138 0 0,0 0 1 0 0,0 0 0 0 0,0-1-1 0 0,0 1 1 0 0,0 0 0 0 0,0-1-1 0 0,1 1 1 0 0,-1-1 0 0 0,0 0-1 0 0,0 1 1 0 0,0-1 0 0 0,1 0-1 0 0,-1 0 1 0 0,0-1 0 0 0,4 0-1 0 0,-4 1-267 0 0,0 0 169 0 0,0-1 0 0 0,0 1 0 0 0,-1-1-1 0 0,1 0 1 0 0,0 1 0 0 0,-1-1 0 0 0,1 0-1 0 0,0 0 1 0 0,-1 0 0 0 0,1 0 0 0 0,-1 0-1 0 0,1-1 1 0 0,-1 1 0 0 0,0 0 0 0 0,1-1-1 0 0,-1 1 1 0 0,0-1 0 0 0,0 1 0 0 0,1-4-1 0 0,13-30 835 0 0,2-46 353 0 0,13-159 0 0 0,-26 191-4742 0 0</inkml:trace>
</inkml:ink>
</file>

<file path=ppt/ink/ink7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37.9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9 1288 0 0,'0'0'1430'0'0,"3"1"-644"0"0,8 2 2778 0 0,-8-2-2997 0 0,8 2 1020 0 0,-7-3-1317 0 0,11-1 25 0 0,0-1 0 0 0,1 0 0 0 0,-1-1 1 0 0,23-7-1 0 0,-27 7-200 0 0,-1-1 0 0 0,1 0 0 0 0,-1 0 0 0 0,0-1 0 0 0,0-1 0 0 0,0 0 0 0 0,11-9 0 0 0,-19 13-64 0 0,0 0 0 0 0,0 0-1 0 0,0-1 1 0 0,0 1 0 0 0,0 0-1 0 0,0-1 1 0 0,2-4 0 0 0,-4 6-26 0 0,0 0 0 0 0,1 1 1 0 0,-1-1-1 0 0,0 0 1 0 0,0 0-1 0 0,0 0 1 0 0,0 0-1 0 0,1 0 0 0 0,-1 1 1 0 0,0-1-1 0 0,-1 0 1 0 0,1 0-1 0 0,0 0 0 0 0,0 0 1 0 0,0 0-1 0 0,0 1 1 0 0,-1-1-1 0 0,1 0 0 0 0,0 0 1 0 0,-1 0-1 0 0,1 1 1 0 0,-1-1-1 0 0,1 0 0 0 0,-1 0 1 0 0,1 1-1 0 0,-1-1 1 0 0,1 0-1 0 0,-2 0 0 0 0,1 0 10 0 0,0 1 0 0 0,-1-1 1 0 0,1 0-1 0 0,0 1 0 0 0,0 0 0 0 0,-1-1 0 0 0,1 1 0 0 0,0 0 0 0 0,0-1 0 0 0,-1 1 0 0 0,1 0 0 0 0,0 0 0 0 0,-1 0 0 0 0,1 0 0 0 0,0 1 0 0 0,-1-1 0 0 0,1 0 0 0 0,-2 1 0 0 0,-23 8 287 0 0,26-9-291 0 0,-10 5 157 0 0,0 0-1 0 0,1 1 1 0 0,0 0-1 0 0,0 1 1 0 0,0 0-1 0 0,1 0 1 0 0,0 1-1 0 0,1 0 1 0 0,-1 0-1 0 0,2 1 1 0 0,-9 12-1 0 0,8-10-21 0 0,1 0 0 0 0,0 0-1 0 0,1 0 1 0 0,0 1-1 0 0,1 0 1 0 0,0 0 0 0 0,1 0-1 0 0,0 0 1 0 0,-1 22-1 0 0,4-26-135 0 0,0 1-1 0 0,1-1 1 0 0,0 0-1 0 0,1 1 0 0 0,-1-1 1 0 0,2 0-1 0 0,-1 0 0 0 0,1 0 1 0 0,1 0-1 0 0,-1 0 0 0 0,1-1 1 0 0,0 0-1 0 0,1 0 1 0 0,0 0-1 0 0,0 0 0 0 0,1-1 1 0 0,-1 1-1 0 0,1-1 0 0 0,12 8 1 0 0,-9-7-419 0 0,0-1 1 0 0,0 0-1 0 0,1 0 1 0 0,-1-1-1 0 0,2 0 1 0 0,14 4-1 0 0,-16-6-473 0 0,0-1-1 0 0,0 0 1 0 0,1 0-1 0 0,-1-1 1 0 0,1 0-1 0 0,-1-1 1 0 0,16-1-1 0 0,0-4-3176 0 0</inkml:trace>
</inkml:ink>
</file>

<file path=ppt/ink/ink7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38.3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4 5 1608 0 0,'0'0'1353'0'0,"0"0"-1166"0"0,-1-1-1 0 0,1 1 1 0 0,-1-1-1 0 0,1 1 1 0 0,-1 0 0 0 0,1-1-1 0 0,-1 1 1 0 0,1 0-1 0 0,-1-1 1 0 0,1 1 0 0 0,-1 0-1 0 0,1 0 1 0 0,-1 0-1 0 0,0 0 1 0 0,1-1 0 0 0,-1 1-1 0 0,0 0 1 0 0,-7 3 188 0 0,1 0 1 0 0,-1 1-1 0 0,1-1 0 0 0,0 1 1 0 0,0 1-1 0 0,0 0 0 0 0,1-1 1 0 0,-1 2-1 0 0,1-1 1 0 0,1 1-1 0 0,-1 0 0 0 0,-8 12 1 0 0,6-7-228 0 0,0 0 1 0 0,1 1 0 0 0,1 0 0 0 0,0 0-1 0 0,0 0 1 0 0,2 1 0 0 0,-5 15 0 0 0,7-22-111 0 0,1 1 1 0 0,0-1-1 0 0,1 1 0 0 0,-1-1 1 0 0,1 1-1 0 0,0-1 1 0 0,1 1-1 0 0,0-1 0 0 0,0 1 1 0 0,0-1-1 0 0,3 9 1 0 0,-2-12-29 0 0,-1 1 0 0 0,1 0 0 0 0,0-1 1 0 0,0 0-1 0 0,0 1 0 0 0,0-1 0 0 0,1 0 1 0 0,-1 0-1 0 0,1 0 0 0 0,0-1 0 0 0,0 1 1 0 0,0 0-1 0 0,0-1 0 0 0,0 0 1 0 0,1 0-1 0 0,-1 0 0 0 0,1 0 0 0 0,-1-1 1 0 0,7 3-1 0 0,-5-3-46 0 0,-1 0 1 0 0,1 0-1 0 0,0 0 1 0 0,-1-1-1 0 0,1 1 0 0 0,0-1 1 0 0,-1-1-1 0 0,1 1 1 0 0,-1 0-1 0 0,1-1 1 0 0,0 0-1 0 0,-1 0 0 0 0,7-3 1 0 0,-4 1-36 0 0,0-1 0 0 0,0 0 1 0 0,0 0-1 0 0,0 0 0 0 0,-1-1 0 0 0,1 0 0 0 0,6-7 1 0 0,-1-2 259 0 0,0 1 0 0 0,-1-1 0 0 0,-1-1 0 0 0,0 0 0 0 0,-1 0 0 0 0,8-20 0 0 0,-16 34-158 0 0,-1 0 0 0 0,0 1 0 0 0,1-1 0 0 0,-1 0 0 0 0,0 0-1 0 0,0 1 1 0 0,0-1 0 0 0,0 0 0 0 0,0 1 0 0 0,0-1 0 0 0,0 0-1 0 0,0 0 1 0 0,0 1 0 0 0,0-1 0 0 0,0 0 0 0 0,-1 1 0 0 0,1-1 0 0 0,0 0-1 0 0,0 1 1 0 0,-1-1 0 0 0,1 0 0 0 0,0 1 0 0 0,-1-1 0 0 0,1 0 0 0 0,-1 0-1 0 0,0 1-14 0 0,1-1-1 0 0,-1 1 1 0 0,1 0-1 0 0,0 0 1 0 0,-1 0-1 0 0,1-1 1 0 0,0 1-1 0 0,-1 0 1 0 0,1 0-1 0 0,-1 0 1 0 0,1 0-1 0 0,-1 0 1 0 0,1 0-1 0 0,0 0 1 0 0,-1 0-1 0 0,1 0 1 0 0,-1 0-1 0 0,1 0 1 0 0,-1 0-1 0 0,1 0 1 0 0,0 0-1 0 0,-1 0 1 0 0,1 0-1 0 0,-1 1 1 0 0,1-1-1 0 0,0 0 1 0 0,-1 0-1 0 0,1 0 1 0 0,-1 1-1 0 0,1-1 1 0 0,0 0 0 0 0,-1 0-1 0 0,1 1 1 0 0,0-1-1 0 0,0 0 1 0 0,-1 1-1 0 0,1-1 1 0 0,0 0-1 0 0,0 1 1 0 0,-1-1-1 0 0,1 1 1 0 0,0 0-1 0 0,-2 0 29 0 0,1 1-1 0 0,0 0 1 0 0,0 0 0 0 0,0 0-1 0 0,0-1 1 0 0,0 1 0 0 0,0 0-1 0 0,1 0 1 0 0,-1 0 0 0 0,1 0-1 0 0,-1 1 1 0 0,1-1 0 0 0,0 0 0 0 0,-1 0-1 0 0,1 0 1 0 0,0 0 0 0 0,1 0-1 0 0,-1 0 1 0 0,0 0 0 0 0,1 0-1 0 0,-1 1 1 0 0,1-1 0 0 0,-1 0-1 0 0,1 0 1 0 0,0-1 0 0 0,0 1-1 0 0,0 0 1 0 0,0 0 0 0 0,0 0-1 0 0,0-1 1 0 0,1 1 0 0 0,-1 0-1 0 0,1-1 1 0 0,-1 1 0 0 0,1-1-1 0 0,-1 0 1 0 0,1 1 0 0 0,2 0 0 0 0,0 1 35 0 0,0-1 0 0 0,-1 0 0 0 0,1 0 0 0 0,0 0 0 0 0,0 0 0 0 0,1-1 1 0 0,-1 1-1 0 0,0-1 0 0 0,0 0 0 0 0,1 0 0 0 0,-1-1 0 0 0,1 0 1 0 0,-1 1-1 0 0,0-1 0 0 0,1-1 0 0 0,-1 1 0 0 0,7-2 0 0 0,-8 2-42 0 0,-1-1 0 0 0,0 0-1 0 0,1 0 1 0 0,-1 0 0 0 0,0 0-1 0 0,0 0 1 0 0,0 0-1 0 0,0 0 1 0 0,0-1 0 0 0,0 1-1 0 0,0-1 1 0 0,0 1 0 0 0,-1-1-1 0 0,1 0 1 0 0,-1 1 0 0 0,1-1-1 0 0,-1 0 1 0 0,1 0 0 0 0,-1 0-1 0 0,0-1 1 0 0,0 1 0 0 0,0 0-1 0 0,0 0 1 0 0,-1 0-1 0 0,1-1 1 0 0,0-3 0 0 0,0-1-90 0 0,0 0-1 0 0,0 0 1 0 0,-1 1 0 0 0,0-1 0 0 0,0 0 0 0 0,-1 0 0 0 0,-1-10-1 0 0,1 13-242 0 0,0 0-1 0 0,0 0 0 0 0,0 0 0 0 0,-1 0 0 0 0,0 1 0 0 0,1-1 1 0 0,-1 0-1 0 0,-1 1 0 0 0,1-1 0 0 0,0 1 0 0 0,-1 0 0 0 0,0 0 1 0 0,-3-4-1 0 0,2 4-811 0 0,0 1 1 0 0,0-1-1 0 0,0 1 1 0 0,0-1-1 0 0,0 1 0 0 0,-7-2 1 0 0</inkml:trace>
</inkml:ink>
</file>

<file path=ppt/ink/ink7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38.6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9 688 0 0,'3'-1'336'0'0,"0"0"-1"0"0,-1-1 1 0 0,1 1 0 0 0,0 0-1 0 0,0 1 1 0 0,0-1 0 0 0,0 0-1 0 0,0 1 1 0 0,0 0-1 0 0,0 0 1 0 0,0 0 0 0 0,0 0-1 0 0,0 0 1 0 0,0 0 0 0 0,0 1-1 0 0,0-1 1 0 0,0 1 0 0 0,0 0-1 0 0,0 0 1 0 0,-1 0 0 0 0,1 1-1 0 0,0-1 1 0 0,0 0-1 0 0,2 3 1 0 0,0 1-90 0 0,0-1 1 0 0,-1 1-1 0 0,1 0 0 0 0,-1 1 1 0 0,0-1-1 0 0,0 1 0 0 0,-1 0 1 0 0,0 0-1 0 0,5 11 0 0 0,-2 1 138 0 0,0 1-1 0 0,-1-1 0 0 0,-1 1 1 0 0,0 0-1 0 0,0 22 0 0 0,-2-3 1487 0 0,-5 62 0 0 0,-1-73 3442 0 0,4-27-5285 0 0,-1 0 0 0 0,0 0-1 0 0,1-1 1 0 0,-1 1 0 0 0,1 0 0 0 0,-1-1-1 0 0,1 1 1 0 0,-1-1 0 0 0,1 1 0 0 0,-1 0-1 0 0,1-1 1 0 0,-1 1 0 0 0,1-1 0 0 0,0 1-1 0 0,-1-1 1 0 0,1 1 0 0 0,0-1 0 0 0,-1 0 0 0 0,1 1-1 0 0,0-1 1 0 0,0 1 0 0 0,-1-1 0 0 0,1 0-1 0 0,0 1 1 0 0,0-1 0 0 0,0 1 0 0 0,0-1-1 0 0,0 0 1 0 0,0 1 0 0 0,0-1 0 0 0,0 0-1 0 0,0 1 1 0 0,1-2 0 0 0,1-26 270 0 0,-1 24-219 0 0,2-15-116 0 0,1 0 1 0 0,1 0-1 0 0,0 0 0 0 0,10-21 1 0 0,-4 17-1595 0 0,14-25 0 0 0,-23 45 1086 0 0,1-1-1 0 0,-1 1 1 0 0,0 0 0 0 0,1 1-1 0 0,0-1 1 0 0,0 0-1 0 0,-1 1 1 0 0,1-1 0 0 0,1 1-1 0 0,-1 0 1 0 0,0 0 0 0 0,6-2-1 0 0,28-8-7870 0 0,-22 9 5614 0 0</inkml:trace>
</inkml:ink>
</file>

<file path=ppt/ink/ink7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38.9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9 24 1084 0 0,'2'-2'286'0'0,"0"0"0"0"0,0 0 0 0 0,0 0 0 0 0,0 0 0 0 0,0 1 0 0 0,0-1 0 0 0,1 1 0 0 0,-1-1 1 0 0,0 1-1 0 0,1 0 0 0 0,-1 0 0 0 0,1 0 0 0 0,0 0 0 0 0,-1 1 0 0 0,1-1 0 0 0,0 1 0 0 0,-1-1 0 0 0,1 1 0 0 0,0 0 0 0 0,-1 0 0 0 0,1 0 0 0 0,0 0 0 0 0,0 1 0 0 0,-1-1 0 0 0,1 1 0 0 0,4 1 0 0 0,-3 1-95 0 0,0 0 0 0 0,0-1 0 0 0,-1 1-1 0 0,0 1 1 0 0,1-1 0 0 0,-1 0-1 0 0,0 1 1 0 0,-1 0 0 0 0,1-1 0 0 0,-1 1-1 0 0,1 0 1 0 0,-1 0 0 0 0,0 1 0 0 0,-1-1-1 0 0,2 5 1 0 0,2 8 158 0 0,0 0 1 0 0,-2 0-1 0 0,0 1 0 0 0,-1-1 0 0 0,-1 1 1 0 0,0-1-1 0 0,-2 1 0 0 0,0-1 0 0 0,-1 1 1 0 0,-5 24-1 0 0,2-23-168 0 0,0 0 0 0 0,-1 0 0 0 0,0-1 0 0 0,-2 0 0 0 0,0-1 0 0 0,-1 1 0 0 0,-1-2 0 0 0,-1 1 0 0 0,-15 18 0 0 0,20-28-63 0 0,-1 0 0 0 0,0 0 1 0 0,0-1-1 0 0,-13 10 0 0 0,16-14-73 0 0,1 0-1 0 0,-1 0 0 0 0,1 0 0 0 0,-1-1 0 0 0,0 1 1 0 0,0-1-1 0 0,1 0 0 0 0,-1 0 0 0 0,0-1 0 0 0,0 1 1 0 0,0-1-1 0 0,-8 0 0 0 0,11 0-43 0 0,-1 0 1 0 0,1-1-1 0 0,-1 1 0 0 0,0-1 0 0 0,1 1 1 0 0,-1-1-1 0 0,1 1 0 0 0,-1-1 0 0 0,1 0 0 0 0,-1 0 1 0 0,1 1-1 0 0,0-1 0 0 0,-1 0 0 0 0,1 0 1 0 0,0-1-1 0 0,0 1 0 0 0,0 0 0 0 0,0 0 1 0 0,0-1-1 0 0,0 1 0 0 0,0 0 0 0 0,0-1 1 0 0,0 1-1 0 0,1-1 0 0 0,-1 1 0 0 0,1-1 1 0 0,-2-2-1 0 0,2 1-10 0 0,-1 0 0 0 0,0 0 1 0 0,1 0-1 0 0,0 0 0 0 0,0 0 1 0 0,0 0-1 0 0,0 0 0 0 0,0 0 0 0 0,0 1 1 0 0,1-1-1 0 0,0 0 0 0 0,-1 0 0 0 0,2-3 1 0 0,0 2-39 0 0,0 1 1 0 0,0-1-1 0 0,0 1 0 0 0,0-1 1 0 0,0 1-1 0 0,1 0 1 0 0,-1 0-1 0 0,1 0 1 0 0,0 0-1 0 0,0 1 1 0 0,0-1-1 0 0,0 1 0 0 0,1-1 1 0 0,-1 1-1 0 0,1 0 1 0 0,-1 1-1 0 0,1-1 1 0 0,0 1-1 0 0,0-1 1 0 0,-1 1-1 0 0,1 0 0 0 0,0 0 1 0 0,0 1-1 0 0,0-1 1 0 0,5 1-1 0 0,-1 0-393 0 0,0 1 0 0 0,0 0 0 0 0,0 0 0 0 0,-1 1 0 0 0,1 0 0 0 0,0 1 0 0 0,-1-1 0 0 0,0 1 0 0 0,1 1 0 0 0,-1-1 0 0 0,-1 1-1 0 0,8 6 1 0 0,24 20-5231 0 0,-28-19 2088 0 0</inkml:trace>
</inkml:ink>
</file>

<file path=ppt/ink/ink7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39.3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196 0 0,'0'0'6129'0'0,"1"1"-5980"0"0,-1-1-1 0 0,1 0 1 0 0,-1 0 0 0 0,1 1 0 0 0,-1-1-1 0 0,1 1 1 0 0,-1-1 0 0 0,0 0 0 0 0,1 1-1 0 0,-1-1 1 0 0,1 1 0 0 0,-1-1 0 0 0,0 1 0 0 0,0-1-1 0 0,1 1 1 0 0,-1-1 0 0 0,0 1 0 0 0,0-1-1 0 0,1 1 1 0 0,-1-1 0 0 0,0 2 0 0 0,13 210 5326 0 0,-4-102-6289 0 0,-5 0-3411 0 0,-6-76-966 0 0,-2-19 752 0 0</inkml:trace>
</inkml:ink>
</file>

<file path=ppt/ink/ink7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39.8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0 139 244 0 0,'-28'-8'5839'0'0,"25"8"-4973"0"0,-6-4 19 0 0,13 1 846 0 0,22-1 902 0 0,-17 3-3065 0 0,48-6 1168 0 0,0-3 1 0 0,110-33 0 0 0,-132 30-453 0 0,7-4 264 0 0,46-10 0 0 0,-84 27-481 0 0,0-1 0 0 0,-1 1-1 0 0,1 0 1 0 0,0 0 0 0 0,-1 0 0 0 0,1 0 0 0 0,0 1-1 0 0,-1 0 1 0 0,1-1 0 0 0,-1 1 0 0 0,1 0-1 0 0,-1 1 1 0 0,1-1 0 0 0,-1 1 0 0 0,0-1 0 0 0,0 1-1 0 0,0 0 1 0 0,0 0 0 0 0,0 1 0 0 0,0-1-1 0 0,0 0 1 0 0,-1 1 0 0 0,1 0 0 0 0,-1 0 0 0 0,0-1-1 0 0,1 1 1 0 0,2 6 0 0 0,2 4 127 0 0,-1-1 1 0 0,0 1-1 0 0,0 0 0 0 0,-2 1 0 0 0,6 21 1 0 0,-7-19 128 0 0,-1 0 0 0 0,-1 1-1 0 0,-1-1 1 0 0,0 0 0 0 0,-4 27 0 0 0,4-43-312 0 0,1 1-1 0 0,-1-1 0 0 0,0 1 1 0 0,0-1-1 0 0,0 1 0 0 0,0-1 1 0 0,-1 0-1 0 0,1 1 0 0 0,0-1 1 0 0,0 1-1 0 0,0-1 0 0 0,0 1 1 0 0,0-1-1 0 0,0 0 0 0 0,-1 1 1 0 0,1-1-1 0 0,0 1 0 0 0,0-1 1 0 0,-1 0-1 0 0,1 1 0 0 0,0-1 1 0 0,-1 0-1 0 0,1 1 0 0 0,0-1 1 0 0,-1 0-1 0 0,1 0 0 0 0,0 1 1 0 0,-1-1-1 0 0,1 0 0 0 0,0 0 1 0 0,-1 0-1 0 0,1 0 0 0 0,-1 1 1 0 0,1-1-1 0 0,-1 0 0 0 0,1 0 1 0 0,0 0-1 0 0,-1 0 0 0 0,1 0 1 0 0,-1 0-1 0 0,1 0 0 0 0,-1 0 1 0 0,1 0-1 0 0,-1 0 0 0 0,1 0 1 0 0,0 0-1 0 0,-1-1 0 0 0,1 1 1 0 0,-1 0-1 0 0,1 0 0 0 0,0 0 1 0 0,-1 0-1 0 0,0-1 0 0 0,-14-13-218 0 0,13 9 100 0 0,1 0 0 0 0,-1-1 0 0 0,1 1 0 0 0,1 0 0 0 0,-1-1 0 0 0,1 1 0 0 0,0-1 0 0 0,0 1 0 0 0,1-1 0 0 0,-1 1 0 0 0,1-1 0 0 0,1 1 0 0 0,-1 0 0 0 0,1 0 0 0 0,0-1 0 0 0,0 1 0 0 0,0 0 0 0 0,0 0 0 0 0,6-7 0 0 0,-7 11 84 0 0,0-1-1 0 0,1 1 0 0 0,-1 0 1 0 0,1-1-1 0 0,-1 1 1 0 0,1 0-1 0 0,-1 0 1 0 0,1 0-1 0 0,-1 0 1 0 0,1 0-1 0 0,0 0 1 0 0,0 1-1 0 0,-1-1 1 0 0,1 1-1 0 0,0-1 1 0 0,0 1-1 0 0,0-1 1 0 0,0 1-1 0 0,0 0 0 0 0,-1 0 1 0 0,1 0-1 0 0,0 0 1 0 0,0 0-1 0 0,0 1 1 0 0,0-1-1 0 0,0 1 1 0 0,3 0-1 0 0,55 29-96 0 0,-40-19 131 0 0,0-2 0 0 0,28 11 0 0 0,-40-18-2 0 0,-1 0-1 0 0,1 0 1 0 0,-1-1-1 0 0,1 0 1 0 0,0 0 0 0 0,-1-1-1 0 0,1 0 1 0 0,0 0 0 0 0,0-1-1 0 0,13-3 1 0 0,-12 1-99 0 0,-1 1 0 0 0,1-2 1 0 0,-1 1-1 0 0,0-1 0 0 0,0-1 0 0 0,-1 1 1 0 0,1-1-1 0 0,-1-1 0 0 0,0 1 0 0 0,0-1 0 0 0,7-9 1 0 0,-4 3 71 0 0,0 0 1 0 0,-1 0 0 0 0,0-1 0 0 0,-1-1-1 0 0,9-21 1 0 0,-16 34 18 0 0,-1 1 0 0 0,0-1 1 0 0,0 1-1 0 0,0 0 0 0 0,1-1 0 0 0,-1 1 0 0 0,0-1 0 0 0,0 1 1 0 0,0-1-1 0 0,0 1 0 0 0,0-1 0 0 0,0 1 0 0 0,0-1 0 0 0,0 1 0 0 0,0-1 1 0 0,0 1-1 0 0,0-1 0 0 0,0 1 0 0 0,0-1 0 0 0,0 1 0 0 0,-1-1 0 0 0,1 1 1 0 0,0-1-1 0 0,0 1 0 0 0,0 0 0 0 0,-1-1 0 0 0,1 1 0 0 0,0-1 1 0 0,-1 1-1 0 0,1 0 0 0 0,0-1 0 0 0,-1 1 0 0 0,1 0 0 0 0,0-1 0 0 0,-1 1 1 0 0,1 0-1 0 0,-1 0 0 0 0,1-1 0 0 0,-1 1 0 0 0,1 0 0 0 0,0 0 0 0 0,-1 0 1 0 0,1 0-1 0 0,-1-1 0 0 0,1 1 0 0 0,-2 0 0 0 0,-19 0-12 0 0,18 1 9 0 0,0 0-1 0 0,1 0 1 0 0,-1 0 0 0 0,0 0-1 0 0,1 1 1 0 0,-1-1 0 0 0,1 1-1 0 0,0-1 1 0 0,-1 1 0 0 0,1 0-1 0 0,0 0 1 0 0,0 0 0 0 0,0 0-1 0 0,0 0 1 0 0,0 0 0 0 0,1 1-1 0 0,-1-1 1 0 0,1 1 0 0 0,-1-1-1 0 0,1 1 1 0 0,0 0 0 0 0,0-1-1 0 0,0 1 1 0 0,0 0 0 0 0,1 0-1 0 0,-1-1 1 0 0,1 1 0 0 0,-1 0-1 0 0,1 0 1 0 0,0 0 0 0 0,0 0-1 0 0,1 0 1 0 0,-1 0-1 0 0,1 3 1 0 0,1 1-311 0 0,-1-1 0 0 0,1 0 0 0 0,0 1 1 0 0,1-1-1 0 0,-1 0 0 0 0,1 0 0 0 0,0-1 0 0 0,1 1 0 0 0,-1-1 0 0 0,1 1 0 0 0,0-1 0 0 0,1 0 1 0 0,-1-1-1 0 0,6 6 0 0 0,-5-7-670 0 0,-1 0 0 0 0,1 0-1 0 0,0-1 1 0 0,0 1 0 0 0,9 3 0 0 0,2-3-2503 0 0</inkml:trace>
</inkml:ink>
</file>

<file path=ppt/ink/ink7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40.2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 0 2544 0 0,'-15'29'8640'0'0,"14"-27"-7861"0"0,1-2-669 0 0,1 1 1 0 0,-1 0-1 0 0,0 0 1 0 0,1-1-1 0 0,-1 1 0 0 0,1 0 1 0 0,-1-1-1 0 0,1 1 0 0 0,0 0 1 0 0,-1-1-1 0 0,1 1 0 0 0,0-1 1 0 0,-1 1-1 0 0,1-1 1 0 0,0 1-1 0 0,-1-1 0 0 0,1 1 1 0 0,1-1-1 0 0,168 20 1476 0 0,-95-14-4812 0 0,-66-5 1651 0 0,-7-1 1314 0 0,-1 1 0 0 0,1-1-1 0 0,0 0 1 0 0,0 0 0 0 0,0 0-1 0 0,0-1 1 0 0,-1 1 0 0 0,1 0 0 0 0,0-1-1 0 0,2 0 1 0 0,2 0-1511 0 0,12-4-2023 0 0</inkml:trace>
</inkml:ink>
</file>

<file path=ppt/ink/ink7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40.62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1564 0 0,'3'1'3025'0'0,"0"1"-2659"0"0,1 1 0 0 0,-1-1 0 0 0,1 0 0 0 0,-1 1-1 0 0,0 0 1 0 0,0-1 0 0 0,0 1 0 0 0,-1 0 0 0 0,1 1 0 0 0,-1-1 0 0 0,1 0 0 0 0,-1 1-1 0 0,2 4 1 0 0,26 56 1936 0 0,-27-57-1995 0 0,138 311 5257 0 0,-136-306-5263 0 0,-4-8 53 0 0,0-1-1 0 0,1 1 0 0 0,-1-1 1 0 0,1 1-1 0 0,0-1 1 0 0,0 0-1 0 0,0 0 0 0 0,0 0 1 0 0,1 0-1 0 0,-1 0 1 0 0,4 3-1 0 0,-5-7-291 0 0,0 1 0 0 0,-1-1 0 0 0,1 0-1 0 0,-1 1 1 0 0,1-1 0 0 0,0 0 0 0 0,-1 0 0 0 0,0 1 0 0 0,1-1-1 0 0,-1 0 1 0 0,1 0 0 0 0,-1 0 0 0 0,0 0 0 0 0,0 1 0 0 0,1-1-1 0 0,-1 0 1 0 0,0 0 0 0 0,0-1 0 0 0,22-255-100 0 0,-18 186-2164 0 0,-2 17-5406 0 0</inkml:trace>
</inkml:ink>
</file>

<file path=ppt/ink/ink7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40.9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75 1096 0 0,'7'2'709'0'0,"-1"0"-1"0"0,1-1 1 0 0,0 0-1 0 0,0 0 1 0 0,0-1-1 0 0,0 1 1 0 0,0-2-1 0 0,0 1 1 0 0,0-1-1 0 0,0 0 1 0 0,9-3-1 0 0,-6 0-380 0 0,-1 0 0 0 0,1 0 0 0 0,-1-1 0 0 0,0 0 0 0 0,-1-1 0 0 0,1 0 0 0 0,7-8 0 0 0,-9 8-87 0 0,0-2-1 0 0,0 1 1 0 0,-1-1 0 0 0,1 0 0 0 0,-2 0-1 0 0,1 0 1 0 0,-1-1 0 0 0,-1 0 0 0 0,7-18-1 0 0,-10 26-227 0 0,-1 0 1 0 0,0 0-1 0 0,1 1 0 0 0,-1-1 0 0 0,0 0 0 0 0,0 0 0 0 0,0 0 0 0 0,1 1 0 0 0,-1-1 0 0 0,0 0 0 0 0,0 0 1 0 0,0 0-1 0 0,0 1 0 0 0,-1-1 0 0 0,1 0 0 0 0,0 0 0 0 0,0 0 0 0 0,0 1 0 0 0,-1-1 0 0 0,1 0 0 0 0,0 0 1 0 0,-1 0-1 0 0,1 1 0 0 0,0-1 0 0 0,-1 0 0 0 0,1 1 0 0 0,-1-1 0 0 0,1 0 0 0 0,-1 1 0 0 0,0-1 0 0 0,1 1 1 0 0,-1-1-1 0 0,0 1 0 0 0,1-1 0 0 0,-1 1 0 0 0,0 0 0 0 0,1-1 0 0 0,-1 1 0 0 0,0 0 0 0 0,0-1 0 0 0,0 1 1 0 0,1 0-1 0 0,-1 0 0 0 0,0 0 0 0 0,-1 0 0 0 0,-2-1 30 0 0,1 1 0 0 0,-1-1 1 0 0,0 1-1 0 0,1 1 0 0 0,-1-1 1 0 0,1 0-1 0 0,-7 2 0 0 0,3 1 34 0 0,1-1-1 0 0,0 1 0 0 0,0 0 1 0 0,0 1-1 0 0,1-1 1 0 0,-1 1-1 0 0,1 0 0 0 0,0 1 1 0 0,0-1-1 0 0,0 1 1 0 0,1 0-1 0 0,-1 0 1 0 0,1 1-1 0 0,1-1 0 0 0,-1 1 1 0 0,1 0-1 0 0,-5 11 1 0 0,5-10 24 0 0,0 1-1 0 0,1 0 1 0 0,0 0 0 0 0,1 0 0 0 0,0 0 0 0 0,0 0 0 0 0,0 0 0 0 0,1 0 0 0 0,0 0 0 0 0,1 0-1 0 0,0 0 1 0 0,0 0 0 0 0,1 0 0 0 0,2 8 0 0 0,-1-8-66 0 0,1 0 1 0 0,-1-1-1 0 0,1 1 1 0 0,1-1-1 0 0,0 0 1 0 0,-1 0-1 0 0,2-1 1 0 0,-1 0-1 0 0,1 1 1 0 0,0-2-1 0 0,0 1 1 0 0,1-1-1 0 0,12 8 1 0 0,-12-9-416 0 0,1 0 1 0 0,-1 0-1 0 0,1-1 0 0 0,0 0 1 0 0,0 0-1 0 0,0-1 1 0 0,0 0-1 0 0,10 1 0 0 0,-11-3-464 0 0,0 0 0 0 0,0 0 0 0 0,1-1 0 0 0,-1 0 0 0 0,0 0 0 0 0,0-1 0 0 0,0 1 0 0 0,-1-2 0 0 0,9-2 0 0 0,0-2-3859 0 0</inkml:trace>
</inkml:ink>
</file>

<file path=ppt/ink/ink7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42.0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8 125 1100 0 0,'2'-4'340'0'0,"0"-1"0"0"0,0 1 0 0 0,-1-1 0 0 0,0 1 0 0 0,0-1 0 0 0,0 1 0 0 0,0-1 0 0 0,-1 0 0 0 0,0 1 0 0 0,0-1 0 0 0,0 0 0 0 0,0 1 0 0 0,-1-1 0 0 0,0 0 0 0 0,0 1 0 0 0,0-1 0 0 0,0 1 0 0 0,-1 0 0 0 0,0-1 0 0 0,0 1 0 0 0,0 0 0 0 0,-5-8 0 0 0,6 11-311 0 0,-1 0-1 0 0,0-1 0 0 0,0 1 1 0 0,1 0-1 0 0,-1 0 0 0 0,0 0 1 0 0,0 0-1 0 0,0 0 0 0 0,0 1 1 0 0,0-1-1 0 0,0 0 0 0 0,0 1 1 0 0,0 0-1 0 0,-1-1 1 0 0,1 1-1 0 0,0 0 0 0 0,0 0 1 0 0,0 0-1 0 0,0 0 0 0 0,0 1 1 0 0,-4 0-1 0 0,1 0 18 0 0,0 0 1 0 0,0 0-1 0 0,0 1 0 0 0,0 0 1 0 0,0 0-1 0 0,1 0 1 0 0,-7 4-1 0 0,8-4-17 0 0,1 0-1 0 0,-1 0 1 0 0,1 1 0 0 0,0-1-1 0 0,-1 0 1 0 0,1 1 0 0 0,0-1 0 0 0,1 1-1 0 0,-3 3 1 0 0,3-4-1 0 0,0 1 0 0 0,0-1 1 0 0,1 0-1 0 0,-1 0 0 0 0,0 1 0 0 0,1-1 0 0 0,0 0 0 0 0,-1 1 1 0 0,1-1-1 0 0,0 1 0 0 0,0-1 0 0 0,1 0 0 0 0,-1 1 1 0 0,0-1-1 0 0,1 1 0 0 0,-1-1 0 0 0,1 0 0 0 0,1 4 1 0 0,11 14 149 0 0,15 11 0 0 0,36 29 1 0 0,-44-43-182 0 0,-1 1 0 0 0,0 1-1 0 0,-1 0 1 0 0,-2 2 0 0 0,29 43 0 0 0,-43-61 5 0 0,-1 1 1 0 0,0 0 0 0 0,1-1 0 0 0,-1 1-1 0 0,-1 0 1 0 0,1 0 0 0 0,0-1-1 0 0,-1 1 1 0 0,0 0 0 0 0,0 0 0 0 0,0 0-1 0 0,-1 0 1 0 0,1 0 0 0 0,-1-1-1 0 0,-1 7 1 0 0,1-8 9 0 0,0 0 0 0 0,0 1 0 0 0,0-1 0 0 0,0 0 0 0 0,0 0 0 0 0,-1-1 0 0 0,1 1 0 0 0,0 0 0 0 0,-1 0 0 0 0,1 0 0 0 0,-1-1 0 0 0,0 1 0 0 0,0-1 0 0 0,1 0-1 0 0,-1 1 1 0 0,0-1 0 0 0,0 0 0 0 0,0 0 0 0 0,-1 0 0 0 0,1 0 0 0 0,0 0 0 0 0,0-1 0 0 0,0 1 0 0 0,-1-1 0 0 0,1 1 0 0 0,0-1 0 0 0,0 0 0 0 0,-1 0 0 0 0,1 0 0 0 0,-3-1 0 0 0,-2 1-13 0 0,-1-2 1 0 0,1 1 0 0 0,0-1 0 0 0,0 0-1 0 0,0-1 1 0 0,0 0 0 0 0,0 0-1 0 0,1 0 1 0 0,-1-1 0 0 0,1 0-1 0 0,0 0 1 0 0,0 0 0 0 0,0-1 0 0 0,1 0-1 0 0,-1 0 1 0 0,1-1 0 0 0,-6-8-1 0 0,4 5-62 0 0,1 0 0 0 0,0-1 0 0 0,-9-20 0 0 0,9 13 7 0 0,0 0-1 0 0,1-1 1 0 0,-4-27-1 0 0,9 42 46 0 0,-1 1-1 0 0,1-1 0 0 0,-1 1 0 0 0,1-1 0 0 0,-1 1 0 0 0,0-1 0 0 0,0 1 1 0 0,-2-4-1 0 0,3 6 11 0 0,-1 0 1 0 0,1-1 0 0 0,0 1-1 0 0,0 0 1 0 0,-1-1-1 0 0,1 1 1 0 0,0 0 0 0 0,-1 0-1 0 0,1-1 1 0 0,0 1-1 0 0,-1 0 1 0 0,1 0 0 0 0,-1 0-1 0 0,1-1 1 0 0,0 1-1 0 0,-1 0 1 0 0,1 0 0 0 0,-1 0-1 0 0,1 0 1 0 0,0 0-1 0 0,-1 0 1 0 0,1 0 0 0 0,-1 0-1 0 0,1 0 1 0 0,0 0-1 0 0,-1 0 1 0 0,1 0-1 0 0,-1 0 1 0 0,1 0 0 0 0,-1 1-1 0 0,-2 1 9 0 0,-1 0-1 0 0,1 1 1 0 0,0 0 0 0 0,0-1-1 0 0,0 1 1 0 0,0 0-1 0 0,-4 7 1 0 0,0-1-10 0 0,-8 10-432 0 0,0 0 1 0 0,-12 25 0 0 0,22-36-518 0 0,0 1 0 0 0,1 0 0 0 0,1 1 1 0 0,-5 13-1 0 0,8-19-508 0 0,-2 9 252 0 0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4.1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0 0 1868 0 0,'-59'2'5676'0'0,"40"-3"-3711"0"0,0 2 1 0 0,0 0-1 0 0,-21 5 0 0 0,37-5-1408 0 0,70 10 692 0 0,241-3-1735 0 0,-252-8-1912 0 0,-51 0 1622 0 0,-1 0-95 0 0,1 0 796 0 0,15 1-1617 0 0,5-4-3506 0 0,-15-1 1887 0 0</inkml:trace>
</inkml:ink>
</file>

<file path=ppt/ink/ink7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42.4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9 43 40 0 0,'9'-8'1306'0'0,"-7"6"-897"0"0,-1 1-1 0 0,1-1 1 0 0,-1 0 0 0 0,1 1 0 0 0,0-1 0 0 0,0 1-1 0 0,0 0 1 0 0,3-2 0 0 0,-7-2 709 0 0,2 5-1077 0 0,0-1 0 0 0,1 1 0 0 0,-1-1 0 0 0,-1 1 0 0 0,1-1 0 0 0,0 1 0 0 0,0-1 0 0 0,0 1 0 0 0,0-1 0 0 0,0 1 0 0 0,0 0-1 0 0,0-1 1 0 0,-1 1 0 0 0,1-1 0 0 0,0 1 0 0 0,0-1 0 0 0,-1 1 0 0 0,1 0 0 0 0,0-1 0 0 0,0 1 0 0 0,-1 0 0 0 0,1-1 0 0 0,-1 1 0 0 0,-3-1 110 0 0,0 0 0 0 0,0 0 0 0 0,0 0 0 0 0,0 1 0 0 0,0 0 0 0 0,0 0 0 0 0,0 0-1 0 0,0 0 1 0 0,0 1 0 0 0,0-1 0 0 0,1 1 0 0 0,-1 0 0 0 0,0 0 0 0 0,0 1 0 0 0,0-1 0 0 0,1 1 0 0 0,-1 0 0 0 0,-6 4 0 0 0,-5 3 245 0 0,0 2 0 0 0,-25 21 0 0 0,28-20-208 0 0,0 0 0 0 0,0 1 0 0 0,1 0 0 0 0,-16 27 0 0 0,23-34-153 0 0,1 0 0 0 0,0 0-1 0 0,0 0 1 0 0,0 0 0 0 0,1 1 0 0 0,0-1 0 0 0,0 1-1 0 0,0-1 1 0 0,1 1 0 0 0,0 0 0 0 0,1 0-1 0 0,-1-1 1 0 0,1 1 0 0 0,2 13 0 0 0,-1-18-13 0 0,-1 1-1 0 0,1-1 1 0 0,0 0 0 0 0,0 1 0 0 0,0-1-1 0 0,0 0 1 0 0,0 0 0 0 0,0 0 0 0 0,1 1 0 0 0,-1-1-1 0 0,1-1 1 0 0,-1 1 0 0 0,1 0 0 0 0,0 0-1 0 0,0-1 1 0 0,-1 1 0 0 0,1-1 0 0 0,0 1-1 0 0,1-1 1 0 0,-1 0 0 0 0,0 0 0 0 0,0 0 0 0 0,1 0-1 0 0,-1 0 1 0 0,0 0 0 0 0,1-1 0 0 0,-1 1-1 0 0,1-1 1 0 0,-1 0 0 0 0,3 1 0 0 0,0-1 2 0 0,0-1-1 0 0,0 1 1 0 0,-1-1 0 0 0,1 1 0 0 0,0-1-1 0 0,-1-1 1 0 0,1 1 0 0 0,-1-1 0 0 0,1 0 0 0 0,-1 0-1 0 0,0 0 1 0 0,0 0 0 0 0,0-1 0 0 0,0 1-1 0 0,4-5 1 0 0,37-40 3 0 0,-35 34 269 0 0,0 0 0 0 0,-1-1 0 0 0,14-28 0 0 0,-7 23-21 0 0,-16 19-273 0 0,0-1 1 0 0,0 1 0 0 0,0 0-1 0 0,1-1 1 0 0,-1 1 0 0 0,0 0 0 0 0,1 0-1 0 0,-1-1 1 0 0,0 1 0 0 0,0 0 0 0 0,1 0-1 0 0,-1 0 1 0 0,0-1 0 0 0,1 1-1 0 0,-1 0 1 0 0,1 0 0 0 0,-1 0 0 0 0,0 0-1 0 0,1 0 1 0 0,-1 0 0 0 0,0 0 0 0 0,1 0-1 0 0,-1 0 1 0 0,1 0 0 0 0,-1 0-1 0 0,0 0 1 0 0,1 0 0 0 0,-1 0 0 0 0,0 0-1 0 0,1 0 1 0 0,-1 0 0 0 0,0 0 0 0 0,1 1-1 0 0,-1-1 1 0 0,0 0 0 0 0,1 0-1 0 0,-1 0 1 0 0,0 1 0 0 0,1-1 0 0 0,-1 0-1 0 0,0 0 1 0 0,1 1 0 0 0,-1-1 0 0 0,0 0-1 0 0,0 0 1 0 0,0 1 0 0 0,1-1-1 0 0,-1 0 1 0 0,0 1 0 0 0,0-1 0 0 0,0 0-1 0 0,0 1 1 0 0,0-1 0 0 0,1 1 0 0 0,-1-1-1 0 0,0 0 1 0 0,0 1 0 0 0,27 98-1430 0 0,6-1-6197 0 0,-24-83 3736 0 0</inkml:trace>
</inkml:ink>
</file>

<file path=ppt/ink/ink7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42.8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7 1260 0 0,'3'-3'322'0'0,"-2"1"-24"0"0,0 0-1 0 0,1 0 1 0 0,-1 1-1 0 0,1-1 0 0 0,-1 1 1 0 0,1-1-1 0 0,0 1 1 0 0,-1-1-1 0 0,1 1 1 0 0,0 0-1 0 0,0 0 1 0 0,0 0-1 0 0,0 0 1 0 0,0 0-1 0 0,0 1 0 0 0,1-1 1 0 0,-1 0-1 0 0,0 1 1 0 0,0 0-1 0 0,4-1 1 0 0,-2 3-56 0 0,1-1 1 0 0,-1 1-1 0 0,0 0 1 0 0,0 1 0 0 0,0-1-1 0 0,0 0 1 0 0,0 1-1 0 0,-1 0 1 0 0,1 0 0 0 0,-1 0-1 0 0,0 1 1 0 0,0-1-1 0 0,0 1 1 0 0,0 0 0 0 0,-1-1-1 0 0,4 7 1 0 0,6 11 646 0 0,16 43 0 0 0,-22-50-849 0 0,0 2-3794 0 0</inkml:trace>
</inkml:ink>
</file>

<file path=ppt/ink/ink7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43.1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 16814 0 0,'3'-1'-179'0'0,"0"0"186"0"0,0 1 0 0 0,0-1 1 0 0,0 1-1 0 0,0 0 0 0 0,0 0 1 0 0,0 0-1 0 0,0 0 0 0 0,0 0 0 0 0,0 1 1 0 0,0 0-1 0 0,0-1 0 0 0,0 1 0 0 0,-1 0 1 0 0,1 0-1 0 0,0 0 0 0 0,0 1 1 0 0,-1-1-1 0 0,1 1 0 0 0,3 2 0 0 0,-3-1-39 0 0,1-1 0 0 0,-1 1 0 0 0,0 0 0 0 0,0 1-1 0 0,0-1 1 0 0,0 0 0 0 0,-1 1 0 0 0,1-1 0 0 0,-1 1-1 0 0,0 0 1 0 0,0 0 0 0 0,0 0 0 0 0,0 0 0 0 0,1 7-1 0 0,-1-5 158 0 0,1 0-1 0 0,-1 0 0 0 0,1 0 0 0 0,1-1 0 0 0,6 10 0 0 0,-9-18-97 0 0,0 0 0 0 0,0 0 0 0 0,1 0 0 0 0,-1 0 0 0 0,1 1-1 0 0,3-6 1 0 0,0-1-25 0 0,-3 6-10 0 0,0-1-5 0 0,9-13-40 0 0,-7 12 35 0 0,3-5-8 0 0,-5 7 5 0 0,0 0 0 0 0,0 0 0 0 0,0 0 1 0 0,1 0-1 0 0,-1 1 0 0 0,1-1 0 0 0,0 1 1 0 0,0 0-1 0 0,0-1 0 0 0,0 1 0 0 0,0 1 1 0 0,0-1-1 0 0,1 0 0 0 0,6-1 0 0 0,-9 2 11 0 0,1 1 0 0 0,0-1-1 0 0,0 1 1 0 0,-1 0-1 0 0,1 0 1 0 0,0 0 0 0 0,0 0-1 0 0,-1 0 1 0 0,1 1 0 0 0,0-1-1 0 0,0 0 1 0 0,-1 1 0 0 0,1-1-1 0 0,0 1 1 0 0,-1 0 0 0 0,1-1-1 0 0,-1 1 1 0 0,1 0 0 0 0,-1 0-1 0 0,1 0 1 0 0,1 2 0 0 0,0 0-23 0 0,1-1 1 0 0,-1 1-1 0 0,-1 0 1 0 0,1 0-1 0 0,0 1 1 0 0,-1-1-1 0 0,3 6 1 0 0,-2-2-385 0 0,0 0 1 0 0,-1 0-1 0 0,0 1 1 0 0,-1-1-1 0 0,0 1 1 0 0,1 11-1 0 0,-1 26-8135 0 0,-1-33 6109 0 0</inkml:trace>
</inkml:ink>
</file>

<file path=ppt/ink/ink7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43.5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2 83 896 0 0,'12'-10'7502'0'0,"-11"11"-7230"0"0,0 1-1 0 0,0-1 1 0 0,-1 1 0 0 0,1-1 0 0 0,0 1-1 0 0,-1-1 1 0 0,1 1 0 0 0,-1 0 0 0 0,1-1-1 0 0,-1 4 1 0 0,7 51 1923 0 0,9 97 679 0 0,-9-103-3117 0 0,-1 0 1 0 0,-3 90 0 0 0,-3-138 109 0 0,-1 1 0 0 0,1-1-1 0 0,-1 0 1 0 0,1 0 0 0 0,-1 0 0 0 0,0 0 0 0 0,1 1 0 0 0,-1-1 0 0 0,0 0 0 0 0,0 0 0 0 0,-1 0-1 0 0,1-1 1 0 0,-3 4 0 0 0,2-2-365 0 0,-2-4 54 0 0,1 0 342 0 0,-1-1 1 0 0,0 0-1 0 0,1 1 1 0 0,0-1-1 0 0,-1 0 1 0 0,1-1 0 0 0,0 1-1 0 0,0-1 1 0 0,0 1-1 0 0,0-1 1 0 0,0 0-1 0 0,1 0 1 0 0,0 0 0 0 0,-1 0-1 0 0,1-1 1 0 0,0 1-1 0 0,-3-7 1 0 0,-4-10-375 0 0,-14-39 0 0 0,15 34 338 0 0,2 0 1 0 0,0-1-1 0 0,1 1 0 0 0,-1-37 1 0 0,6 46 76 0 0,0-1 0 0 0,0 1 0 0 0,2-1 1 0 0,0 1-1 0 0,1 0 0 0 0,0 0 1 0 0,1 0-1 0 0,7-16 0 0 0,-7 23 120 0 0,1 0-1 0 0,0 1 1 0 0,0-1 0 0 0,1 1-1 0 0,0 1 1 0 0,0-1-1 0 0,1 1 1 0 0,-1 0-1 0 0,2 0 1 0 0,-1 1 0 0 0,16-10-1 0 0,-19 13-30 0 0,-1 1-1 0 0,1 0 1 0 0,0 0 0 0 0,1 0-1 0 0,-1 0 1 0 0,0 1-1 0 0,0 0 1 0 0,1 0 0 0 0,-1 0-1 0 0,1 0 1 0 0,-1 1 0 0 0,0-1-1 0 0,1 1 1 0 0,-1 0-1 0 0,1 1 1 0 0,-1-1 0 0 0,1 1-1 0 0,-1 0 1 0 0,0 0-1 0 0,1 0 1 0 0,-1 1 0 0 0,0-1-1 0 0,0 1 1 0 0,0 0-1 0 0,0 0 1 0 0,0 1 0 0 0,6 4-1 0 0,-7-5-2 0 0,-1 0 0 0 0,0 0-1 0 0,0 0 1 0 0,0 1-1 0 0,0-1 1 0 0,0 0 0 0 0,0 1-1 0 0,-1-1 1 0 0,1 1 0 0 0,-1 0-1 0 0,1-1 1 0 0,-1 1 0 0 0,0 0-1 0 0,0 0 1 0 0,-1 0 0 0 0,1 0-1 0 0,-1 0 1 0 0,1 5-1 0 0,-1-4 3 0 0,-1 1 0 0 0,1 0 0 0 0,-1 0 0 0 0,0 0 0 0 0,-1-1 0 0 0,1 1 0 0 0,-1 0 0 0 0,0-1 0 0 0,0 1 0 0 0,-4 5 0 0 0,-4 4 15 0 0,0 0-1 0 0,-1-1 0 0 0,0 0 0 0 0,-1-1 1 0 0,-20 16-1 0 0,18-17-196 0 0,-1 0 1 0 0,-1-2-1 0 0,0 1 0 0 0,-27 10 1 0 0,33-15-500 0 0,-1-1 0 0 0,0-1 0 0 0,0 0 0 0 0,-20 2 1 0 0,23-5-1589 0 0,-19-3-469 0 0</inkml:trace>
</inkml:ink>
</file>

<file path=ppt/ink/ink7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43.8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140 0 0,'8'7'737'0'0,"0"0"1"0"0,-1 1-1 0 0,0 0 0 0 0,0 1 1 0 0,-1-1-1 0 0,0 1 0 0 0,-1 1 1 0 0,0-1-1 0 0,0 1 0 0 0,-1 0 0 0 0,0 0 1 0 0,3 14-1 0 0,2 14 64 0 0,-1 0 0 0 0,1 40 0 0 0,-9-75-792 0 0,2 48-711 0 0,-1-8-1722 0 0,3-16-2207 0 0</inkml:trace>
</inkml:ink>
</file>

<file path=ppt/ink/ink7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4:44.2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31 1668 0 0,'65'-35'7419'0'0,"-50"28"-6847"0"0,-1 0-1 0 0,0-1 0 0 0,0 0 1 0 0,-1-1-1 0 0,24-22 1 0 0,-34 30-501 0 0,-3 0-64 0 0,1 1 0 0 0,-1 0 1 0 0,1-1-1 0 0,0 1 0 0 0,-1 0 0 0 0,1-1 0 0 0,-1 1 0 0 0,1-1 0 0 0,-1 1 0 0 0,1-1 0 0 0,-1 1 0 0 0,0-1 1 0 0,1 1-1 0 0,-1-1 0 0 0,0 0 0 0 0,1 1 0 0 0,-1-1 0 0 0,0 1 0 0 0,0-1 0 0 0,1 0 0 0 0,-1 1 0 0 0,0-1 1 0 0,0 0-1 0 0,0 1 0 0 0,0-1 0 0 0,0 0 0 0 0,0 1 0 0 0,0-1 0 0 0,0 0 0 0 0,0 1 0 0 0,0-1 0 0 0,0 0 1 0 0,-1 1-1 0 0,1-1 0 0 0,0 0 0 0 0,0 1 0 0 0,-1-1 0 0 0,1 1 0 0 0,-1-2 0 0 0,-4 1 68 0 0,-3 3 93 0 0,1 0 0 0 0,-1 1 0 0 0,1 0-1 0 0,0 0 1 0 0,0 0 0 0 0,0 1 0 0 0,0 0 0 0 0,0 1 0 0 0,1-1 0 0 0,0 1 0 0 0,0 1 0 0 0,0-1 0 0 0,1 1-1 0 0,0 0 1 0 0,0 0 0 0 0,0 0 0 0 0,1 1 0 0 0,0 0 0 0 0,-6 13 0 0 0,6-13 17 0 0,1-1-1 0 0,1 1 1 0 0,-1 0 0 0 0,1-1-1 0 0,1 1 1 0 0,-1 0 0 0 0,1 0-1 0 0,0 1 1 0 0,0-1 0 0 0,1 0 0 0 0,0 0-1 0 0,1 0 1 0 0,-1 0 0 0 0,1 0-1 0 0,1 0 1 0 0,-1 0 0 0 0,1 0-1 0 0,0 0 1 0 0,1 0 0 0 0,0-1-1 0 0,0 1 1 0 0,6 9 0 0 0,-3-9-181 0 0,0 0 0 0 0,1 0 0 0 0,0 0 0 0 0,0-1-1 0 0,0 0 1 0 0,1-1 0 0 0,0 0 0 0 0,0 0 0 0 0,10 4 0 0 0,-10-5-673 0 0,0-1 1 0 0,1 0-1 0 0,-1-1 1 0 0,10 2-1 0 0,-12-3-523 0 0,0 0 1 0 0,1-1-1 0 0,-1 1 0 0 0,0-2 0 0 0,0 1 0 0 0,8-2 0 0 0,4-3-5309 0 0</inkml:trace>
</inkml:ink>
</file>

<file path=ppt/ink/ink7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6:55.3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8 1 4348 0 0,'-14'7'3034'0'0,"10"-6"-2194"0"0,0 1 0 0 0,-1 0 1 0 0,1 0-1 0 0,0 0 1 0 0,1 1-1 0 0,-1-1 1 0 0,0 1-1 0 0,1 0 1 0 0,-6 6 869 0 0,10-8-1615 0 0,-1-1 0 0 0,0 1 0 0 0,1 0 0 0 0,-1-1 0 0 0,1 1 0 0 0,-1 0 0 0 0,1-1 1 0 0,-1 1-1 0 0,1-1 0 0 0,0 1 0 0 0,-1-1 0 0 0,1 0 0 0 0,0 1 0 0 0,-1-1 0 0 0,1 1 0 0 0,0-1 0 0 0,-1 0 0 0 0,1 0 0 0 0,1 1 0 0 0,256 31 698 0 0,-81-21-6787 0 0,-166-10 5357 0 0,19 0-3501 0 0,-3 0-2039 0 0</inkml:trace>
</inkml:ink>
</file>

<file path=ppt/ink/ink7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6:55.7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6 1 744 0 0,'-35'17'3231'0'0,"-96"56"9520"0"0,130-72-12658 0 0,1-1 1 0 0,-1 0-1 0 0,0 0 1 0 0,1 1-1 0 0,-1-1 1 0 0,1 0-1 0 0,-1 1 1 0 0,1-1-1 0 0,0 0 1 0 0,-1 1 0 0 0,1-1-1 0 0,-1 1 1 0 0,1-1-1 0 0,0 1 1 0 0,-1-1-1 0 0,1 0 1 0 0,0 1-1 0 0,-1 0 1 0 0,1-1 0 0 0,0 1-1 0 0,0-1 1 0 0,0 1-1 0 0,-1-1 1 0 0,1 1-1 0 0,0-1 1 0 0,0 1-1 0 0,0 0 1 0 0,0-1 0 0 0,0 1-1 0 0,0-1 1 0 0,0 1-1 0 0,0 0 1 0 0,0-1-1 0 0,0 1 1 0 0,1-1-1 0 0,-1 1 1 0 0,0-1 0 0 0,0 1-1 0 0,0-1 1 0 0,1 1-1 0 0,-1-1 1 0 0,0 1-1 0 0,1-1 1 0 0,-1 1-1 0 0,0-1 1 0 0,1 1-1 0 0,-1-1 1 0 0,1 1 0 0 0,-1-1-1 0 0,1 0 1 0 0,-1 1-1 0 0,1-1 1 0 0,-1 0-1 0 0,1 1 1 0 0,-1-1-1 0 0,1 0 1 0 0,0 0 0 0 0,32 13 991 0 0,2-7-856 0 0,0-2-1 0 0,0-1 0 0 0,38-2 1 0 0,46-6-5905 0 0,-109 5 4825 0 0,34-8-6945 0 0,-42 7 7023 0 0</inkml:trace>
</inkml:ink>
</file>

<file path=ppt/ink/ink7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7:00.1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6 172 420 0 0,'11'-3'682'0'0,"0"-1"0"0"0,0-1-1 0 0,0 1 1 0 0,-1-2 0 0 0,0 0 0 0 0,0 0-1 0 0,0 0 1 0 0,-1-1 0 0 0,0-1 0 0 0,0 0 0 0 0,-1 0-1 0 0,0 0 1 0 0,-1-1 0 0 0,0 0 0 0 0,8-13-1 0 0,-14 21-623 0 0,-1 0-1 0 0,1-1 1 0 0,0 1-1 0 0,0 0 1 0 0,-1-1-1 0 0,1 1 1 0 0,-1-1-1 0 0,1 1 1 0 0,-1-1-1 0 0,0 0 1 0 0,0 1-1 0 0,1-1 1 0 0,-1 1-1 0 0,0-1 1 0 0,0 1-1 0 0,-1-1 1 0 0,1 0-1 0 0,0 1 1 0 0,0-1-1 0 0,-1-1 1 0 0,0 2-27 0 0,0 0 0 0 0,0 0 0 0 0,0-1 0 0 0,0 1 0 0 0,0 0 0 0 0,0 0 0 0 0,0 0 0 0 0,0 0 0 0 0,0 0 0 0 0,0 1 0 0 0,-1-1 0 0 0,1 0 0 0 0,0 1 1 0 0,-1-1-1 0 0,1 0 0 0 0,0 1 0 0 0,-3-1 0 0 0,-2 0 0 0 0,0 0 0 0 0,0 0 1 0 0,0 1-1 0 0,-1 0 0 0 0,1 0 1 0 0,0 0-1 0 0,0 1 0 0 0,0 0 1 0 0,-7 2-1 0 0,4-1 5 0 0,0 1 0 0 0,0 0 0 0 0,0 1-1 0 0,1 0 1 0 0,0 1 0 0 0,0-1 0 0 0,0 2 0 0 0,0-1 0 0 0,-9 10 0 0 0,13-12-18 0 0,1 0 0 0 0,0 1 0 0 0,0 0 1 0 0,1-1-1 0 0,-1 1 0 0 0,1 0 0 0 0,0 0 0 0 0,0 1 1 0 0,0-1-1 0 0,1 0 0 0 0,-1 1 0 0 0,1-1 0 0 0,0 1 1 0 0,0-1-1 0 0,1 1 0 0 0,-1-1 0 0 0,1 1 0 0 0,0 0 1 0 0,0-1-1 0 0,1 1 0 0 0,0 5 0 0 0,3 4 52 0 0,0-1 0 0 0,0 1 0 0 0,1-1-1 0 0,1 0 1 0 0,0 0 0 0 0,10 14-1 0 0,54 72 242 0 0,-56-81-256 0 0,10 13 9 0 0,-5-7 14 0 0,20 32-1 0 0,-35-50-58 0 0,0 1 0 0 0,-1-1-1 0 0,0 1 1 0 0,0 0 0 0 0,0 1 0 0 0,-1-1-1 0 0,0 0 1 0 0,0 1 0 0 0,-1-1-1 0 0,1 10 1 0 0,-3-15-13 0 0,1 1 0 0 0,0-1 0 0 0,-1 1 0 0 0,1-1 0 0 0,-1 1 0 0 0,0-1 0 0 0,0 1 0 0 0,0-1 0 0 0,0 0 0 0 0,-1 1 0 0 0,1-1 0 0 0,0 0 0 0 0,-1 0 0 0 0,0 0 0 0 0,1 0 0 0 0,-1 0 0 0 0,0 0 0 0 0,0-1 0 0 0,0 1 0 0 0,0 0 0 0 0,0-1 0 0 0,0 0 0 0 0,-1 1 0 0 0,1-1 0 0 0,0 0 0 0 0,-1 0 0 0 0,1-1 0 0 0,-6 2 0 0 0,1 0 3 0 0,-1 0-1 0 0,1-1 1 0 0,-1 0 0 0 0,1 0-1 0 0,-1-1 1 0 0,0 0 0 0 0,1 0-1 0 0,-13-3 1 0 0,10 1-50 0 0,1-1 0 0 0,0 0 0 0 0,0-1 0 0 0,0 0 0 0 0,0-1 0 0 0,0 0 0 0 0,1 0 0 0 0,0-1 0 0 0,0 1 0 0 0,1-2 0 0 0,0 1 0 0 0,0-1 0 0 0,0 0 0 0 0,1-1 0 0 0,-11-15 0 0 0,12 15-22 0 0,1 1 0 0 0,-1-1 0 0 0,2 0 0 0 0,-1-1 0 0 0,1 1 0 0 0,0 0 0 0 0,1-1 0 0 0,0 0 0 0 0,0 1 0 0 0,1-1 0 0 0,0 0 0 0 0,0 0 0 0 0,1 0 0 0 0,0 0 0 0 0,1 0 0 0 0,0 0 0 0 0,4-15 0 0 0,-5 23 53 0 0,1 0 0 0 0,-1 0-1 0 0,0 0 1 0 0,1-1 0 0 0,-1 1 0 0 0,1 0 0 0 0,0 0 0 0 0,-1 0-1 0 0,1 0 1 0 0,0 0 0 0 0,-1 0 0 0 0,1 0 0 0 0,0 0 0 0 0,0 0-1 0 0,0 0 1 0 0,2-1 0 0 0,-2 2 8 0 0,-1 0-1 0 0,1-1 1 0 0,0 1 0 0 0,-1 0-1 0 0,1 0 1 0 0,0 0 0 0 0,-1 0-1 0 0,1 0 1 0 0,0 0 0 0 0,-1 0-1 0 0,1 0 1 0 0,0 0 0 0 0,0 0-1 0 0,-1 0 1 0 0,1 1 0 0 0,0-1-1 0 0,-1 0 1 0 0,1 0 0 0 0,-1 1-1 0 0,1-1 1 0 0,1 1 0 0 0,0 0 25 0 0,-1 1 0 0 0,1 0 0 0 0,0-1 0 0 0,-1 1 0 0 0,1 0 0 0 0,-1 0 0 0 0,1 0 0 0 0,-1 0 0 0 0,0 0 0 0 0,0 0 0 0 0,0 0 0 0 0,0 0 0 0 0,0 0 0 0 0,0 0 0 0 0,0 5 0 0 0,0 8 74 0 0,0 0-1 0 0,-1 0 1 0 0,-1 0 0 0 0,0 0-1 0 0,-1 0 1 0 0,-1 0 0 0 0,0-1-1 0 0,-1 1 1 0 0,-1-1 0 0 0,0 0-1 0 0,-9 16 1 0 0,-7 11-919 0 0,-2-1 0 0 0,-36 48 0 0 0,56-84 155 0 0,-8 12-127 0 0</inkml:trace>
</inkml:ink>
</file>

<file path=ppt/ink/ink7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7:00.7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9 512 0 0,'6'-2'626'0'0,"-1"1"0"0"0,0-1 0 0 0,1 1 0 0 0,0 0 0 0 0,-1 1 0 0 0,1-1 0 0 0,-1 1-1 0 0,1 0 1 0 0,10 2 0 0 0,-13-2-373 0 0,0 1-1 0 0,0 0 1 0 0,0 0-1 0 0,0 0 1 0 0,-1 1-1 0 0,1-1 1 0 0,-1 1-1 0 0,1-1 1 0 0,-1 1-1 0 0,1 0 0 0 0,-1 0 1 0 0,0 0-1 0 0,0 0 1 0 0,0 0-1 0 0,0 1 1 0 0,0-1-1 0 0,-1 1 1 0 0,1-1-1 0 0,-1 1 1 0 0,3 5-1 0 0,1 6 551 0 0,0 0-1 0 0,-1 0 1 0 0,-1 1 0 0 0,0-1 0 0 0,1 27-1 0 0,-4 80 1837 0 0,-2-58-1741 0 0,-3 69 779 0 0,4-129-1260 0 0,1-5-461 0 0,-1-2 17 0 0,0-1 1 0 0,1 1-1 0 0,0 0 0 0 0,0-1 1 0 0,0 1-1 0 0,1-1 1 0 0,-1 1-1 0 0,1 0 0 0 0,0-1 1 0 0,0 1-1 0 0,1 0 0 0 0,-1 0 1 0 0,5-7-1 0 0,1-4-108 0 0,1 0 0 0 0,15-19 0 0 0,-20 29 98 0 0,1 0 1 0 0,0 0-1 0 0,0 0 0 0 0,0 1 0 0 0,1 0 1 0 0,-1 0-1 0 0,1 0 0 0 0,0 0 0 0 0,1 1 1 0 0,-1 0-1 0 0,0 0 0 0 0,9-3 0 0 0,-10 5 24 0 0,0 0-1 0 0,0 0 1 0 0,0 1-1 0 0,0-1 0 0 0,0 1 1 0 0,0 0-1 0 0,0 0 0 0 0,0 0 1 0 0,0 1-1 0 0,0 0 1 0 0,0-1-1 0 0,0 1 0 0 0,0 1 1 0 0,-1-1-1 0 0,1 1 0 0 0,0-1 1 0 0,-1 1-1 0 0,1 0 1 0 0,6 5-1 0 0,9 8-3 0 0,-1 1 0 0 0,0 1 1 0 0,-1 1-1 0 0,16 20 0 0 0,32 34 142 0 0,-56-63-96 0 0,0-1-1 0 0,0-1 0 0 0,1 0 1 0 0,0 0-1 0 0,20 10 0 0 0,-25-16-65 0 0,-1 0-1 0 0,1 0 1 0 0,-1 0-1 0 0,1 0 1 0 0,0 0-1 0 0,0-1 1 0 0,-1 0 0 0 0,1 0-1 0 0,0-1 1 0 0,-1 1-1 0 0,1-1 1 0 0,0 0-1 0 0,-1 0 1 0 0,1 0-1 0 0,-1-1 1 0 0,1 0-1 0 0,-1 0 1 0 0,0 0-1 0 0,5-3 1 0 0,0-2-151 0 0,0 0 1 0 0,-1-1-1 0 0,0 1 1 0 0,0-2-1 0 0,-1 1 1 0 0,0-1 0 0 0,0 0-1 0 0,-1 0 1 0 0,5-11-1 0 0,2-4-110 0 0,-2-1 0 0 0,13-42-1 0 0,-23 64 275 0 0,0 0-1 0 0,0 0 1 0 0,-1 0-1 0 0,1 0 1 0 0,-1 0-1 0 0,0 0 1 0 0,0-5-1 0 0,0 7 20 0 0,0 1-1 0 0,0-1 1 0 0,0 0-1 0 0,-1 0 1 0 0,1 0-1 0 0,0 1 1 0 0,-1-1-1 0 0,1 0 0 0 0,0 0 1 0 0,-1 1-1 0 0,1-1 1 0 0,-1 0-1 0 0,1 1 1 0 0,-1-1-1 0 0,1 0 1 0 0,-1 1-1 0 0,0-1 0 0 0,1 1 1 0 0,-1-1-1 0 0,0 1 1 0 0,1-1-1 0 0,-1 1 1 0 0,0-1-1 0 0,0 1 1 0 0,1 0-1 0 0,-1 0 0 0 0,-1-1 1 0 0,0 1 6 0 0,0 0 0 0 0,0-1 0 0 0,0 1-1 0 0,1 1 1 0 0,-1-1 0 0 0,0 0 0 0 0,0 0 0 0 0,0 1 0 0 0,1-1 0 0 0,-1 1 0 0 0,0-1 0 0 0,1 1-1 0 0,-1 0 1 0 0,0 0 0 0 0,1-1 0 0 0,-1 1 0 0 0,1 0 0 0 0,-1 1 0 0 0,1-1 0 0 0,0 0 0 0 0,-1 0-1 0 0,1 0 1 0 0,0 1 0 0 0,-2 2 0 0 0,1-1 52 0 0,-1 0-1 0 0,1 0 1 0 0,0 1-1 0 0,1-1 0 0 0,-1 1 1 0 0,1-1-1 0 0,-1 1 1 0 0,1-1-1 0 0,0 1 1 0 0,0 4-1 0 0,0-4 5 0 0,2 0 0 0 0,-1 0 0 0 0,0 0 0 0 0,1 0 0 0 0,0 0-1 0 0,0 0 1 0 0,0 0 0 0 0,0 0 0 0 0,1 0 0 0 0,-1 0 0 0 0,1 0-1 0 0,0-1 1 0 0,0 1 0 0 0,1-1 0 0 0,-1 1 0 0 0,1-1 0 0 0,0 0-1 0 0,-1 0 1 0 0,1 0 0 0 0,1 0 0 0 0,-1-1 0 0 0,0 1 0 0 0,1-1 0 0 0,4 3-1 0 0,-4-3-19 0 0,1 1-1 0 0,0-1 0 0 0,0 1 0 0 0,0-2 0 0 0,1 1 0 0 0,-1 0 1 0 0,0-1-1 0 0,1 0 0 0 0,-1 0 0 0 0,1-1 0 0 0,-1 0 0 0 0,1 0 1 0 0,-1 0-1 0 0,1 0 0 0 0,-1-1 0 0 0,1 0 0 0 0,7-2 0 0 0,-10 1-32 0 0,0 1 0 0 0,-1-1 0 0 0,1 0 0 0 0,0 0 0 0 0,-1 0 0 0 0,1 0 0 0 0,-1 0 0 0 0,0 0 0 0 0,0-1 0 0 0,0 1 0 0 0,0-1-1 0 0,0 0 1 0 0,0 1 0 0 0,-1-1 0 0 0,1 0 0 0 0,-1 0 0 0 0,2-6 0 0 0,0-1-23 0 0,0 0 0 0 0,-1 1-1 0 0,0-2 1 0 0,0-10 0 0 0,-2 18-92 0 0,1 1 0 0 0,-1-1 0 0 0,0 0 0 0 0,0 0 1 0 0,0 0-1 0 0,0 1 0 0 0,-1-1 0 0 0,1 0 0 0 0,-1 1 0 0 0,0-1 0 0 0,1 0 0 0 0,-1 1 0 0 0,0-1 0 0 0,-1 1 0 0 0,1-1 0 0 0,0 1 0 0 0,-1 0 0 0 0,1-1 1 0 0,-1 1-1 0 0,0 0 0 0 0,0 0 0 0 0,0 0 0 0 0,0 0 0 0 0,0 0 0 0 0,0 1 0 0 0,0-1 0 0 0,-1 1 0 0 0,1-1 0 0 0,-5-1 0 0 0,1 1-581 0 0,1 1-1 0 0,-1 0 1 0 0,1 0-1 0 0,-1 1 0 0 0,0-1 1 0 0,1 1-1 0 0,-1 1 1 0 0,0-1-1 0 0,1 1 1 0 0,-1 0-1 0 0,1 0 0 0 0,-1 0 1 0 0,-7 4-1 0 0,-2 0-3814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2.8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1 111 1304 0 0,'-1'-1'220'0'0,"-1"0"0"0"0,0 1-1 0 0,0-1 1 0 0,0 1 0 0 0,0 0 0 0 0,0 0 0 0 0,0-1-1 0 0,0 1 1 0 0,0 0 0 0 0,0 1 0 0 0,0-1-1 0 0,0 0 1 0 0,1 0 0 0 0,-1 1 0 0 0,0-1 0 0 0,-2 2-1 0 0,-1 0 112 0 0,0 0 0 0 0,1 1 0 0 0,-1 0 0 0 0,1-1 0 0 0,-8 8 0 0 0,2-1 78 0 0,1 0 0 0 0,0 1 1 0 0,0 0-1 0 0,-7 14 0 0 0,12-18-250 0 0,0 0 0 0 0,1 1 0 0 0,0-1 0 0 0,0 1 0 0 0,0 0 0 0 0,1 0 0 0 0,0 0-1 0 0,0 0 1 0 0,1 0 0 0 0,0 0 0 0 0,0 1 0 0 0,1-1 0 0 0,0 0 0 0 0,1 9 0 0 0,0-10-82 0 0,0-1 0 0 0,1 1 0 0 0,-1 0 1 0 0,1-1-1 0 0,0 1 0 0 0,1-1 0 0 0,-1 0 0 0 0,1 0 1 0 0,0 0-1 0 0,0 0 0 0 0,1 0 0 0 0,0-1 0 0 0,-1 1 1 0 0,2-1-1 0 0,-1 0 0 0 0,0 0 0 0 0,1 0 0 0 0,5 2 1 0 0,-4-2 6 0 0,0 0 1 0 0,1-1-1 0 0,-1 0 1 0 0,1 0-1 0 0,0-1 1 0 0,0 1-1 0 0,0-2 1 0 0,0 1-1 0 0,1-1 1 0 0,-1 0-1 0 0,0 0 1 0 0,0-1-1 0 0,13-1 1 0 0,-15 1-44 0 0,-1-1 0 0 0,1 0-1 0 0,-1 0 1 0 0,0 0 0 0 0,1-1 0 0 0,-1 0 0 0 0,0 1 0 0 0,0-1 0 0 0,0-1 0 0 0,0 1 0 0 0,-1 0 0 0 0,1-1-1 0 0,0 0 1 0 0,-1 0 0 0 0,0 0 0 0 0,0 0 0 0 0,0-1 0 0 0,0 1 0 0 0,0-1 0 0 0,-1 1 0 0 0,0-1 0 0 0,1 0-1 0 0,2-8 1 0 0,-2 3-22 0 0,0-1 0 0 0,-1 0 0 0 0,0 0 0 0 0,0 0 0 0 0,-1 0-1 0 0,0-1 1 0 0,-1 1 0 0 0,0 0 0 0 0,-1-1 0 0 0,0 1 0 0 0,0 0-1 0 0,-1 0 1 0 0,-5-14 0 0 0,3 11-215 0 0,-1-1 1 0 0,-1 1-1 0 0,0 1 0 0 0,-1-1 1 0 0,-1 1-1 0 0,0 0 0 0 0,0 1 0 0 0,-1 0 1 0 0,-12-12-1 0 0,-26-27-5018 0 0,47 49 5131 0 0,0 1 1 0 0,0-1-1 0 0,0 1 0 0 0,0-1 0 0 0,0 1 1 0 0,0 0-1 0 0,0-1 0 0 0,0 1 1 0 0,0-1-1 0 0,0 1 0 0 0,1-1 0 0 0,-1 1 1 0 0,0-1-1 0 0,0 1 0 0 0,0 0 1 0 0,1-1-1 0 0,-1 1 0 0 0,0 0 0 0 0,1-1 1 0 0,-1 1-1 0 0,0 0 0 0 0,1-1 1 0 0,-1 1-1 0 0,0 0 0 0 0,1-1 0 0 0,-1 1 1 0 0,0 0-1 0 0,1 0 0 0 0,-1 0 1 0 0,1-1-1 0 0,-1 1 0 0 0,1 0 0 0 0,0 0 1 0 0,12-6-1411 0 0,1 1 22 0 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4.5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 23 20 0 0,'-2'-22'12082'0'0,"0"27"-11894"0"0,1-1-1 0 0,0 1 0 0 0,0 0 1 0 0,0-1-1 0 0,1 1 0 0 0,0 0 1 0 0,0 0-1 0 0,0 5 0 0 0,7 44 302 0 0,-5-41-330 0 0,36 154 525 0 0,-1-14-4048 0 0,-27-95-1612 0 0,-14-40 600 0 0</inkml:trace>
</inkml:ink>
</file>

<file path=ppt/ink/ink8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7:01.6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81 996 0 0,'14'-19'11070'0'0,"-15"34"-10093"0"0,0 12-56 0 0,3-15-750 0 0,0 0-1 0 0,1 0 1 0 0,0 0-1 0 0,1 0 1 0 0,1-1 0 0 0,-1 1-1 0 0,2-1 1 0 0,0 0-1 0 0,0-1 1 0 0,1 1 0 0 0,0-1-1 0 0,0-1 1 0 0,2 1-1 0 0,-1-1 1 0 0,20 16 0 0 0,-27-24-191 0 0,1-1 1 0 0,0 1 0 0 0,0 0 0 0 0,0 0 0 0 0,0-1 0 0 0,0 1 0 0 0,-1-1 0 0 0,1 0 0 0 0,0 1 0 0 0,0-1 0 0 0,0 0 0 0 0,0 0 0 0 0,0 0 0 0 0,0-1 0 0 0,0 1 0 0 0,0 0-1 0 0,0-1 1 0 0,0 1 0 0 0,3-2 0 0 0,-1 1-119 0 0,0-1 0 0 0,1 0-1 0 0,-1 0 1 0 0,0-1-1 0 0,0 1 1 0 0,0-1 0 0 0,4-3-1 0 0,1-3-81 0 0,-1-1 0 0 0,0 0 0 0 0,-1-1 0 0 0,0 1 0 0 0,0-1 0 0 0,5-14 0 0 0,-11 23 872 0 0,2 20 102 0 0,-2-12-637 0 0,1 0-1 0 0,0 0 0 0 0,0-1 0 0 0,0 1 0 0 0,1-1 1 0 0,0 1-1 0 0,0-1 0 0 0,0 0 0 0 0,1 0 0 0 0,-1-1 1 0 0,1 1-1 0 0,0-1 0 0 0,1 0 0 0 0,-1 0 0 0 0,1 0 1 0 0,0 0-1 0 0,0-1 0 0 0,0 0 0 0 0,0 0 0 0 0,11 4 1 0 0,-9-4-82 0 0,0 0 0 0 0,1-1 0 0 0,0 0 0 0 0,0-1 0 0 0,-1 0 0 0 0,1 0 0 0 0,0-1 0 0 0,0 1 0 0 0,0-2 0 0 0,0 1 0 0 0,10-3 0 0 0,-12 1-98 0 0,1 1 0 0 0,-1-2 0 0 0,0 1 1 0 0,0-1-1 0 0,-1 0 0 0 0,1 0 0 0 0,-1 0 1 0 0,1-1-1 0 0,-1 0 0 0 0,0 0 0 0 0,-1-1 0 0 0,1 1 1 0 0,-1-1-1 0 0,7-8 0 0 0,-1-2-182 0 0,-1-1-1 0 0,0 0 1 0 0,-1-1 0 0 0,-1 1-1 0 0,0-1 1 0 0,6-26 0 0 0,16-110-303 0 0,-26 131 626 0 0,-1 0 0 0 0,-1 0 0 0 0,-2-40 0 0 0,1 61-64 0 0,-1 0-1 0 0,1 0 1 0 0,0-1-1 0 0,0 1 1 0 0,0 0-1 0 0,0 0 1 0 0,-1 0 0 0 0,1 0-1 0 0,-1 0 1 0 0,1 0-1 0 0,-1 0 1 0 0,1 0-1 0 0,-1 0 1 0 0,0 0-1 0 0,1 0 1 0 0,-1 0-1 0 0,0 0 1 0 0,0 0-1 0 0,1 0 1 0 0,-1 0-1 0 0,-2-1 1 0 0,2 2 7 0 0,0 0 1 0 0,0 0 0 0 0,-1-1 0 0 0,1 1-1 0 0,0 0 1 0 0,0 0 0 0 0,0 0 0 0 0,0 0-1 0 0,0 0 1 0 0,-1 1 0 0 0,1-1-1 0 0,0 0 1 0 0,0 0 0 0 0,0 1 0 0 0,0-1-1 0 0,0 1 1 0 0,-2 0 0 0 0,-3 3 88 0 0,1-1 0 0 0,-1 1 1 0 0,1 0-1 0 0,0 0 0 0 0,0 1 1 0 0,-4 4-1 0 0,-1 5 43 0 0,0-1 1 0 0,1 1-1 0 0,0 1 0 0 0,1-1 0 0 0,1 1 0 0 0,1 1 0 0 0,0 0 1 0 0,0-1-1 0 0,2 2 0 0 0,0-1 0 0 0,1 0 0 0 0,1 1 1 0 0,0-1-1 0 0,1 1 0 0 0,3 33 0 0 0,-1-35-98 0 0,1 0 1 0 0,0 1-1 0 0,1-1 0 0 0,1 0 1 0 0,0-1-1 0 0,2 1 0 0 0,-1-1 1 0 0,2 1-1 0 0,0-2 0 0 0,0 1 1 0 0,1-1-1 0 0,1 0 0 0 0,0-1 1 0 0,1 0-1 0 0,0 0 0 0 0,1-1 1 0 0,17 13-1 0 0,-23-20-118 0 0,1 0 0 0 0,0 0 1 0 0,0-1-1 0 0,0 0 0 0 0,0 0 0 0 0,1 0 0 0 0,-1-1 0 0 0,1 0 1 0 0,0 0-1 0 0,0-1 0 0 0,-1 0 0 0 0,11 1 0 0 0,-12-2-78 0 0,1-1 0 0 0,-1 1-1 0 0,1-1 1 0 0,-1 0-1 0 0,1 0 1 0 0,-1-1 0 0 0,0 1-1 0 0,1-1 1 0 0,-1 0-1 0 0,0-1 1 0 0,0 1 0 0 0,-1-1-1 0 0,1 0 1 0 0,0 0 0 0 0,-1-1-1 0 0,5-3 1 0 0,3-6-207 0 0,0-1 0 0 0,0 0 0 0 0,-1-1 0 0 0,-1 0 0 0 0,11-21 0 0 0,36-86-646 0 0,-44 93 819 0 0,25-65-80 0 0,-16 36 1113 0 0,45-81 0 0 0,-65 136-789 0 0,0 0 0 0 0,0 0 1 0 0,0 0-1 0 0,0 0 0 0 0,0 0 1 0 0,1 0-1 0 0,-1 1 0 0 0,1-1 1 0 0,0 1-1 0 0,2-3 0 0 0,-4 5-33 0 0,0 0 0 0 0,0 0 0 0 0,0 0 0 0 0,-1 0 0 0 0,1 0-1 0 0,0 0 1 0 0,0 0 0 0 0,0 0 0 0 0,-1 0 0 0 0,1 0 0 0 0,0 0-1 0 0,0 0 1 0 0,0 0 0 0 0,-1 0 0 0 0,1 1 0 0 0,0-1 0 0 0,0 0-1 0 0,-1 1 1 0 0,1-1 0 0 0,0 1 0 0 0,-1-1 0 0 0,1 1 0 0 0,0-1-1 0 0,-1 1 1 0 0,1-1 0 0 0,-1 1 0 0 0,1-1 0 0 0,-1 1 0 0 0,1 0-1 0 0,0 0 1 0 0,12 22 628 0 0,-9-9-447 0 0,0 1 0 0 0,0 0 0 0 0,-2 1 0 0 0,0-1 0 0 0,0 26 0 0 0,-2-12-23 0 0,-2 1 0 0 0,-6 30 0 0 0,4-36-95 0 0,-2 1 0 0 0,0-1 0 0 0,-2 0-1 0 0,-1 0 1 0 0,-1-1 0 0 0,-13 24-1 0 0,15-34-68 0 0,0 0-1 0 0,-1-1 1 0 0,0 0 0 0 0,0 0-1 0 0,-2-1 1 0 0,1 0-1 0 0,-2-1 1 0 0,1 0-1 0 0,-1-1 1 0 0,-1 0-1 0 0,-18 9 1 0 0,27-16-87 0 0,0 0 0 0 0,1-1 1 0 0,-1 0-1 0 0,0 0 0 0 0,0 0 0 0 0,0 0 1 0 0,0-1-1 0 0,-6 1 0 0 0,9-1 31 0 0,-1 0-1 0 0,1 0 0 0 0,-1 0 0 0 0,1 0 1 0 0,0-1-1 0 0,-1 1 0 0 0,1 0 1 0 0,0-1-1 0 0,-1 1 0 0 0,1 0 1 0 0,0-1-1 0 0,-1 0 0 0 0,1 1 0 0 0,0-1 1 0 0,0 0-1 0 0,0 0 0 0 0,-1 1 1 0 0,1-1-1 0 0,0 0 0 0 0,0 0 1 0 0,0 0-1 0 0,1-1 0 0 0,-1 1 0 0 0,-1-2 1 0 0,1 2 5 0 0,1-1 0 0 0,-1 0 1 0 0,1 0-1 0 0,0 0 0 0 0,-1 0 0 0 0,1 1 1 0 0,0-1-1 0 0,0 0 0 0 0,0 0 1 0 0,0 0-1 0 0,1 0 0 0 0,-1 0 0 0 0,1 0 1 0 0,-1 1-1 0 0,1-1 0 0 0,-1 0 0 0 0,1 0 1 0 0,0 1-1 0 0,0-1 0 0 0,0 0 1 0 0,0 1-1 0 0,0-1 0 0 0,0 1 0 0 0,0-1 1 0 0,1 1-1 0 0,-1 0 0 0 0,0-1 0 0 0,1 1 1 0 0,-1 0-1 0 0,1 0 0 0 0,1-1 1 0 0,6-4-27 0 0,0 1 0 0 0,0 0 1 0 0,19-8-1 0 0,-16 9-37 0 0,0 1 0 0 0,0 0 0 0 0,0 0 0 0 0,0 1-1 0 0,0 1 1 0 0,0 0 0 0 0,1 0 0 0 0,-1 1 0 0 0,0 1 0 0 0,1 0-1 0 0,-1 1 1 0 0,0 0 0 0 0,15 6 0 0 0,7 3-1513 0 0,0 2-1 0 0,-1 1 1 0 0,38 24-1 0 0,-37-19-3057 0 0,-19-11 914 0 0</inkml:trace>
</inkml:ink>
</file>

<file path=ppt/ink/ink8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7:02.4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1 80 184 0 0,'-1'-6'670'0'0,"-1"1"-1"0"0,0 0 1 0 0,0-1-1 0 0,-1 1 1 0 0,1 0 0 0 0,-1 1-1 0 0,0-1 1 0 0,-1 0-1 0 0,1 1 1 0 0,-1 0 0 0 0,0-1-1 0 0,0 1 1 0 0,0 1-1 0 0,0-1 1 0 0,-9-4 0 0 0,11 6-132 0 0,-5 9 88 0 0,6-6-568 0 0,0-1 0 0 0,0 1 0 0 0,0 0 0 0 0,1 0 1 0 0,-1 0-1 0 0,0-1 0 0 0,0 1 0 0 0,1 0 0 0 0,-1 0 0 0 0,0 0 0 0 0,1 0 0 0 0,-1 1 1 0 0,1-1-1 0 0,-1 0 0 0 0,1 0 0 0 0,0 0 0 0 0,-1 0 0 0 0,1 0 0 0 0,0 1 0 0 0,0-1 0 0 0,0 0 1 0 0,0 0-1 0 0,0 0 0 0 0,0 1 0 0 0,0-1 0 0 0,0 0 0 0 0,1 2 0 0 0,4 18 230 0 0,1-1 0 0 0,0 0 0 0 0,2 0 0 0 0,0-1 0 0 0,2 0 0 0 0,18 29 0 0 0,7 17 144 0 0,-21-37-269 0 0,2 3 49 0 0,17 46 1 0 0,-30-68-179 0 0,-1-1 1 0 0,0 1-1 0 0,0 0 0 0 0,0-1 0 0 0,-1 1 0 0 0,0 0 1 0 0,-1 0-1 0 0,0 0 0 0 0,-1 0 0 0 0,-2 15 1 0 0,3-21-26 0 0,-1 0 0 0 0,0 0 1 0 0,0 0-1 0 0,0 0 1 0 0,0 0-1 0 0,-1 0 0 0 0,1 0 1 0 0,-1-1-1 0 0,1 1 1 0 0,-1-1-1 0 0,0 1 0 0 0,0-1 1 0 0,0 1-1 0 0,0-1 1 0 0,-1 0-1 0 0,1 0 0 0 0,0 0 1 0 0,-1 0-1 0 0,0-1 1 0 0,1 1-1 0 0,-1-1 0 0 0,0 0 1 0 0,0 1-1 0 0,0-1 1 0 0,0 0-1 0 0,0-1 0 0 0,0 1 1 0 0,-5 0-1 0 0,4-1-79 0 0,0 0 0 0 0,0 0-1 0 0,0 0 1 0 0,0-1 0 0 0,0 0-1 0 0,1 1 1 0 0,-1-1 0 0 0,0-1-1 0 0,0 1 1 0 0,0-1 0 0 0,1 1 0 0 0,-1-1-1 0 0,1 0 1 0 0,0 0 0 0 0,-1-1-1 0 0,1 1 1 0 0,0-1 0 0 0,0 1-1 0 0,0-1 1 0 0,1 0 0 0 0,-5-6-1 0 0,3 3-104 0 0,0-1 0 0 0,0 0 0 0 0,1 0 0 0 0,0 0 0 0 0,0 0 0 0 0,1 0 0 0 0,0-1 0 0 0,-2-10 0 0 0,2-5-318 0 0,-1-33 1 0 0,1 0-71 0 0,-2 40 328 0 0,4 16 234 0 0,0 0-1 0 0,0 0 1 0 0,0-1-1 0 0,0 1 1 0 0,0 0-1 0 0,0 0 1 0 0,0 0-1 0 0,-1 0 1 0 0,1 0-1 0 0,0-1 1 0 0,0 1-1 0 0,0 0 1 0 0,0 0-1 0 0,0 0 1 0 0,-1 0-1 0 0,1 0 1 0 0,0 0-1 0 0,0 0 1 0 0,0 0-1 0 0,0 0 1 0 0,-1 0-1 0 0,1-1 1 0 0,0 1-1 0 0,0 0 1 0 0,0 0 0 0 0,-1 0-1 0 0,1 0 1 0 0,0 0-1 0 0,0 0 1 0 0,0 0-1 0 0,0 0 1 0 0,-1 0-1 0 0,1 1 1 0 0,0-1-1 0 0,0 0 1 0 0,0 0-1 0 0,-1 0 1 0 0,-1 2 31 0 0,1-1 0 0 0,-1 1 0 0 0,0 0 0 0 0,0 0 0 0 0,1 0 0 0 0,0 1 0 0 0,-1-1 0 0 0,1 0 0 0 0,-1 3 0 0 0,-89 152-455 0 0,89-147-705 0 0,23-14-7624 0 0</inkml:trace>
</inkml:ink>
</file>

<file path=ppt/ink/ink8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7:04.7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1 251 2060 0 0,'-3'15'3924'0'0,"-6"14"-1888"0"0,1 0 1 0 0,2 0-1 0 0,-5 41 1 0 0,8-48-1264 0 0,-18 184 3005 0 0,14-125-2823 0 0,6-74-804 0 0,-1 5 552 0 0,4-11-454 0 0,2-7-268 0 0,3-6-76 0 0,-1-1 0 0 0,-1 0 0 0 0,7-26 0 0 0,3-8-110 0 0,26-42-35 0 0,-36 79 200 0 0,1 0 1 0 0,0 1-1 0 0,1 0 1 0 0,0 0-1 0 0,1 0 1 0 0,11-11-1 0 0,-17 19 34 0 0,-1 0-1 0 0,1-1 1 0 0,-1 1-1 0 0,1 0 0 0 0,0 0 1 0 0,-1 0-1 0 0,1 0 0 0 0,0 0 1 0 0,0 1-1 0 0,0-1 1 0 0,0 0-1 0 0,0 1 0 0 0,-1 0 1 0 0,1-1-1 0 0,0 1 0 0 0,0 0 1 0 0,0 0-1 0 0,0 0 0 0 0,0 0 1 0 0,0 0-1 0 0,2 1 1 0 0,-1 0 2 0 0,-1 0 1 0 0,0 0 0 0 0,1 0 0 0 0,-1 0 0 0 0,0 1 0 0 0,0-1 0 0 0,0 1 0 0 0,0 0 0 0 0,0 0 0 0 0,0-1 0 0 0,-1 1 0 0 0,1 0 0 0 0,-1 1 0 0 0,2 1 0 0 0,3 6 76 0 0,-1 1 0 0 0,0 0 0 0 0,0 0 0 0 0,-2 1 0 0 0,5 18-1 0 0,-5-14 241 0 0,-1 1-1 0 0,0 1 0 0 0,-2-1 0 0 0,0 0 0 0 0,0 0 0 0 0,-7 30 0 0 0,7-46-247 0 0,0 0 0 0 0,0 1 1 0 0,-1-1-1 0 0,1 0 0 0 0,0 0 1 0 0,-1 0-1 0 0,1 1 1 0 0,-1-1-1 0 0,0 0 0 0 0,1 0 1 0 0,-1 0-1 0 0,0 0 0 0 0,0 0 1 0 0,1 0-1 0 0,-2 1 0 0 0,1-2-40 0 0,1 0 0 0 0,-1 0 0 0 0,1 1 0 0 0,0-1 0 0 0,-1 0 0 0 0,1 0 0 0 0,-1 0 0 0 0,1 1 0 0 0,-1-1 0 0 0,1 0 0 0 0,0 0 0 0 0,-1 0 0 0 0,1 0 0 0 0,-1 0 0 0 0,1 0 0 0 0,-1 0 0 0 0,1 0 0 0 0,-1 0 0 0 0,1 0 0 0 0,-1 0 0 0 0,1 0 0 0 0,0 0 0 0 0,-1-1 0 0 0,1 1 0 0 0,-1 0 0 0 0,1 0 0 0 0,-1-1 0 0 0,0 0-22 0 0,1 0-1 0 0,-1 0 1 0 0,1 0 0 0 0,0 0-1 0 0,0 0 1 0 0,-1 0 0 0 0,1 0-1 0 0,0 0 1 0 0,0 0-1 0 0,0 0 1 0 0,0-1 0 0 0,0 1-1 0 0,0 0 1 0 0,0 0-1 0 0,0 0 1 0 0,1 0 0 0 0,0-2-1 0 0,-1 3 0 0 0,1-11-35 0 0,1 1 0 0 0,0-1 0 0 0,1 1 0 0 0,0 0 0 0 0,1 0 0 0 0,0 0 0 0 0,1 0 0 0 0,6-9 0 0 0,-7 13-28 0 0,-1 0 0 0 0,2 0 0 0 0,-1 1 0 0 0,1-1 0 0 0,0 1 0 0 0,0 1 0 0 0,0-1 0 0 0,1 1 0 0 0,-1-1 0 0 0,1 2 0 0 0,0-1 0 0 0,11-4 0 0 0,-14 7 43 0 0,0 1 0 0 0,0-1 0 0 0,0 1 1 0 0,1-1-1 0 0,-1 1 0 0 0,0 1 0 0 0,0-1 1 0 0,0 0-1 0 0,0 1 0 0 0,1-1 0 0 0,5 3 1 0 0,31 13-62 0 0,38 33 25 0 0,-55-33 65 0 0,2-1-1 0 0,50 24 1 0 0,-66-36-46 0 0,0 0 1 0 0,0 0-1 0 0,0-1 0 0 0,0 0 1 0 0,1 0-1 0 0,-1-1 1 0 0,1-1-1 0 0,-1 0 1 0 0,1 0-1 0 0,-1 0 0 0 0,1-1 1 0 0,-1-1-1 0 0,10-2 1 0 0,-10 1-83 0 0,0-1-1 0 0,1 1 1 0 0,-2-2 0 0 0,1 1 0 0 0,0-1 0 0 0,-1-1 0 0 0,0 1-1 0 0,0-1 1 0 0,-1-1 0 0 0,1 1 0 0 0,-1-1 0 0 0,-1-1 0 0 0,9-11-1 0 0,-8 9 16 0 0,0-1 0 0 0,0-1-1 0 0,-1 1 1 0 0,-1-1 0 0 0,0 0-1 0 0,0 0 1 0 0,-1 0 0 0 0,-1-1-1 0 0,3-24 1 0 0,-5 35 93 0 0,-1-1-1 0 0,1 0 0 0 0,-1 1 1 0 0,0-1-1 0 0,0 0 1 0 0,0 0-1 0 0,-1 1 0 0 0,1-1 1 0 0,-1 0-1 0 0,1 0 1 0 0,-1 1-1 0 0,0-1 1 0 0,0 1-1 0 0,0-1 0 0 0,0 1 1 0 0,0-1-1 0 0,-1 1 1 0 0,1 0-1 0 0,-1-1 0 0 0,0 1 1 0 0,0 0-1 0 0,1 0 1 0 0,-1 0-1 0 0,0 0 1 0 0,-1 1-1 0 0,1-1 0 0 0,0 0 1 0 0,0 1-1 0 0,-1 0 1 0 0,1-1-1 0 0,-1 1 0 0 0,1 0 1 0 0,-1 0-1 0 0,0 1 1 0 0,1-1-1 0 0,-5 0 0 0 0,-3 0 3 0 0,1 0 0 0 0,0 1 0 0 0,-1 0 0 0 0,1 0 0 0 0,0 1 0 0 0,0 0-1 0 0,-1 1 1 0 0,1 0 0 0 0,-12 5 0 0 0,19-7 11 0 0,1 1-1 0 0,-1 0 1 0 0,0-1-1 0 0,1 1 1 0 0,-1 0 0 0 0,1 0-1 0 0,0 0 1 0 0,-1 0-1 0 0,1 0 1 0 0,0 1 0 0 0,0-1-1 0 0,-1 0 1 0 0,1 1 0 0 0,-1 1-1 0 0,2-2-1 0 0,-1 0-1 0 0,1-1 1 0 0,-1 1-1 0 0,1 0 1 0 0,0 0 0 0 0,0 0-1 0 0,0 0 1 0 0,0-1-1 0 0,-1 1 1 0 0,1 0 0 0 0,0 0-1 0 0,0 0 1 0 0,0 0-1 0 0,1-1 1 0 0,-1 1 0 0 0,0 0-1 0 0,0 0 1 0 0,0 0-1 0 0,1-1 1 0 0,-1 1 0 0 0,0 0-1 0 0,1 0 1 0 0,-1 0-1 0 0,0-1 1 0 0,1 1 0 0 0,-1 0-1 0 0,2 0 1 0 0,-1 0-37 0 0,0 0 0 0 0,0-1 0 0 0,0 1 0 0 0,0-1 0 0 0,0 1 0 0 0,0-1 0 0 0,0 1 0 0 0,0-1 1 0 0,0 0-1 0 0,0 1 0 0 0,1-1 0 0 0,-1 0 0 0 0,0 0 0 0 0,0 0 0 0 0,0 0 0 0 0,0 0 0 0 0,2 0 0 0 0,26-5-952 0 0,-21 3 727 0 0,-5 2 237 0 0,26-5-655 0 0,-28 5 658 0 0,1 0-1 0 0,-1 0 0 0 0,0 0 0 0 0,0 0 1 0 0,0 0-1 0 0,1 0 0 0 0,-1 1 1 0 0,0-1-1 0 0,0 0 0 0 0,0 1 0 0 0,0-1 1 0 0,0 0-1 0 0,0 1 0 0 0,1-1 1 0 0,-1 1-1 0 0,0 0 0 0 0,0-1 0 0 0,-1 1 1 0 0,1 0-1 0 0,0 0 0 0 0,0-1 1 0 0,0 1-1 0 0,0 0 0 0 0,-1 0 0 0 0,2 2 1 0 0,9 27 300 0 0,-9-24-149 0 0,0 0 0 0 0,0 1 0 0 0,0-1-1 0 0,1 0 1 0 0,0 0 0 0 0,0-1 0 0 0,1 1-1 0 0,-1 0 1 0 0,1-1 0 0 0,0 0-1 0 0,1 0 1 0 0,-1 0 0 0 0,11 7 0 0 0,-9-8-88 0 0,1 0 0 0 0,0 0 0 0 0,0-1 0 0 0,0 0 0 0 0,0 0 0 0 0,1-1 0 0 0,-1 0 0 0 0,1 0 0 0 0,0-1 0 0 0,-1 0 0 0 0,1 0 0 0 0,0-1 0 0 0,0 0 0 0 0,-1 0 0 0 0,1-1 0 0 0,0 1 0 0 0,-1-2 0 0 0,1 1 0 0 0,14-6 0 0 0,-11 3-88 0 0,-1-1 0 0 0,1 0 0 0 0,-1-1 0 0 0,0 1 0 0 0,-1-2 0 0 0,1 1 1 0 0,-1-2-1 0 0,-1 1 0 0 0,1-1 0 0 0,-1 0 0 0 0,-1-1 0 0 0,14-18 0 0 0,-5-2-15 0 0,0-1-1 0 0,-2-1 0 0 0,-1 0 1 0 0,-2-1-1 0 0,-1 0 0 0 0,-1-1 1 0 0,4-35-1 0 0,-11 30 152 0 0,-2 36-87 0 0,0 0 0 0 0,-1 1 1 0 0,1-1-1 0 0,-1 0 0 0 0,1 1 1 0 0,-1-1-1 0 0,1 0 0 0 0,-1 1 1 0 0,0-1-1 0 0,0 1 0 0 0,0-1 1 0 0,0 1-1 0 0,0-1 0 0 0,0 1 1 0 0,0 0-1 0 0,-1 0 0 0 0,-1-2 1 0 0,2 2 3 0 0,-1 1 1 0 0,0 0-1 0 0,1 0 1 0 0,-1 0 0 0 0,1 0-1 0 0,-1 0 1 0 0,1 0-1 0 0,-1 1 1 0 0,1-1 0 0 0,-1 0-1 0 0,1 1 1 0 0,-1-1-1 0 0,1 1 1 0 0,-1-1 0 0 0,1 1-1 0 0,0 0 1 0 0,-1 0 0 0 0,1 0-1 0 0,0 0 1 0 0,-3 2-1 0 0,0 0 47 0 0,-1 1-1 0 0,1 1 0 0 0,0-1 1 0 0,0 1-1 0 0,1-1 0 0 0,-1 1 1 0 0,1 0-1 0 0,0 0 0 0 0,0 1 1 0 0,1-1-1 0 0,-1 1 0 0 0,1-1 1 0 0,0 1-1 0 0,1 0 0 0 0,0 0 1 0 0,0-1-1 0 0,0 1 0 0 0,0 0 1 0 0,1 0-1 0 0,0 0 0 0 0,0 0 1 0 0,1 0-1 0 0,-1 0 0 0 0,1 0 1 0 0,3 9-1 0 0,-1-5 15 0 0,0 1 0 0 0,1-1 1 0 0,0 0-1 0 0,1 0 0 0 0,0 0 0 0 0,0 0 0 0 0,1-1 0 0 0,0 0 0 0 0,1 0 1 0 0,0-1-1 0 0,0 0 0 0 0,1 0 0 0 0,10 9 0 0 0,-7-10-38 0 0,-1 0 0 0 0,1 0 0 0 0,1-1 1 0 0,-1 0-1 0 0,1-1 0 0 0,0-1 0 0 0,0 1 0 0 0,0-2 0 0 0,1 0 0 0 0,-1 0 0 0 0,25 1 0 0 0,-28-4-102 0 0,0-1 0 0 0,0 1 0 0 0,0-1 1 0 0,0-1-1 0 0,0 1 0 0 0,0-2 0 0 0,0 1 0 0 0,-1-1 0 0 0,1-1 0 0 0,-1 1 0 0 0,0-1 0 0 0,0-1 0 0 0,0 0 0 0 0,0 0 1 0 0,-1 0-1 0 0,0-1 0 0 0,9-9 0 0 0,0-2-257 0 0,-1-2 1 0 0,-1 0-1 0 0,-1 0 0 0 0,12-23 1 0 0,-3 0-208 0 0,16-46 0 0 0,-37 84 506 0 0,6-13-91 0 0,-1 0 1 0 0,6-26-1 0 0,-11 39 118 0 0,-1 0 0 0 0,1 1 1 0 0,-1-1-1 0 0,1 1 0 0 0,-1-1 0 0 0,0 1 0 0 0,-1-1 1 0 0,1 0-1 0 0,-1 1 0 0 0,1-1 0 0 0,-1 1 1 0 0,0-1-1 0 0,0 1 0 0 0,0-1 0 0 0,-1 1 1 0 0,0 0-1 0 0,1 0 0 0 0,-5-6 0 0 0,5 9 24 0 0,0-1-1 0 0,0 1 1 0 0,0-1 0 0 0,0 1-1 0 0,0 0 1 0 0,0-1 0 0 0,0 1-1 0 0,0 0 1 0 0,-1 0-1 0 0,1 0 1 0 0,0 0 0 0 0,0 0-1 0 0,0 0 1 0 0,0 0 0 0 0,-1 0-1 0 0,1 0 1 0 0,0 1-1 0 0,-1-1 1 0 0,0 1 35 0 0,-2 0 12 0 0,0 0 1 0 0,0 0-1 0 0,-1 1 0 0 0,1-1 1 0 0,1 1-1 0 0,-1 0 0 0 0,0 1 0 0 0,0-1 1 0 0,1 0-1 0 0,-1 1 0 0 0,1 0 0 0 0,0 0 1 0 0,0 0-1 0 0,-3 4 0 0 0,-6 7 284 0 0,-17 31 0 0 0,26-40-288 0 0,-8 14 146 0 0,1 1-1 0 0,0 0 1 0 0,2 1-1 0 0,1 0 0 0 0,0 0 1 0 0,2 0-1 0 0,0 1 1 0 0,1 0-1 0 0,2 0 0 0 0,0 0 1 0 0,1 1-1 0 0,4 36 1 0 0,0-25-472 0 0,3 0 0 0 0,16 59 0 0 0,-9-51-3553 0 0,33 69 0 0 0,-38-99-485 0 0</inkml:trace>
</inkml:ink>
</file>

<file path=ppt/ink/ink8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7:07.0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6 112 80 0 0,'-4'-9'1145'0'0,"-3"-12"760"0"0,-2 1 0 0 0,0 1 0 0 0,-16-23 809 0 0,24 50-1832 0 0,1 1-616 0 0,0 1 0 0 0,1-1 0 0 0,0 0 1 0 0,1 0-1 0 0,3 11 0 0 0,1 6 172 0 0,7 69 687 0 0,-4 0 0 0 0,-5 126 0 0 0,-4-210-1083 0 0,0-2 97 0 0,0 0-1 0 0,0-1 1 0 0,1 1-1 0 0,0 0 1 0 0,3 10-1 0 0,-3-17-105 0 0,0 1 0 0 0,0-1 0 0 0,0 1 0 0 0,0-1-1 0 0,1 0 1 0 0,-1 0 0 0 0,1 1 0 0 0,-1-1 0 0 0,1 0 0 0 0,0 0-1 0 0,0 0 1 0 0,0-1 0 0 0,0 1 0 0 0,0 0 0 0 0,0-1 0 0 0,1 1-1 0 0,-1-1 1 0 0,0 0 0 0 0,1 0 0 0 0,-1 0 0 0 0,4 1 0 0 0,11 2-19 0 0,0-1 0 0 0,0 0 1 0 0,0-1-1 0 0,0-1 1 0 0,0 0-1 0 0,0-2 1 0 0,1 0-1 0 0,27-6 0 0 0,10-4-420 0 0,69-25 0 0 0,-84 23 122 0 0,-1-2-1 0 0,45-25 1 0 0,-61 28 128 0 0,-1-2 1 0 0,0-1 0 0 0,-1 0-1 0 0,34-33 1 0 0,-52 44 128 0 0,1 0 0 0 0,-1 0 0 0 0,0 0 0 0 0,0-1 1 0 0,0 1-1 0 0,0-1 0 0 0,-1 1 0 0 0,0-1 0 0 0,0 0 0 0 0,2-7 1 0 0,-3 10 18 0 0,-1 0 0 0 0,0 0 0 0 0,1 1 0 0 0,-1-1 1 0 0,0 0-1 0 0,0 0 0 0 0,0 1 0 0 0,-1-1 1 0 0,1 0-1 0 0,0 0 0 0 0,-1 1 0 0 0,1-1 1 0 0,-1 0-1 0 0,1 1 0 0 0,-1-1 0 0 0,0 0 0 0 0,0 1 1 0 0,0-1-1 0 0,0 1 0 0 0,0-1 0 0 0,0 1 1 0 0,0 0-1 0 0,0-1 0 0 0,-1 1 0 0 0,1 0 1 0 0,0 0-1 0 0,-1 0 0 0 0,1 0 0 0 0,-1 0 0 0 0,1 0 1 0 0,-1 0-1 0 0,0 1 0 0 0,-2-2 0 0 0,-5 0 10 0 0,1 0 0 0 0,0 0 0 0 0,-1 1 0 0 0,1 0 0 0 0,-1 0 0 0 0,1 1 0 0 0,-1 0 0 0 0,1 1 0 0 0,-1 0 0 0 0,1 0 0 0 0,-1 1 0 0 0,-13 5 0 0 0,4-1 37 0 0,0 0 1 0 0,0 2-1 0 0,1 0 1 0 0,-28 18 0 0 0,34-18 17 0 0,1 0 0 0 0,-1 0 0 0 0,1 1 0 0 0,1 0 0 0 0,-10 12 0 0 0,16-17-29 0 0,1-1 0 0 0,0 1-1 0 0,-1 0 1 0 0,1 0 0 0 0,0 0 0 0 0,1 0 0 0 0,-1 0 0 0 0,-1 7-1 0 0,3-9-12 0 0,-1 1 1 0 0,1-1-1 0 0,0 0 0 0 0,0 1 0 0 0,0-1 0 0 0,1 1 0 0 0,-1-1 0 0 0,0 0 1 0 0,1 1-1 0 0,0-1 0 0 0,-1 0 0 0 0,1 0 0 0 0,0 1 0 0 0,0-1 0 0 0,0 0 1 0 0,3 4-1 0 0,-3-4-3 0 0,1 0 1 0 0,0-1-1 0 0,-1 1 0 0 0,1 0 1 0 0,0 0-1 0 0,0-1 0 0 0,0 1 1 0 0,0-1-1 0 0,0 1 1 0 0,0-1-1 0 0,1 0 0 0 0,-1 0 1 0 0,0 0-1 0 0,1 0 1 0 0,-1-1-1 0 0,5 2 0 0 0,-3-2-17 0 0,1 1 0 0 0,0-1 0 0 0,0 0 0 0 0,0-1 0 0 0,0 1 0 0 0,-1-1 0 0 0,1 0 0 0 0,5-2 0 0 0,5-2-118 0 0,-1-1-1 0 0,0 0 1 0 0,0-1 0 0 0,16-11 0 0 0,27-24-149 0 0,-39 28 120 0 0,0 1 0 0 0,23-13 0 0 0,-39 25 79 0 0,4 13-39 0 0,-5-1 167 0 0,0 0-1 0 0,0 0 1 0 0,1-1-1 0 0,1 1 1 0 0,-1 0-1 0 0,2-1 1 0 0,0 0 0 0 0,0 0-1 0 0,0 0 1 0 0,2 0-1 0 0,-1-1 1 0 0,1 0-1 0 0,0 0 1 0 0,1 0-1 0 0,0-1 1 0 0,0 0-1 0 0,1 0 1 0 0,0-1-1 0 0,1 0 1 0 0,-1 0-1 0 0,1-1 1 0 0,16 8-1 0 0,-21-12-47 0 0,1 0-1 0 0,-1 0 1 0 0,1 0-1 0 0,0-1 1 0 0,0 0-1 0 0,0 0 1 0 0,0 0-1 0 0,0-1 1 0 0,0 0-1 0 0,0 0 1 0 0,0 0-1 0 0,0 0 1 0 0,0-1-1 0 0,-1 1 0 0 0,1-1 1 0 0,0-1-1 0 0,0 1 1 0 0,0-1-1 0 0,-1 0 1 0 0,1 0-1 0 0,-1 0 1 0 0,1 0-1 0 0,-1-1 1 0 0,0 0-1 0 0,5-4 1 0 0,7-8-75 0 0,0 0 0 0 0,-1-1 1 0 0,-1-1-1 0 0,20-28 1 0 0,3-5-16 0 0,-29 41 54 0 0,-3 2-25 0 0,0 1 0 0 0,1 0 0 0 0,-1 0 1 0 0,1 1-1 0 0,9-7 0 0 0,-14 12 50 0 0,0 0-1 0 0,0 0 0 0 0,-1 0 0 0 0,1 0 1 0 0,0 0-1 0 0,0 0 0 0 0,-1 0 0 0 0,1 0 1 0 0,0 0-1 0 0,0 0 0 0 0,0 0 0 0 0,-1 0 1 0 0,1 1-1 0 0,0-1 0 0 0,0 0 0 0 0,-1 1 1 0 0,1-1-1 0 0,0 1 0 0 0,-1-1 0 0 0,1 0 1 0 0,-1 1-1 0 0,1 0 0 0 0,0-1 0 0 0,-1 1 1 0 0,1-1-1 0 0,-1 1 0 0 0,1 0 0 0 0,-1-1 1 0 0,0 1-1 0 0,1 0 0 0 0,-1-1 0 0 0,0 1 1 0 0,1 1-1 0 0,11 24-34 0 0,-7-11 181 0 0,0 1 1 0 0,1-2-1 0 0,1 1 0 0 0,0-1 1 0 0,1 0-1 0 0,19 26 1 0 0,-22-35-97 0 0,-1 0 0 0 0,1 0 0 0 0,0-1 0 0 0,1 1 0 0 0,-1-1 0 0 0,1 0 0 0 0,0 0 0 0 0,0-1 0 0 0,0 0 0 0 0,0 0 0 0 0,0 0 0 0 0,1-1 0 0 0,-1 0 0 0 0,1 0 0 0 0,0 0 0 0 0,0-1 0 0 0,-1 0 0 0 0,13 0 0 0 0,-6-2-44 0 0,0 0 1 0 0,0-1-1 0 0,0-1 0 0 0,0 0 0 0 0,0 0 0 0 0,0-2 1 0 0,-1 1-1 0 0,0-1 0 0 0,0-1 0 0 0,0 0 0 0 0,-1-1 0 0 0,19-15 1 0 0,-18 13-65 0 0,-1 0 0 0 0,0-1 0 0 0,-1-1 0 0 0,0 0 0 0 0,0 0 0 0 0,-2-1 1 0 0,1 0-1 0 0,-1-1 0 0 0,-1 0 0 0 0,-1 0 0 0 0,8-18 0 0 0,-12 24 18 0 0,0 0 0 0 0,0 0-1 0 0,0 0 1 0 0,-1-1 0 0 0,0 1 0 0 0,-1 0-1 0 0,1-9 1 0 0,-3 12 15 0 0,-2-2-13 0 0,3 4 24 0 0,0 2 17 0 0,0 1 0 0 0,0-1-1 0 0,1 0 1 0 0,-1 1 0 0 0,0-1 0 0 0,0 1 0 0 0,0-1 0 0 0,0 1 0 0 0,1 0 0 0 0,-1-1 0 0 0,0 1 0 0 0,0 0 0 0 0,1-1 0 0 0,-1 1-1 0 0,1 0 1 0 0,-1 0 0 0 0,1 0 0 0 0,-1 0 0 0 0,1-1 0 0 0,-1 1 0 0 0,1 0 0 0 0,0 0 0 0 0,-1 1 0 0 0,-5 26-53 0 0,4-20 40 0 0,-25 168-58 0 0,20-115 262 0 0,-3-1 1 0 0,-2 0 0 0 0,-29 86-1 0 0,15-77 1076 0 0,26-69-1248 0 0,-1 1 1 0 0,1-1-1 0 0,0 1 0 0 0,-1-1 1 0 0,1 1-1 0 0,0-1 0 0 0,-1 1 1 0 0,1-1-1 0 0,-1 0 1 0 0,1 1-1 0 0,-1-1 0 0 0,1 0 1 0 0,-1 1-1 0 0,1-1 0 0 0,-1 0 1 0 0,1 1-1 0 0,-1-1 0 0 0,1 0 1 0 0,-1 0-1 0 0,1 0 1 0 0,-1 0-1 0 0,0 1 0 0 0,0-1-16 0 0,1 0-1 0 0,0 0 1 0 0,0-1-1 0 0,0 1 1 0 0,-1 0-1 0 0,1 0 1 0 0,0 0-1 0 0,0 0 1 0 0,-1 0-1 0 0,1 0 1 0 0,0 0-1 0 0,0 0 1 0 0,0 0 0 0 0,-1 0-1 0 0,1-1 1 0 0,0 1-1 0 0,0 0 1 0 0,0 0-1 0 0,-1 0 1 0 0,1 0-1 0 0,0 0 1 0 0,0-1-1 0 0,0 1 1 0 0,0 0-1 0 0,0 0 1 0 0,0 0-1 0 0,-1-1 1 0 0,1 1-1 0 0,0 0 1 0 0,0 0-1 0 0,0-1 1 0 0,0 1-1 0 0,0 0 1 0 0,0 0-1 0 0,0 0 1 0 0,0-1 0 0 0,0 1-1 0 0,0 0 1 0 0,0 0-1 0 0,0-1 1 0 0,0 1-1 0 0,0 0 1 0 0,0 0-1 0 0,0-1 1 0 0,0 1-1 0 0,0 0 1 0 0,1 0-1 0 0,-1 0 1 0 0,0-1-1 0 0,0 1 1 0 0,0 0-1 0 0,59-124-969 0 0,-17 41-319 0 0,-6 9 422 0 0,-9 21 332 0 0,27-77 0 0 0,-49 113 484 0 0,0 0 0 0 0,-1 0 0 0 0,0-1 0 0 0,-2 1 0 0 0,0-1 1 0 0,-1 0-1 0 0,-1 1 0 0 0,0-1 0 0 0,-3-19 0 0 0,1 32 42 0 0,1 0 1 0 0,0 1-1 0 0,-1-1 0 0 0,0 1 0 0 0,0 0 1 0 0,-1-1-1 0 0,1 1 0 0 0,-1 0 0 0 0,0 0 0 0 0,0 1 1 0 0,0-1-1 0 0,0 0 0 0 0,-1 1 0 0 0,1 0 1 0 0,-1 0-1 0 0,0 0 0 0 0,-7-4 0 0 0,9 6 11 0 0,-1-1 0 0 0,1 1 0 0 0,-1 0 0 0 0,1 0 0 0 0,-1 0 0 0 0,0 0 0 0 0,1 1 0 0 0,-1-1 0 0 0,0 1 0 0 0,1-1 0 0 0,-1 1 0 0 0,0 0 0 0 0,0 0 0 0 0,0 0 0 0 0,1 0 0 0 0,-1 1 0 0 0,0-1-1 0 0,0 1 1 0 0,1 0 0 0 0,-1 0 0 0 0,0 0 0 0 0,1 0 0 0 0,-1 0 0 0 0,1 0 0 0 0,-1 1 0 0 0,1-1 0 0 0,0 1 0 0 0,0 0 0 0 0,0 0 0 0 0,0-1 0 0 0,-4 5 0 0 0,5-4-25 0 0,-1 0 0 0 0,1 0 0 0 0,0 0 1 0 0,-1 0-1 0 0,1 0 0 0 0,0 0 0 0 0,0 1 0 0 0,1-1 1 0 0,-1 0-1 0 0,0 0 0 0 0,1 1 0 0 0,-1-1 0 0 0,1 0 0 0 0,0 1 1 0 0,0-1-1 0 0,0 0 0 0 0,0 5 0 0 0,1-3-146 0 0,0 0-1 0 0,0 0 1 0 0,0 0 0 0 0,1 0-1 0 0,0 0 1 0 0,-1-1 0 0 0,1 1-1 0 0,1-1 1 0 0,3 6-1 0 0,0-1-566 0 0,1-1-1 0 0,-1 0 0 0 0,1-1 0 0 0,1 1 0 0 0,-1-2 0 0 0,1 1 0 0 0,1-1 0 0 0,8 5 0 0 0,1-1-1434 0 0</inkml:trace>
</inkml:ink>
</file>

<file path=ppt/ink/ink8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07:07.3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60 104 0 0,'3'0'1732'0'0,"12"-2"1290"0"0,-11 2-1787 0 0,9-1-116 0 0,-10 0-111 0 0,0 1-135 0 0,19-1 142 0 0,0-2 1 0 0,36-9 0 0 0,-21 4-688 0 0,-24 5-295 0 0,0 0 0 0 0,0-1 0 0 0,0-1 0 0 0,-1 0 0 0 0,1-1 0 0 0,-1 0 0 0 0,-1-1 0 0 0,23-17 0 0 0,-33 23-40 0 0,1 0 0 0 0,-1 0 0 0 0,0 0 1 0 0,1-1-1 0 0,-1 1 0 0 0,0 0 0 0 0,0-1 1 0 0,0 1-1 0 0,0-1 0 0 0,0 1 1 0 0,0-1-1 0 0,0 0 0 0 0,-1 1 0 0 0,2-4 1 0 0,-2 4-1 0 0,0 0 0 0 0,0 0 0 0 0,0 0 0 0 0,0 0 0 0 0,0 0 0 0 0,0 0 0 0 0,-1-1 0 0 0,1 1 0 0 0,0 0 0 0 0,0 0 0 0 0,-1 0 0 0 0,1 1 0 0 0,-1-1 0 0 0,1 0 0 0 0,-1 0 0 0 0,1 0 0 0 0,-1 0 0 0 0,0 0 0 0 0,0 0 0 0 0,-2-2 15 0 0,0 1 0 0 0,0-1 0 0 0,0 1 0 0 0,-1 0-1 0 0,1 0 1 0 0,-1 1 0 0 0,1-1 0 0 0,-1 1 0 0 0,0-1-1 0 0,1 1 1 0 0,-1 0 0 0 0,-5 0 0 0 0,1 0 91 0 0,-1 1 1 0 0,1 0 0 0 0,0 0-1 0 0,-1 1 1 0 0,1 0-1 0 0,0 1 1 0 0,-1 0 0 0 0,1 0-1 0 0,-12 5 1 0 0,14-5-18 0 0,0 1 0 0 0,1-1 0 0 0,-1 1 1 0 0,1 0-1 0 0,0 1 0 0 0,0-1 1 0 0,0 1-1 0 0,0 0 0 0 0,1 0 0 0 0,-1 1 1 0 0,1-1-1 0 0,0 1 0 0 0,-5 9 0 0 0,7-10-48 0 0,0 0 0 0 0,1 0 0 0 0,0 1 0 0 0,0-1 0 0 0,0 0 0 0 0,0 1 0 0 0,1-1 0 0 0,-1 1 0 0 0,1-1 0 0 0,0 1-1 0 0,1-1 1 0 0,-1 1 0 0 0,1-1 0 0 0,0 1 0 0 0,0-1 0 0 0,0 0 0 0 0,1 0 0 0 0,-1 1 0 0 0,1-1 0 0 0,0 0 0 0 0,1 0 0 0 0,2 4-1 0 0,4 5-245 0 0,1 1-1 0 0,0-1 0 0 0,1-1 1 0 0,22 19-1 0 0,-22-21-464 0 0,2 0 0 0 0,-1-1 1 0 0,22 11-1 0 0,-25-16-665 0 0,-1 0 1 0 0,1 0-1 0 0,17 4 1 0 0,-6-4-2672 0 0</inkml:trace>
</inkml:ink>
</file>

<file path=ppt/ink/ink8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03.5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9 136 0 0,'12'-47'5170'0'0,"-12"46"-4522"0"0,12 9 315 0 0,-5 11-514 0 0,-1 1 0 0 0,-1 0 0 0 0,-1 0 0 0 0,0 1 0 0 0,0 32-1 0 0,0-13 142 0 0,4 48 288 0 0,-5 108-1 0 0,-18 89-36 0 0,12-249-742 0 0,-16 136-1268 0 0,12-150-679 0 0,7-22 1630 0 0,0 1 0 0 0,0 0 1 0 0,-1-1-1 0 0,1 1 0 0 0,0-1 0 0 0,0 1 1 0 0,-1-1-1 0 0,-6 5-2612 0 0</inkml:trace>
</inkml:ink>
</file>

<file path=ppt/ink/ink8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03.8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0 976 0 0,'-1'9'331'0'0,"1"-1"-1"0"0,0 1 1 0 0,0-1-1 0 0,0 1 1 0 0,1-1-1 0 0,1 0 1 0 0,-1 1-1 0 0,1-1 1 0 0,0 0-1 0 0,1 0 1 0 0,0 0-1 0 0,1 0 1 0 0,-1 0-1 0 0,1-1 1 0 0,1 0-1 0 0,-1 0 1 0 0,1 0-1 0 0,1 0 1 0 0,-1-1-1 0 0,1 1 1 0 0,12 8-1 0 0,-3-3 5 0 0,2-1 0 0 0,-1 0-1 0 0,1-2 1 0 0,1 0 0 0 0,0-1-1 0 0,0 0 1 0 0,1-2 0 0 0,-1 0-1 0 0,1-1 1 0 0,1-1 0 0 0,35 3-1 0 0,-23-6-5 0 0,-1 0 0 0 0,0-2 0 0 0,0-2 0 0 0,0-1 0 0 0,-1-1 0 0 0,53-16 0 0 0,-71 18-273 0 0,-1-1-1 0 0,1-1 1 0 0,-1 0 0 0 0,0-1-1 0 0,0 0 1 0 0,-1 0 0 0 0,0-1 0 0 0,0-1-1 0 0,0 0 1 0 0,-1 0 0 0 0,0-1-1 0 0,-1 0 1 0 0,0 0 0 0 0,0-1-1 0 0,-1 0 1 0 0,0 0 0 0 0,-1-1-1 0 0,6-13 1 0 0,-11 22-314 0 0,0 1 0 0 0,0-1 0 0 0,-1 0 0 0 0,1 0 1 0 0,-1 1-1 0 0,0-1 0 0 0,0 0 0 0 0,1 0 0 0 0,-1 0 0 0 0,0 0 0 0 0,0 0 0 0 0,-1 1 0 0 0,1-1 0 0 0,0 0 1 0 0,-1 0-1 0 0,0-3 0 0 0,-6-7-4790 0 0</inkml:trace>
</inkml:ink>
</file>

<file path=ppt/ink/ink8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04.3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 9 1460 0 0,'-7'-9'5686'0'0,"6"9"-5503"0"0,-2 13 2010 0 0,4 28-1541 0 0,-1-37-236 0 0,10 108-22 0 0,5-2 0 0 0,40 156 0 0 0,-40-202-2360 0 0,-2-12-2696 0 0,-11-37 1922 0 0</inkml:trace>
</inkml:ink>
</file>

<file path=ppt/ink/ink8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05.1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4 395 1608 0 0,'-9'-2'1057'0'0,"0"0"-1"0"0,0-1 1 0 0,1 0 0 0 0,-14-6-1 0 0,21 9-1022 0 0,1 0 0 0 0,0-1-1 0 0,-1 1 1 0 0,1 0 0 0 0,-1 0 0 0 0,1-1-1 0 0,0 1 1 0 0,-1 0 0 0 0,1-1-1 0 0,0 1 1 0 0,0-1 0 0 0,-1 1-1 0 0,1 0 1 0 0,0-1 0 0 0,0 1 0 0 0,-1-1-1 0 0,1 1 1 0 0,0 0 0 0 0,0-1-1 0 0,0 1 1 0 0,0-1 0 0 0,0 1 0 0 0,0-1-1 0 0,0 1 1 0 0,0-1 0 0 0,0 1-1 0 0,0-1 1 0 0,0 1 0 0 0,0 0-1 0 0,0-1 1 0 0,0 1 0 0 0,0-1 0 0 0,0 1-1 0 0,0-1 1 0 0,0 1 0 0 0,1-1-1 0 0,-1 1 1 0 0,0 0 0 0 0,0-1 0 0 0,1 1-1 0 0,-1 0 1 0 0,0-1 0 0 0,1 1-1 0 0,-1 0 1 0 0,0-1 0 0 0,1 1-1 0 0,-1 0 1 0 0,0-1 0 0 0,1 1 0 0 0,0 0-1 0 0,19-15 616 0 0,8 3-345 0 0,0 1 0 0 0,0 2 0 0 0,1 1 0 0 0,51-8 0 0 0,-14 2-104 0 0,145-22 142 0 0,-133 26-219 0 0,0-4 0 0 0,88-28 0 0 0,-153 38 73 0 0,-1-1 0 0 0,0 0 0 0 0,0-1 1 0 0,0 0-1 0 0,-1-1 0 0 0,1 0 0 0 0,-2-1 1 0 0,18-15-1 0 0,-28 23-190 0 0,1 0 1 0 0,-1-1-1 0 0,1 1 1 0 0,-1 0-1 0 0,0-1 1 0 0,1 1-1 0 0,-1-1 1 0 0,1 1-1 0 0,-1-1 1 0 0,0 1-1 0 0,1-1 0 0 0,-1 1 1 0 0,0-1-1 0 0,0 1 1 0 0,0-1-1 0 0,1 1 1 0 0,-1-1-1 0 0,0 1 1 0 0,0-1-1 0 0,0 1 1 0 0,0-1-1 0 0,0 0 1 0 0,0 1-1 0 0,0-1 0 0 0,0 1 1 0 0,0-1-1 0 0,0-1 1 0 0,-1 2-4 0 0,1-1-1 0 0,-1 1 1 0 0,0 0 0 0 0,1-1-1 0 0,-1 1 1 0 0,0-1 0 0 0,1 1-1 0 0,-1 0 1 0 0,0 0 0 0 0,0-1 0 0 0,1 1-1 0 0,-1 0 1 0 0,0 0 0 0 0,0 0-1 0 0,1 0 1 0 0,-1 0 0 0 0,-1 0-1 0 0,-29 4-10 0 0,18-1-8 0 0,0 1 1 0 0,0 1 0 0 0,1 1 0 0 0,0-1-1 0 0,0 2 1 0 0,1 0 0 0 0,-1 0 0 0 0,2 1-1 0 0,-1 0 1 0 0,1 1 0 0 0,0 0 0 0 0,1 1-1 0 0,0 0 1 0 0,-9 13 0 0 0,17-22 18 0 0,0 1 0 0 0,0 0 1 0 0,0 0-1 0 0,0 0 0 0 0,0-1 0 0 0,1 1 1 0 0,-1 0-1 0 0,1 0 0 0 0,-1 0 1 0 0,1 0-1 0 0,0 0 0 0 0,-1 0 0 0 0,1 1 1 0 0,0-1-1 0 0,0 0 0 0 0,0 0 0 0 0,1 0 1 0 0,-1 0-1 0 0,1 0 0 0 0,-1 0 0 0 0,1 0 1 0 0,-1 0-1 0 0,1 0 0 0 0,0-1 1 0 0,0 1-1 0 0,0 0 0 0 0,0 0 0 0 0,0-1 1 0 0,1 1-1 0 0,-1 0 0 0 0,0-1 0 0 0,1 1 1 0 0,-1-1-1 0 0,1 0 0 0 0,-1 1 0 0 0,3 0 1 0 0,1 1 6 0 0,0 0-1 0 0,0-1 1 0 0,0 1 0 0 0,0-1 0 0 0,1 0 0 0 0,-1-1-1 0 0,1 1 1 0 0,-1-1 0 0 0,1 0 0 0 0,-1-1 0 0 0,1 1-1 0 0,0-1 1 0 0,7-1 0 0 0,3-1-77 0 0,-1-1 0 0 0,1 0 0 0 0,-1-1 0 0 0,0-1 0 0 0,16-8 1 0 0,33-18-216 0 0,-62 30 251 0 0,-1 1-39 0 0,-1 0 67 0 0,1 1-1 0 0,-1-1 0 0 0,1 1 1 0 0,-1-1-1 0 0,0 0 1 0 0,1 1-1 0 0,-1-1 0 0 0,0 1 1 0 0,1-1-1 0 0,-1 1 1 0 0,0-1-1 0 0,1 1 0 0 0,-1-1 1 0 0,0 1-1 0 0,0 0 1 0 0,0-1-1 0 0,0 1 0 0 0,0-1 1 0 0,0 1-1 0 0,1-1 1 0 0,-1 1-1 0 0,0 0 0 0 0,-1-1 1 0 0,1 2-1 0 0,-1 19-13 0 0,1-17 11 0 0,0-1 20 0 0,0 1 1 0 0,0 0 0 0 0,1-1 0 0 0,-1 1 0 0 0,1-1 0 0 0,-1 1 0 0 0,1-1 0 0 0,1 1 0 0 0,-1-1 0 0 0,0 0 0 0 0,1 1 0 0 0,-1-1 0 0 0,1 0 0 0 0,0 0 0 0 0,0 0 0 0 0,1 0 0 0 0,-1-1 0 0 0,0 1 0 0 0,1-1 0 0 0,0 1 0 0 0,-1-1 0 0 0,1 0-1 0 0,0 0 1 0 0,0 0 0 0 0,0 0 0 0 0,1 0 0 0 0,-1-1 0 0 0,0 0 0 0 0,1 1 0 0 0,-1-1 0 0 0,0 0 0 0 0,1-1 0 0 0,5 2 0 0 0,-2-2 7 0 0,0 1 1 0 0,0-1-1 0 0,0 0 1 0 0,0 0-1 0 0,0-1 1 0 0,0 0-1 0 0,0 0 1 0 0,0-1-1 0 0,-1 0 1 0 0,1 0-1 0 0,0-1 1 0 0,-1 1-1 0 0,0-1 1 0 0,1-1-1 0 0,-1 1 1 0 0,7-7-1 0 0,-4 3-12 0 0,-1-1 0 0 0,-1-1 0 0 0,1 1 0 0 0,-1-1 0 0 0,0-1-1 0 0,-1 1 1 0 0,0-1 0 0 0,-1 0 0 0 0,7-19 0 0 0,-1-4 208 0 0,12-63-1 0 0,-7 28 888 0 0,-11 52-833 0 0,-5 16-266 0 0,0 0 0 0 0,0 0 0 0 0,0 0 0 0 0,0 0 1 0 0,0 0-1 0 0,0 0 0 0 0,0 0 0 0 0,0 0 0 0 0,0 0 0 0 0,0 0 0 0 0,0 0 0 0 0,0 0 0 0 0,0 0 0 0 0,0 0 0 0 0,0 1 0 0 0,1-1 0 0 0,-1 0 0 0 0,0 0 0 0 0,0 0 0 0 0,0 0 0 0 0,0 0 0 0 0,0 0 0 0 0,0 0 0 0 0,0 0 0 0 0,0 0 0 0 0,0 0 1 0 0,0 0-1 0 0,0 0 0 0 0,0 0 0 0 0,0 0 0 0 0,1 0 0 0 0,-1 0 0 0 0,0 0 0 0 0,0 0 0 0 0,0 0 0 0 0,0 0 0 0 0,0 0 0 0 0,0 0 0 0 0,0 0 0 0 0,0 0 0 0 0,0 0 0 0 0,0 0 0 0 0,0-1 0 0 0,0 1 0 0 0,0 0 0 0 0,0 0 0 0 0,0 0 0 0 0,1 0 1 0 0,-1 0-1 0 0,0 0 0 0 0,0 0 0 0 0,0 0 0 0 0,0 0 0 0 0,0 0 0 0 0,0 0 0 0 0,0 0 0 0 0,0 0 0 0 0,0 0 0 0 0,0 0 0 0 0,0 0 0 0 0,0-1 0 0 0,0 1 0 0 0,0 0 0 0 0,0 0 0 0 0,0 0 0 0 0,0 0 0 0 0,0 0 0 0 0,0 0 0 0 0,0 0 0 0 0,2 24 749 0 0,0-3-771 0 0,7 27-283 0 0,3 0 0 0 0,25 69 0 0 0,-17-60-1883 0 0,-18-51 1637 0 0,0 0 1 0 0,0-1-1 0 0,1 1 0 0 0,-1-1 0 0 0,7 10 0 0 0,4-3-4340 0 0</inkml:trace>
</inkml:ink>
</file>

<file path=ppt/ink/ink8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05.54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7 0 80 0 0,'-2'1'4655'0'0,"-3"1"-4245"0"0,0 1 0 0 0,0 0 0 0 0,1 0 0 0 0,-1 0 0 0 0,1 1 0 0 0,-1-1 0 0 0,1 1 0 0 0,0 0 0 0 0,-6 9 0 0 0,-1 1 142 0 0,1 0 0 0 0,-10 17 1 0 0,15-22-399 0 0,1 1-1 0 0,-1 0 1 0 0,1 0 0 0 0,1 1 0 0 0,0-1 0 0 0,1 1 0 0 0,0 0 0 0 0,0-1 0 0 0,0 15 0 0 0,2-21-131 0 0,0-1 1 0 0,0 0-1 0 0,0 1 0 0 0,1-1 1 0 0,-1 0-1 0 0,1 1 1 0 0,0-1-1 0 0,0 0 1 0 0,0 1-1 0 0,0-1 1 0 0,1 0-1 0 0,-1 0 0 0 0,1 0 1 0 0,0 0-1 0 0,0 0 1 0 0,0-1-1 0 0,0 1 1 0 0,0-1-1 0 0,1 1 1 0 0,-1-1-1 0 0,1 0 0 0 0,-1 0 1 0 0,1 0-1 0 0,0 0 1 0 0,0 0-1 0 0,0 0 1 0 0,0-1-1 0 0,0 0 1 0 0,0 1-1 0 0,1-1 1 0 0,-1-1-1 0 0,0 1 0 0 0,6 0 1 0 0,-2 0-17 0 0,0 0 1 0 0,0-1 0 0 0,0-1-1 0 0,0 1 1 0 0,-1-1-1 0 0,1 0 1 0 0,0-1 0 0 0,0 0-1 0 0,0 0 1 0 0,-1 0 0 0 0,1-1-1 0 0,-1 1 1 0 0,0-2-1 0 0,0 1 1 0 0,0-1 0 0 0,0 0-1 0 0,8-7 1 0 0,-6 4-37 0 0,0-1 1 0 0,0 0-1 0 0,-1 0 1 0 0,0-1-1 0 0,0 0 1 0 0,-1 0-1 0 0,0 0 1 0 0,-1-1-1 0 0,0 0 1 0 0,5-15-1 0 0,-9 21 7 0 0,1 0-1 0 0,-1 1 1 0 0,-1-1 0 0 0,1 0-1 0 0,0 0 1 0 0,-1 0-1 0 0,0-6 1 0 0,0 8 19 0 0,-1 0 0 0 0,1 0 0 0 0,0 1 0 0 0,-1-1 0 0 0,0 0 0 0 0,1 1 0 0 0,-1-1 0 0 0,0 0 0 0 0,0 1 0 0 0,0-1 0 0 0,0 1 0 0 0,0-1 0 0 0,0 1 0 0 0,0 0 0 0 0,0-1 0 0 0,-1 1 0 0 0,-1-2 0 0 0,1 2 23 0 0,0 1-1 0 0,0-1 1 0 0,0 0 0 0 0,0 1 0 0 0,0 0 0 0 0,0-1 0 0 0,-1 1 0 0 0,1 0-1 0 0,0 0 1 0 0,0 0 0 0 0,0 0 0 0 0,0 1 0 0 0,0-1 0 0 0,0 0 0 0 0,0 1-1 0 0,0 0 1 0 0,-2 0 0 0 0,2 0 13 0 0,0-1 0 0 0,0 1 0 0 0,0-1 0 0 0,0 1 0 0 0,1 0 1 0 0,-1 0-1 0 0,0 0 0 0 0,1 0 0 0 0,-1 0 0 0 0,0 1 0 0 0,1-1 0 0 0,-1 0 0 0 0,1 1 0 0 0,0-1 0 0 0,0 1 0 0 0,-1-1 0 0 0,1 1 0 0 0,0-1 0 0 0,-1 5 1 0 0,1-4 36 0 0,1 0 1 0 0,0 1-1 0 0,0-1 1 0 0,0 1-1 0 0,0-1 1 0 0,0 1 0 0 0,0-1-1 0 0,1 1 1 0 0,-1-1-1 0 0,1 0 1 0 0,0 1-1 0 0,-1-1 1 0 0,1 0-1 0 0,0 0 1 0 0,1 1 0 0 0,0 1-1 0 0,2 1 27 0 0,0 0 0 0 0,0 0 0 0 0,0 0-1 0 0,1-1 1 0 0,-1 1 0 0 0,6 3 0 0 0,9 5-324 0 0,1-1-1 0 0,30 15 1 0 0,-48-26 178 0 0,52 22-2436 0 0,-16-16-2810 0 0,-20-5 896 0 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5.0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2 208 156 0 0,'-96'-50'7540'0'0,"91"47"-7016"0"0,0 1-1 0 0,1-1 1 0 0,-1 0-1 0 0,1 0 1 0 0,-8-7 0 0 0,12 10-507 0 0,0-1 0 0 0,0 1 1 0 0,0 0-1 0 0,0-1 0 0 0,0 1 1 0 0,0 0-1 0 0,0-1 0 0 0,0 1 0 0 0,0 0 1 0 0,0-1-1 0 0,0 1 0 0 0,0 0 1 0 0,0-1-1 0 0,0 1 0 0 0,0 0 1 0 0,0 0-1 0 0,0-1 0 0 0,0 1 1 0 0,0 0-1 0 0,0-1 0 0 0,0 1 1 0 0,0 0-1 0 0,1-1 0 0 0,-1 1 0 0 0,0 0 1 0 0,0 0-1 0 0,0-1 0 0 0,1 1 1 0 0,-1 0-1 0 0,0 0 0 0 0,0-1 1 0 0,1 1-1 0 0,-1 0 0 0 0,0 0 1 0 0,1 0-1 0 0,-1-1 0 0 0,11-5 175 0 0,13-4-12 0 0,0 2-1 0 0,0 1 0 0 0,1 2 0 0 0,43-6 0 0 0,-18 3 92 0 0,266-29 1220 0 0,-212 28-1125 0 0,109-8 1490 0 0,-192 13-1694 0 0,-17 3-108 0 0,0 1-9 0 0,0 1-6 0 0,1-1 1 0 0,-1 1-1 0 0,0 0 1 0 0,1 0-1 0 0,-1 0 0 0 0,0 1 1 0 0,0-1-1 0 0,0 1 1 0 0,0 0-1 0 0,0 0 1 0 0,0 1-1 0 0,0-1 0 0 0,5 6 1 0 0,2 6 10 0 0,-1 0 0 0 0,-1 0 0 0 0,0 1 0 0 0,-1 1 1 0 0,9 22-1 0 0,24 86 110 0 0,-32-91-113 0 0,25 120 58 0 0,-17-64 1319 0 0,-16-88-1267 0 0,-1 1 1 0 0,0 0 0 0 0,0 0-1 0 0,0 0 1 0 0,0-1-1 0 0,0 1 1 0 0,0 0 0 0 0,-1 0-1 0 0,1-1 1 0 0,-2 4 0 0 0,-3 0 469 0 0,-4-14-335 0 0,6 2-339 0 0,0-1 1 0 0,1 1-1 0 0,0-1 0 0 0,0 1 0 0 0,0-1 0 0 0,1 0 0 0 0,0 0 0 0 0,1 1 0 0 0,0-1 0 0 0,0 0 0 0 0,0 0 0 0 0,1 0 1 0 0,1 0-1 0 0,-1 1 0 0 0,1-1 0 0 0,0 1 0 0 0,7-15 0 0 0,-6 15 3 0 0,0-1-1 0 0,1 1 1 0 0,-1 0-1 0 0,2 0 1 0 0,-1 0-1 0 0,1 0 0 0 0,0 1 1 0 0,1 0-1 0 0,-1 0 1 0 0,1 0-1 0 0,0 1 1 0 0,1-1-1 0 0,-1 2 1 0 0,1-1-1 0 0,0 1 1 0 0,0 0-1 0 0,12-5 1 0 0,-14 8 15 0 0,0-1 0 0 0,0 1-1 0 0,0 0 1 0 0,1 0 0 0 0,-1 1 0 0 0,0-1 0 0 0,0 1-1 0 0,1 0 1 0 0,-1 1 0 0 0,0-1 0 0 0,0 1 0 0 0,0 0 0 0 0,0 1-1 0 0,0-1 1 0 0,0 1 0 0 0,6 3 0 0 0,-4-1 49 0 0,0 0 0 0 0,-1 0 1 0 0,0 1-1 0 0,0 0 0 0 0,0 0 0 0 0,-1 0 1 0 0,0 1-1 0 0,0 0 0 0 0,0 0 0 0 0,4 8 1 0 0,0 1-382 0 0,-1 1 0 0 0,0 1 1 0 0,-1-1-1 0 0,-1 1 0 0 0,-1 0 0 0 0,0 1 1 0 0,-2-1-1 0 0,4 32 0 0 0,-6-39-270 0 0,1 26-2295 0 0,-2-32 2064 0 0,1-1 0 0 0,-1 0 0 0 0,1 1 0 0 0,-1-1 0 0 0,1 0 0 0 0,0 0 0 0 0,2 3 0 0 0</inkml:trace>
</inkml:ink>
</file>

<file path=ppt/ink/ink8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06.4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29 636 0 0,'-10'-29'9320'0'0,"10"29"-9265"0"0,-2 21 1215 0 0,16 242 2296 0 0,16-1-4769 0 0,-28-243 902 0 0,2 35-2233 0 0,-5-21-2668 0 0</inkml:trace>
</inkml:ink>
</file>

<file path=ppt/ink/ink8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07.1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 175 276 0 0,'-2'-1'1508'0'0,"-30"-17"3587"0"0,99 5-2520 0 0,9 3-2057 0 0,0-2 1 0 0,-1-4 0 0 0,94-33-1 0 0,-124 32 0 0 0,59-19 1020 0 0,-102 36-1520 0 0,1-1 1 0 0,-1 0-1 0 0,1 1 0 0 0,-1 0 1 0 0,1 0-1 0 0,-1 0 1 0 0,1 0-1 0 0,-1 0 0 0 0,1 0 1 0 0,-1 0-1 0 0,1 1 0 0 0,-1 0 1 0 0,1-1-1 0 0,-1 1 1 0 0,0 0-1 0 0,1 0 0 0 0,-1 0 1 0 0,3 2-1 0 0,-2 0 30 0 0,0-1 0 0 0,0 1 0 0 0,0 0 0 0 0,0 0-1 0 0,-1 0 1 0 0,1 1 0 0 0,-1-1 0 0 0,0 0 0 0 0,0 1 0 0 0,2 5 0 0 0,2 8 186 0 0,-1-1 1 0 0,-1 1-1 0 0,0 1 1 0 0,1 19 0 0 0,-3-27-116 0 0,4 56 1072 0 0,-3 79 1 0 0,-3-129-689 0 0,-1-8 857 0 0,-3-13-1142 0 0,-1-15-406 0 0,7 1 37 0 0,1 1-1 0 0,0 0 1 0 0,1 0-1 0 0,1 1 1 0 0,0-1-1 0 0,2 1 1 0 0,9-18-1 0 0,-12 25 99 0 0,-2 4 10 0 0,1 1 0 0 0,0 0 1 0 0,0 0-1 0 0,0 0 0 0 0,0 0 0 0 0,1 0 0 0 0,0 1 1 0 0,0 0-1 0 0,0 0 0 0 0,0 0 0 0 0,1 0 0 0 0,0 1 0 0 0,6-4 1 0 0,-9 6 35 0 0,0 0 0 0 0,1 0 1 0 0,-1 1-1 0 0,1-1 1 0 0,-1 1-1 0 0,1 0 0 0 0,-1 0 1 0 0,1 0-1 0 0,-1 0 1 0 0,1 0-1 0 0,-1 1 0 0 0,1-1 1 0 0,2 1-1 0 0,31 11-50 0 0,-13-2 83 0 0,30 18 1 0 0,-37-18-8 0 0,0-1 0 0 0,1-1 0 0 0,0-1 0 0 0,21 7 0 0 0,-28-11-66 0 0,1-1 1 0 0,-1 0 0 0 0,1-1 0 0 0,-1 0 0 0 0,1 0-1 0 0,0-1 1 0 0,19-3 0 0 0,-24 2-68 0 0,0 0 1 0 0,0-1-1 0 0,0 0 0 0 0,0-1 1 0 0,0 1-1 0 0,0-1 1 0 0,-1 0-1 0 0,0 0 0 0 0,1-1 1 0 0,-1 0-1 0 0,0 0 0 0 0,-1 0 1 0 0,1 0-1 0 0,6-9 0 0 0,-5 6 2 0 0,-1 0-1 0 0,0-1 0 0 0,0 1 1 0 0,-1-1-1 0 0,0 0 0 0 0,-1 0 0 0 0,1 0 1 0 0,-1-1-1 0 0,-1 1 0 0 0,0-1 1 0 0,0 0-1 0 0,-1 0 0 0 0,1-14 0 0 0,-2 21 105 0 0,0 1-1 0 0,0 0 1 0 0,-1 0 0 0 0,1 0-1 0 0,0 0 1 0 0,-1 0-1 0 0,1 0 1 0 0,-1 0-1 0 0,1 0 1 0 0,-1 0-1 0 0,1 0 1 0 0,-1 0 0 0 0,0 0-1 0 0,1 0 1 0 0,-1 0-1 0 0,0 0 1 0 0,0 0-1 0 0,0 1 1 0 0,1-1-1 0 0,-1 0 1 0 0,0 1 0 0 0,0-1-1 0 0,0 0 1 0 0,0 1-1 0 0,0-1 1 0 0,-1 1-1 0 0,1 0 1 0 0,0-1-1 0 0,0 1 1 0 0,0 0 0 0 0,0 0-1 0 0,0 0 1 0 0,0-1-1 0 0,-1 1 1 0 0,1 1-1 0 0,0-1 1 0 0,0 0-1 0 0,0 0 1 0 0,0 0-1 0 0,-2 1 1 0 0,-1 0 7 0 0,0 0 0 0 0,0 0 0 0 0,0 0 0 0 0,1 0 0 0 0,-1 1 0 0 0,0 0 0 0 0,1 0 0 0 0,-1 0 0 0 0,1 0 0 0 0,0 0 0 0 0,-4 4 0 0 0,4-3 9 0 0,1 0-1 0 0,-1 0 0 0 0,0 0 0 0 0,1 1 0 0 0,0-1 1 0 0,0 1-1 0 0,0 0 0 0 0,0-1 0 0 0,0 1 1 0 0,1 0-1 0 0,0 0 0 0 0,-1 0 0 0 0,2 0 0 0 0,-1 0 1 0 0,0 1-1 0 0,1-1 0 0 0,0 7 0 0 0,0-5 44 0 0,1-1 0 0 0,0 1 0 0 0,1 0 0 0 0,-1 0 0 0 0,1-1 0 0 0,0 1 0 0 0,1-1 0 0 0,-1 1 0 0 0,1-1 0 0 0,0 0 0 0 0,6 7 0 0 0,-3-5-277 0 0,-1 0-1 0 0,1-1 0 0 0,0 0 0 0 0,1 0 1 0 0,0-1-1 0 0,0 0 0 0 0,14 8 0 0 0,-16-10-368 0 0,1 0-1 0 0,0-1 0 0 0,-1 0 1 0 0,1 0-1 0 0,0 0 0 0 0,0-1 1 0 0,0 0-1 0 0,0 0 0 0 0,0 0 1 0 0,0-1-1 0 0,7 0 0 0 0,5-2-2931 0 0</inkml:trace>
</inkml:ink>
</file>

<file path=ppt/ink/ink8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09.3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2 124 364 0 0,'-45'-90'10802'0'0,"28"56"-16669"0"0</inkml:trace>
</inkml:ink>
</file>

<file path=ppt/ink/ink8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11.8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33 980 0 0,'-1'-2'1495'0'0,"-16"-28"5934"0"0,16 50-6091 0 0,1 14-296 0 0,56 295 3968 0 0,-49-289-1624 0 0,-8-43-3235 0 0,-1-6-177 0 0,0 0 0 0 0,0 0 1 0 0,1-1-1 0 0,0 1 0 0 0,0-1 0 0 0,1 1 0 0 0,0 0 0 0 0,1-1 0 0 0,0 1 0 0 0,1 0 0 0 0,4-15 0 0 0,-2 9-92 0 0,1 1-1 0 0,0 0 0 0 0,1 0 1 0 0,1 0-1 0 0,0 1 0 0 0,15-21 1 0 0,-20 31 100 0 0,0 0 0 0 0,0 1 0 0 0,0 0 0 0 0,0-1 0 0 0,0 1 0 0 0,0 0 1 0 0,1 0-1 0 0,-1 0 0 0 0,1 0 0 0 0,0 1 0 0 0,0-1 0 0 0,-1 1 0 0 0,1-1 0 0 0,0 1 0 0 0,0 0 1 0 0,0 0-1 0 0,0 0 0 0 0,0 1 0 0 0,1-1 0 0 0,-1 1 0 0 0,0 0 0 0 0,0 0 0 0 0,0 0 0 0 0,0 0 1 0 0,1 0-1 0 0,-1 1 0 0 0,0-1 0 0 0,0 1 0 0 0,0 0 0 0 0,0 0 0 0 0,4 2 0 0 0,-1 0 16 0 0,1 1 0 0 0,-1 0-1 0 0,0 0 1 0 0,0 0-1 0 0,0 1 1 0 0,-1 0 0 0 0,1 0-1 0 0,-1 1 1 0 0,0 0 0 0 0,-1 0-1 0 0,0 0 1 0 0,5 8-1 0 0,2 8 72 0 0,-1 1 0 0 0,-2 0 0 0 0,9 34-1 0 0,-15-51-11 0 0,-2-6-50 0 0,0 0 0 0 0,0 1 0 0 0,0-1 0 0 0,0 0-1 0 0,1 1 1 0 0,-1-1 0 0 0,0 0 0 0 0,0 0-1 0 0,0 1 1 0 0,0-1 0 0 0,0 0 0 0 0,0 1 0 0 0,0-1-1 0 0,0 0 1 0 0,0 0 0 0 0,0 1 0 0 0,0-1 0 0 0,0 0-1 0 0,0 1 1 0 0,0-1 0 0 0,0 0 0 0 0,0 1-1 0 0,0-1 1 0 0,0 0 0 0 0,-1 0 0 0 0,1 1 0 0 0,0-1-1 0 0,0 0 1 0 0,0 0 0 0 0,0 1 0 0 0,-1-1-1 0 0,1 0 1 0 0,0 0 0 0 0,0 0 0 0 0,0 1 0 0 0,-1-1-1 0 0,1 0 1 0 0,0 0 0 0 0,0 0 0 0 0,-1 0-1 0 0,1 1 1 0 0,0-1 0 0 0,0 0 0 0 0,-1 0 0 0 0,1 0-1 0 0,-1 0-3 0 0,1 0-1 0 0,-1 0 1 0 0,1 0-1 0 0,0 0 1 0 0,-1-1-1 0 0,1 1 1 0 0,0 0-1 0 0,-1 0 0 0 0,1 0 1 0 0,0-1-1 0 0,-1 1 1 0 0,1 0-1 0 0,0 0 1 0 0,0-1-1 0 0,-1 1 1 0 0,1 0-1 0 0,0-1 0 0 0,0 1 1 0 0,-1 0-1 0 0,1-1 1 0 0,0 1-1 0 0,0 0 1 0 0,0-1-1 0 0,0 1 1 0 0,0 0-1 0 0,-1-1 0 0 0,1 1 1 0 0,0-1-1 0 0,0 1 1 0 0,0 0-1 0 0,0-1 1 0 0,0 1-1 0 0,1-10-25 0 0,-1 1 0 0 0,2 1-1 0 0,-1-1 1 0 0,1 0 0 0 0,0 0-1 0 0,1 0 1 0 0,0 1 0 0 0,1 0 0 0 0,-1-1-1 0 0,2 1 1 0 0,-1 1 0 0 0,1-1-1 0 0,9-11 1 0 0,-12 18 17 0 0,-1 0-1 0 0,1 0 1 0 0,-1 0 0 0 0,1 0-1 0 0,-1 0 1 0 0,1 0 0 0 0,0 0-1 0 0,-1 1 1 0 0,1-1-1 0 0,0 1 1 0 0,0-1 0 0 0,-1 1-1 0 0,1 0 1 0 0,0 0 0 0 0,0 0-1 0 0,0 0 1 0 0,0 0-1 0 0,-1 0 1 0 0,1 0 0 0 0,0 1-1 0 0,0-1 1 0 0,-1 0 0 0 0,1 1-1 0 0,0 0 1 0 0,0-1-1 0 0,-1 1 1 0 0,1 0 0 0 0,-1 0-1 0 0,1 0 1 0 0,-1 0 0 0 0,3 2-1 0 0,5 4 26 0 0,-1 0-1 0 0,-1 0 1 0 0,1 1 0 0 0,6 9-1 0 0,-12-14-16 0 0,10 14-327 0 0,0 0-1 0 0,13 30 0 0 0,-16-30-790 0 0,0-1 0 0 0,1 0 0 0 0,21 26 0 0 0,-29-40 880 0 0,0 1-1 0 0,1-1 0 0 0,-1 0 1 0 0,1 0-1 0 0,-1 0 0 0 0,1 0 1 0 0,0-1-1 0 0,0 1 0 0 0,0-1 1 0 0,0 0-1 0 0,0 0 1 0 0,0 0-1 0 0,0 0 0 0 0,0 0 1 0 0,7 0-1 0 0,-4-1-91 0 0,0 0 0 0 0,-1 0 0 0 0,1-1 0 0 0,0 0 0 0 0,0 0 0 0 0,-1 0 0 0 0,1-1 0 0 0,7-3 0 0 0,3-3-327 0 0,0 0 0 0 0,0-1 1 0 0,0-1-1 0 0,23-20 0 0 0,-15 10 1031 0 0,0-1 0 0 0,-2-2 0 0 0,0 0 1 0 0,-2-1-1 0 0,20-29 0 0 0,-38 50-191 0 0,0-1-1 0 0,0 1 1 0 0,-1-1 0 0 0,1 1 0 0 0,-1-1-1 0 0,2-6 1 0 0,-3 10-136 0 0,0-1 0 0 0,1 0-1 0 0,-1 0 1 0 0,0 0 0 0 0,0 0-1 0 0,0 0 1 0 0,0 0 0 0 0,-1 0-1 0 0,1 0 1 0 0,0 0 0 0 0,0 0 0 0 0,0 0-1 0 0,-1 0 1 0 0,1 0 0 0 0,-1 0-1 0 0,1 0 1 0 0,-1 1 0 0 0,1-1-1 0 0,-1 0 1 0 0,1 0 0 0 0,-1 0 0 0 0,1 1-1 0 0,-1-1 1 0 0,0 0 0 0 0,0 1-1 0 0,1-1 1 0 0,-3 0 0 0 0,1 0 19 0 0,-1 0 0 0 0,0 1-1 0 0,1-1 1 0 0,-1 1 0 0 0,0 0 0 0 0,1-1 0 0 0,-1 1 0 0 0,0 1 0 0 0,1-1 0 0 0,-1 0 0 0 0,0 1-1 0 0,1-1 1 0 0,-1 1 0 0 0,-3 1 0 0 0,-37 15 356 0 0,36-14-345 0 0,0 1 0 0 0,-1 0 0 0 0,1 0 0 0 0,1 1 1 0 0,-1 0-1 0 0,1 0 0 0 0,0 0 0 0 0,0 1 0 0 0,0-1 0 0 0,1 2 0 0 0,-5 6 0 0 0,9-13-65 0 0,1 1 0 0 0,-1 0 0 0 0,0 0 0 0 0,1 0-1 0 0,0 0 1 0 0,-1 0 0 0 0,1-1 0 0 0,-1 1 0 0 0,1 0-1 0 0,0 0 1 0 0,0 0 0 0 0,-1 0 0 0 0,1 0 0 0 0,0 0-1 0 0,0 0 1 0 0,0 0 0 0 0,0 0 0 0 0,0 0 0 0 0,0 0-1 0 0,0 0 1 0 0,1 0 0 0 0,-1 0 0 0 0,0 0 0 0 0,1 0-1 0 0,-1 0 1 0 0,0 0 0 0 0,1 0 0 0 0,-1 0 0 0 0,1 0-1 0 0,-1-1 1 0 0,1 1 0 0 0,0 0 0 0 0,-1 0 0 0 0,1 0-1 0 0,0-1 1 0 0,0 1 0 0 0,-1-1 0 0 0,3 2 0 0 0,-1-1-1 0 0,0 0-1 0 0,1 0 1 0 0,-1-1 0 0 0,1 1 0 0 0,-1 0 0 0 0,1-1 0 0 0,-1 0 0 0 0,1 0 0 0 0,-1 1 0 0 0,1-2 0 0 0,-1 1 0 0 0,1 0 0 0 0,-1 0 0 0 0,4-2-1 0 0,4-1-2 0 0,-1-1 0 0 0,0 0 0 0 0,0 0 0 0 0,0-1-1 0 0,-1 0 1 0 0,13-11 0 0 0,-12 10 220 0 0,0-1 0 0 0,1 1 1 0 0,18-8-1 0 0,-26 13 151 0 0,-1 1-352 0 0,-1 1 0 0 0,1-1 0 0 0,-1 0 0 0 0,1 0 0 0 0,-1 1 0 0 0,1-1 0 0 0,-1 1 1 0 0,1-1-1 0 0,-1 0 0 0 0,1 1 0 0 0,-1-1 0 0 0,1 1 0 0 0,-1-1 0 0 0,0 1 0 0 0,1-1 0 0 0,-1 1 1 0 0,0 0-1 0 0,0-1 0 0 0,1 1 0 0 0,-1-1 0 0 0,0 1 0 0 0,0-1 0 0 0,0 1 0 0 0,0 1 1 0 0,3 19 480 0 0,-2 5-309 0 0,1 0 0 0 0,2 0-1 0 0,8 33 1 0 0,15 29-5291 0 0</inkml:trace>
</inkml:ink>
</file>

<file path=ppt/ink/ink8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12.4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41 556 0 0,'6'-8'467'0'0,"0"0"0"0"0,1 1 0 0 0,0-1 0 0 0,0 1 0 0 0,1 1 0 0 0,-1-1 0 0 0,1 1 0 0 0,1 1 0 0 0,-1 0 0 0 0,1 0 0 0 0,0 0 0 0 0,0 1 0 0 0,15-4 0 0 0,-21 7-385 0 0,1 0-1 0 0,0 1 1 0 0,-1-1 0 0 0,1 1 0 0 0,0 0-1 0 0,-1 0 1 0 0,1 0 0 0 0,0 1 0 0 0,0-1-1 0 0,-1 1 1 0 0,1 0 0 0 0,-1 0-1 0 0,1 0 1 0 0,-1 1 0 0 0,1-1 0 0 0,-1 1-1 0 0,0 0 1 0 0,1 0 0 0 0,-1 0 0 0 0,0 0-1 0 0,0 0 1 0 0,-1 1 0 0 0,1-1 0 0 0,0 1-1 0 0,-1 0 1 0 0,0 0 0 0 0,1 0-1 0 0,-1 0 1 0 0,0 0 0 0 0,-1 1 0 0 0,1-1-1 0 0,0 0 1 0 0,-1 1 0 0 0,0-1 0 0 0,0 1-1 0 0,0 0 1 0 0,0-1 0 0 0,-1 1-1 0 0,1 0 1 0 0,-1-1 0 0 0,0 1 0 0 0,0 0-1 0 0,0 0 1 0 0,-1-1 0 0 0,0 1 0 0 0,1 0-1 0 0,-3 5 1 0 0,1-3-33 0 0,-1 1 0 0 0,0 0 0 0 0,0 0 0 0 0,-1-1 0 0 0,0 0 0 0 0,0 0 0 0 0,-1 0 0 0 0,1 0 0 0 0,-1 0-1 0 0,0-1 1 0 0,-11 8 0 0 0,14-11 38 0 0,-13-6-71 0 0,16 1-17 0 0,1-1 0 0 0,0 1 0 0 0,0 0 0 0 0,0-1 0 0 0,0 1 0 0 0,0 0 0 0 0,1 0-1 0 0,-1 1 1 0 0,1-1 0 0 0,0 0 0 0 0,-1 1 0 0 0,1 0 0 0 0,1 0 0 0 0,4-3 0 0 0,3-2-8 0 0,118-76-82 0 0,-82 55 103 0 0,75-58-1 0 0,-113 78 87 0 0,0 0 0 0 0,0 0 0 0 0,-1-1-1 0 0,-1 0 1 0 0,1-1 0 0 0,10-19-1 0 0,-16 26-85 0 0,-1 1 0 0 0,0-1 1 0 0,0 1-1 0 0,0-1 0 0 0,0 1 0 0 0,0-1 0 0 0,0 0 0 0 0,-1 1 0 0 0,1-1 0 0 0,-1 0 0 0 0,0 1 0 0 0,0-1 0 0 0,0 0 0 0 0,0 0 0 0 0,0 1 0 0 0,0-1 0 0 0,-1 0 0 0 0,0 1 0 0 0,1-1 1 0 0,-1 0-1 0 0,0 1 0 0 0,0-1 0 0 0,0 1 0 0 0,-1-1 0 0 0,1 1 0 0 0,-1 0 0 0 0,1-1 0 0 0,-1 1 0 0 0,0 0 0 0 0,0 0 0 0 0,0 0 0 0 0,0 0 0 0 0,0 1 0 0 0,0-1 0 0 0,-3-1 0 0 0,0-1-11 0 0,0 2 0 0 0,-1-1 0 0 0,1 0 0 0 0,-1 1 0 0 0,1 0-1 0 0,-1 0 1 0 0,-6 0 0 0 0,8 1-3 0 0,1 0 0 0 0,0 1 0 0 0,-1 0 0 0 0,1 0 0 0 0,0 0 1 0 0,0 0-1 0 0,-1 1 0 0 0,1-1 0 0 0,0 1 0 0 0,0 0 0 0 0,-1-1 0 0 0,1 2 0 0 0,0-1 0 0 0,-3 2 1 0 0,4-2 3 0 0,1 0 0 0 0,-1 0 0 0 0,1 0 0 0 0,0 0 0 0 0,-1 1 0 0 0,1-1 0 0 0,0 0 0 0 0,0 1 0 0 0,0-1 0 0 0,0 1 0 0 0,0-1 0 0 0,1 1 0 0 0,-1 0 0 0 0,0-1 0 0 0,1 1 0 0 0,-1 0 0 0 0,1-1 0 0 0,-1 1 0 0 0,1 0 0 0 0,0-1 0 0 0,0 1 0 0 0,0 2 0 0 0,0 4 7 0 0,1 0-1 0 0,0-1 0 0 0,3 14 0 0 0,-1-5-16 0 0,22 93 152 0 0,-14-69-136 0 0,-1 1-1 0 0,5 68 1 0 0,-14-98 12 0 0,-1 1 1 0 0,0-1-1 0 0,-1 1 0 0 0,0 0 0 0 0,-1-1 1 0 0,0 0-1 0 0,-1 1 0 0 0,0-1 1 0 0,-1 0-1 0 0,0-1 0 0 0,0 1 0 0 0,-2-1 1 0 0,1 1-1 0 0,-8 10 0 0 0,8-16 130 0 0,1 1 0 0 0,-1-1 0 0 0,0 1 0 0 0,0-1 0 0 0,-1-1 0 0 0,1 1 0 0 0,-1-1 0 0 0,0 0-1 0 0,0 0 1 0 0,0-1 0 0 0,-1 1 0 0 0,0-2 0 0 0,-7 4 0 0 0,11-5-113 0 0,0-1 1 0 0,1 1-1 0 0,-1-1 0 0 0,1 1 1 0 0,-1-1-1 0 0,0 0 0 0 0,1 0 0 0 0,-1 0 1 0 0,0-1-1 0 0,1 1 0 0 0,-1 0 1 0 0,0-1-1 0 0,1 0 0 0 0,-1 0 0 0 0,1 0 1 0 0,-1 0-1 0 0,1 0 0 0 0,0 0 1 0 0,-1 0-1 0 0,1-1 0 0 0,0 1 0 0 0,0-1 1 0 0,0 0-1 0 0,0 0 0 0 0,0 0 1 0 0,0 1-1 0 0,1-2 0 0 0,-1 1 0 0 0,0 0 1 0 0,1 0-1 0 0,0 0 0 0 0,-1-1 1 0 0,0-4-1 0 0,-1 1-29 0 0,1-1 0 0 0,0 1 0 0 0,1-1-1 0 0,-1 0 1 0 0,2 1 0 0 0,-1-1 0 0 0,0 0 0 0 0,1 1 0 0 0,1-1 0 0 0,-1 0 0 0 0,3-12 0 0 0,2 2-138 0 0,1 1 1 0 0,0 0-1 0 0,1 0 0 0 0,1 0 0 0 0,16-24 1 0 0,57-65-561 0 0,-57 77 438 0 0,-1-1 0 0 0,-1-1 0 0 0,18-35 0 0 0,-38 61 73 0 0,-1 1 0 0 0,1 0-1 0 0,-1-1 1 0 0,0 1 0 0 0,0-1-1 0 0,0 0 1 0 0,-1 1 0 0 0,1-1-1 0 0,-1 0 1 0 0,0 1-1 0 0,0-1 1 0 0,0 0 0 0 0,-1-4-1 0 0,0 6-162 0 0,1 1 0 0 0,0 0 0 0 0,-1-1-1 0 0,1 1 1 0 0,-1 0 0 0 0,1-1-1 0 0,-1 1 1 0 0,0 0 0 0 0,1 0 0 0 0,-1 0-1 0 0,0 0 1 0 0,0-1 0 0 0,0 1 0 0 0,0 0-1 0 0,0 0 1 0 0,0 1 0 0 0,0-1-1 0 0,-1-1 1 0 0</inkml:trace>
</inkml:ink>
</file>

<file path=ppt/ink/ink8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12.8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800 0 0,'3'0'1962'0'0,"0"1"-1436"0"0,0 0 0 0 0,1 0 0 0 0,-1 1 0 0 0,0-1 1 0 0,1 1-1 0 0,-1 0 0 0 0,0 0 0 0 0,0 0 0 0 0,0 0 0 0 0,-1 0 0 0 0,1 1 0 0 0,0-1 0 0 0,-1 1 0 0 0,4 4 0 0 0,-3-2-205 0 0,0 0 1 0 0,-1 0-1 0 0,1 0 1 0 0,-1 1-1 0 0,0-1 0 0 0,0 1 1 0 0,-1-1-1 0 0,2 8 1 0 0,-1 8-980 0 0,-1 1 0 0 0,0 0 1 0 0,-5 38-1 0 0,3-44-95 0 0,0-11-129 0 0,0 6-358 0 0,-3-2-2398 0 0,-1 1 640 0 0</inkml:trace>
</inkml:ink>
</file>

<file path=ppt/ink/ink8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13.1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2 101 92 0 0,'-4'-12'2000'0'0,"0"3"-524"0"0,0 0-216 0 0,0 0 577 0 0,-2-7-1169 0 0,0 7 280 0 0,2-6-364 0 0,-2 3-612 0 0,2 3-1008 0 0</inkml:trace>
</inkml:ink>
</file>

<file path=ppt/ink/ink8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5:29:13.5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536 0 0,'16'46'4952'0'0,"16"76"-1"0"0,-15-54-2859 0 0,-15-57-1671 0 0,0-5 191 0 0,0 0 1 0 0,-1 0-1 0 0,0 0 1 0 0,0 11-1 0 0,-1-15-301 0 0,3-13-256 0 0,1-1 1 0 0,-1 1-1 0 0,2 0 1 0 0,0 1-1 0 0,11-19 1 0 0,-13 24-82 0 0,0 1 1 0 0,1-1-1 0 0,-1 1 1 0 0,1 0 0 0 0,0 0-1 0 0,0 0 1 0 0,0 1 0 0 0,1 0-1 0 0,0-1 1 0 0,-1 1-1 0 0,1 1 1 0 0,0-1 0 0 0,10-3-1 0 0,-11 5 16 0 0,-1 0 0 0 0,1 1 0 0 0,0 0 0 0 0,-1-1 0 0 0,1 1 0 0 0,0 0-1 0 0,-1 1 1 0 0,1-1 0 0 0,0 1 0 0 0,-1-1 0 0 0,1 1 0 0 0,-1 0 0 0 0,1 0 0 0 0,-1 1 0 0 0,1-1-1 0 0,-1 1 1 0 0,0 0 0 0 0,0 0 0 0 0,0 0 0 0 0,0 0 0 0 0,0 0 0 0 0,0 1 0 0 0,0-1 0 0 0,-1 1-1 0 0,1 0 1 0 0,-1 0 0 0 0,2 3 0 0 0,3 3 27 0 0,-1 1-1 0 0,0 0 0 0 0,-1 0 1 0 0,0 0-1 0 0,-1 0 1 0 0,0 1-1 0 0,4 15 1 0 0,-6-13-646 0 0,0 1-1 0 0,0 0 1 0 0,-2 21 0 0 0,0-35 554 0 0,-3 13-1984 0 0</inkml:trace>
</inkml:ink>
</file>

<file path=ppt/ink/ink8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31.0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 41 572 0 0,'0'0'691'0'0,"-6"-31"1844"0"0,2 22-4532 0 0</inkml:trace>
</inkml:ink>
</file>

<file path=ppt/ink/ink8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31.7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 1 624 0 0,'0'0'3564'0'0,"0"2"-3075"0"0,-2 33 798 0 0,1-1 0 0 0,2 0 0 0 0,8 48 0 0 0,-5-48-800 0 0,-1 4 62 0 0,3 27 195 0 0,3-1 0 0 0,25 95 0 0 0,-33-153-692 0 0,1-1 1 0 0,0 0-1 0 0,0 0 0 0 0,0 0 1 0 0,1 0-1 0 0,0 0 0 0 0,0 0 1 0 0,0-1-1 0 0,0 0 0 0 0,6 6 0 0 0,-6-7-24 0 0,0-1 0 0 0,0 0-1 0 0,0 0 1 0 0,1 0 0 0 0,-1-1 0 0 0,0 1-1 0 0,1-1 1 0 0,0 0 0 0 0,-1 1-1 0 0,1-2 1 0 0,-1 1 0 0 0,1 0-1 0 0,0-1 1 0 0,-1 0 0 0 0,1 0 0 0 0,5 0-1 0 0,55-6 64 0 0,107-24 0 0 0,-36 5-31 0 0,465-44-348 0 0,4 24-171 0 0,-549 42 424 0 0,208-21 61 0 0,-252 22 122 0 0,-1-1 0 0 0,1 0 1 0 0,-1 0-1 0 0,17-9 1 0 0,-24 10-107 0 0,0 0 0 0 0,0 0 0 0 0,0 0 0 0 0,-1 0 0 0 0,1 0 0 0 0,-1-1 1 0 0,1 1-1 0 0,-1-1 0 0 0,0 0 0 0 0,0 0 0 0 0,0 0 0 0 0,0 0 0 0 0,-1 0 1 0 0,1 0-1 0 0,-1 0 0 0 0,0-1 0 0 0,0 1 0 0 0,0 0 0 0 0,0-1 0 0 0,0-3 0 0 0,0-2 55 0 0,0 0-1 0 0,-1-1 0 0 0,0 1 1 0 0,-1-1-1 0 0,-2-16 0 0 0,-5-18 344 0 0,-2 0-1 0 0,-2 1 1 0 0,-19-47-1 0 0,26 73-918 0 0,4 16 116 0 0,1-1 0 0 0,-1 1 0 0 0,1-1 1 0 0,-1 0-1 0 0,1 1 0 0 0,-1-1 0 0 0,0 1 1 0 0,0-1-1 0 0,0 1 0 0 0,-1-2 0 0 0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5.4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8 227 1080 0 0,'2'-2'1730'0'0,"12"-14"885"0"0,0-1 1 0 0,12-22-1 0 0,-10 13-1342 0 0,-2-1-1 0 0,18-44 0 0 0,-31 70-1243 0 0,-1 0 0 0 0,0 0-1 0 0,1 0 1 0 0,-1 0 0 0 0,0 0-1 0 0,1 0 1 0 0,-1 0-1 0 0,0 0 1 0 0,0 0 0 0 0,0-1-1 0 0,0 1 1 0 0,0 0 0 0 0,0 0-1 0 0,0 0 1 0 0,-1 0 0 0 0,1 0-1 0 0,0 0 1 0 0,-1-2 0 0 0,1 3-20 0 0,-1-1 0 0 0,1 0 0 0 0,-1 1 0 0 0,0-1 0 0 0,1 1 0 0 0,-1 0 0 0 0,1-1 0 0 0,-1 1 0 0 0,0-1 0 0 0,1 1 0 0 0,-1 0 0 0 0,0-1 0 0 0,1 1 0 0 0,-1 0 0 0 0,0 0 0 0 0,1 0 1 0 0,-1-1-1 0 0,0 1 0 0 0,0 0 0 0 0,0 0 0 0 0,-3 0-2 0 0,1 1 1 0 0,-1-1 0 0 0,1 0-1 0 0,-1 1 1 0 0,1 0 0 0 0,-1 0-1 0 0,1 0 1 0 0,-5 2 0 0 0,-5 4 25 0 0,0 1 0 0 0,0 0 0 0 0,1 1 0 0 0,0 1 1 0 0,0-1-1 0 0,1 2 0 0 0,1 0 0 0 0,0 0 0 0 0,-17 24 0 0 0,23-28-11 0 0,0-1-1 0 0,0 1 0 0 0,0 0 0 0 0,1 1 1 0 0,0-1-1 0 0,1 1 0 0 0,-1-1 0 0 0,1 1 1 0 0,1 0-1 0 0,0 0 0 0 0,0 0 0 0 0,0 0 1 0 0,1 0-1 0 0,0-1 0 0 0,0 1 1 0 0,1 0-1 0 0,0 0 0 0 0,1 0 0 0 0,0 0 1 0 0,4 11-1 0 0,-3-13-150 0 0,0 0 0 0 0,1 0 0 0 0,0-1 0 0 0,0 1 0 0 0,0-1 0 0 0,1 0 0 0 0,-1 0 0 0 0,1 0 0 0 0,0-1 0 0 0,1 1 0 0 0,-1-1 0 0 0,1 0 0 0 0,0-1-1 0 0,9 5 1 0 0,-8-5-801 0 0,0 0-1 0 0,1-1 0 0 0,-1 1 0 0 0,0-1 1 0 0,1-1-1 0 0,-1 0 0 0 0,15 1 0 0 0,0-2-3338 0 0</inkml:trace>
</inkml:ink>
</file>

<file path=ppt/ink/ink8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32.82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0 8 1504 0 0,'-6'-8'4538'0'0,"8"40"-3006"0"0,2-1 0 0 0,12 53 0 0 0,2 11-214 0 0,-12-46-590 0 0,-1 0 0 0 0,-3 0 0 0 0,-5 55-1 0 0,2-83-474 0 0,-2-1 0 0 0,-1 0 0 0 0,0 0-1 0 0,-2-1 1 0 0,0 1 0 0 0,-1-1-1 0 0,-1 0 1 0 0,0-1 0 0 0,-2 0-1 0 0,-15 23 1 0 0,21-36-141 0 0,0 0 0 0 0,0 0 0 0 0,0-1 0 0 0,-1 1 0 0 0,1-1 0 0 0,-1 0 0 0 0,0 0 1 0 0,-1-1-1 0 0,-8 6 0 0 0,12-9-88 0 0,1 1 1 0 0,-1 0 0 0 0,0-1-1 0 0,1 1 1 0 0,-1-1-1 0 0,0 0 1 0 0,1 0 0 0 0,-1 0-1 0 0,0 1 1 0 0,1-1 0 0 0,-1-1-1 0 0,0 1 1 0 0,0 0 0 0 0,1 0-1 0 0,-1-1 1 0 0,-2 0-1 0 0,2 0-22 0 0,0 0-1 0 0,0 0 0 0 0,1-1 0 0 0,-1 1 1 0 0,0 0-1 0 0,1-1 0 0 0,-1 0 0 0 0,1 1 1 0 0,-1-1-1 0 0,1 0 0 0 0,0 0 0 0 0,0 1 1 0 0,-1-1-1 0 0,1 0 0 0 0,1 0 1 0 0,-2-3-1 0 0,0-1-20 0 0,0-1-1 0 0,0 1 1 0 0,1-1 0 0 0,-1 0 0 0 0,2 0 0 0 0,-1 1 0 0 0,1-1-1 0 0,0 0 1 0 0,0 0 0 0 0,1 0 0 0 0,0 0 0 0 0,0 0 0 0 0,1 1 0 0 0,-1-1-1 0 0,2 1 1 0 0,-1-1 0 0 0,1 1 0 0 0,0 0 0 0 0,6-10 0 0 0,-6 10 8 0 0,1 1 0 0 0,0 0 1 0 0,0 0-1 0 0,0 0 1 0 0,0 1-1 0 0,1-1 1 0 0,0 1-1 0 0,0 0 1 0 0,0 0-1 0 0,0 1 0 0 0,1-1 1 0 0,-1 1-1 0 0,1 1 1 0 0,0-1-1 0 0,0 1 1 0 0,0 0-1 0 0,0 0 1 0 0,0 0-1 0 0,0 1 0 0 0,1 0 1 0 0,7 0-1 0 0,0 2-77 0 0,1 0-1 0 0,0 1 1 0 0,0 0-1 0 0,-1 1 1 0 0,0 1-1 0 0,0 0 0 0 0,0 1 1 0 0,19 10-1 0 0,7 6-3471 0 0,52 38 0 0 0,-80-51 2284 0 0,1-1-1721 0 0,-3 0-1001 0 0</inkml:trace>
</inkml:ink>
</file>

<file path=ppt/ink/ink8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33.1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 121 328 0 0,'-24'-47'15454'0'0,"26"35"-13462"0"0,3 8-1810 0 0,-1 0 0 0 0,1 0 0 0 0,1 1 0 0 0,-1 0 0 0 0,0 0 0 0 0,1 0 0 0 0,-1 1 0 0 0,8-3 0 0 0,56-14 302 0 0,-42 12-1412 0 0,-25 6 305 0 0,20-3-2914 0 0,-8 5 2495 0 0,2 2-5773 0 0</inkml:trace>
</inkml:ink>
</file>

<file path=ppt/ink/ink8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34.1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8 78 1052 0 0,'0'-3'186'0'0,"0"0"0"0"0,-1-1-1 0 0,1 1 1 0 0,-1 0 0 0 0,0-1 0 0 0,0 1-1 0 0,0 0 1 0 0,0 0 0 0 0,-1 0-1 0 0,1 0 1 0 0,-1 0 0 0 0,0 0 0 0 0,0 0-1 0 0,0 1 1 0 0,0-1 0 0 0,0 0 0 0 0,0 1-1 0 0,-1 0 1 0 0,0 0 0 0 0,1 0 0 0 0,-1 0-1 0 0,0 0 1 0 0,0 0 0 0 0,0 1 0 0 0,0-1-1 0 0,0 1 1 0 0,0 0 0 0 0,0 0 0 0 0,-1 0-1 0 0,1 0 1 0 0,0 0 0 0 0,-7 1-1 0 0,5-1-122 0 0,-1 0-1 0 0,1 1 1 0 0,-1 0-1 0 0,1 0 1 0 0,-1 0-1 0 0,1 1 0 0 0,-1 0 1 0 0,1 0-1 0 0,0 0 1 0 0,-1 1-1 0 0,1 0 1 0 0,0 0-1 0 0,0 0 1 0 0,0 0-1 0 0,0 1 0 0 0,1 0 1 0 0,-1 0-1 0 0,1 0 1 0 0,-8 7-1 0 0,10-7-5 0 0,0 0 0 0 0,0 0 0 0 0,0 1 0 0 0,1-1 0 0 0,-1 1 0 0 0,1-1 0 0 0,0 1 0 0 0,0-1 0 0 0,0 1 0 0 0,0 0 0 0 0,1-1 0 0 0,0 1 0 0 0,-1 0 0 0 0,1 0 1 0 0,1-1-1 0 0,-1 1 0 0 0,0 0 0 0 0,1 0 0 0 0,0-1 0 0 0,0 1 0 0 0,0 0 0 0 0,0-1 0 0 0,3 5 0 0 0,3 8 100 0 0,1 0 1 0 0,1 0-1 0 0,16 21 1 0 0,-20-29-98 0 0,50 65 225 0 0,-34-47-188 0 0,-2 0 0 0 0,32 56 0 0 0,-49-78-35 0 0,-1 0-1 0 0,0 0 1 0 0,1 0-1 0 0,-1 0 1 0 0,-1 0 0 0 0,1 0-1 0 0,-1 0 1 0 0,1 0-1 0 0,-1 1 1 0 0,0-1 0 0 0,-2 7-1 0 0,2-9-22 0 0,0 0-1 0 0,-1 0 1 0 0,0 0-1 0 0,1 0 1 0 0,-1 0-1 0 0,0 0 0 0 0,0 0 1 0 0,0 0-1 0 0,0-1 1 0 0,0 1-1 0 0,0 0 1 0 0,0-1-1 0 0,-1 1 1 0 0,1-1-1 0 0,-1 1 0 0 0,1-1 1 0 0,-1 0-1 0 0,1 0 1 0 0,-1 1-1 0 0,0-1 1 0 0,0 0-1 0 0,1-1 1 0 0,-1 1-1 0 0,0 0 0 0 0,0 0 1 0 0,0-1-1 0 0,0 1 1 0 0,-3-1-1 0 0,0 1-18 0 0,0-1 0 0 0,0 0 1 0 0,0 0-1 0 0,0 0 0 0 0,0-1 0 0 0,0 0 0 0 0,0 0 0 0 0,0 0 0 0 0,0-1 1 0 0,0 1-1 0 0,0-1 0 0 0,1 0 0 0 0,-1-1 0 0 0,1 1 0 0 0,-1-1 0 0 0,1 0 1 0 0,0 0-1 0 0,0 0 0 0 0,-6-7 0 0 0,-6-7-18 0 0,2 0-1 0 0,0-1 1 0 0,-14-26 0 0 0,11 18 66 0 0,17 26-74 0 0,-1-1 1 0 0,1 0 0 0 0,-1 0 0 0 0,1 1 0 0 0,-1-1 0 0 0,1 0-1 0 0,-1 0 1 0 0,1 1 0 0 0,-1-1 0 0 0,0 1 0 0 0,1-1 0 0 0,-1 1 0 0 0,0-1-1 0 0,1 1 1 0 0,-1-1 0 0 0,0 1 0 0 0,0-1 0 0 0,0 1 0 0 0,1 0 0 0 0,-1-1-1 0 0,0 1 1 0 0,-1 0 0 0 0,1 0 7 0 0,0 0 0 0 0,1 1-1 0 0,-1-1 1 0 0,0 1 0 0 0,1-1 0 0 0,-1 0-1 0 0,1 1 1 0 0,-1-1 0 0 0,0 1 0 0 0,1 0-1 0 0,-1-1 1 0 0,1 1 0 0 0,0-1 0 0 0,-1 1-1 0 0,1 0 1 0 0,-1-1 0 0 0,1 1 0 0 0,0 0 0 0 0,0-1-1 0 0,-1 2 1 0 0,-2 8 56 0 0,1 0-1 0 0,-1 0 1 0 0,1 12 0 0 0,0-11-19 0 0,-14 111 390 0 0,-1 3-4659 0 0,16-112 2846 0 0</inkml:trace>
</inkml:ink>
</file>

<file path=ppt/ink/ink8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34.8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2 364 0 0,'4'-4'579'0'0,"-1"1"0"0"0,1 0 0 0 0,0 0-1 0 0,0 0 1 0 0,0 0 0 0 0,1 0 0 0 0,-1 1 0 0 0,1 0-1 0 0,7-3 1 0 0,-10 5-427 0 0,0 0 0 0 0,0 0 0 0 0,0 0 0 0 0,0 0 0 0 0,0 0-1 0 0,0 1 1 0 0,0-1 0 0 0,0 1 0 0 0,0-1 0 0 0,-1 1 0 0 0,1 0 0 0 0,0 0-1 0 0,0 0 1 0 0,0 0 0 0 0,-1 0 0 0 0,1 0 0 0 0,-1 0 0 0 0,1 0 0 0 0,-1 1 0 0 0,1-1-1 0 0,-1 0 1 0 0,0 1 0 0 0,1-1 0 0 0,-1 1 0 0 0,0 0 0 0 0,0-1 0 0 0,0 1-1 0 0,1 3 1 0 0,5 8 420 0 0,-1 1-1 0 0,0 0 0 0 0,-1 0 1 0 0,-1 0-1 0 0,4 20 1 0 0,9 79 1746 0 0,-15-93-1983 0 0,5 35 412 0 0,-1-13 61 0 0,1 49 1 0 0,-4-78 345 0 0,2-23-1048 0 0,4-22-494 0 0,-6 15 164 0 0,2 0 1 0 0,0 0-1 0 0,1 0 1 0 0,1 1-1 0 0,17-30 1 0 0,-23 45 208 0 0,0 0 0 0 0,0 0 0 0 0,-1 0 0 0 0,1 0 0 0 0,0 0-1 0 0,0 0 1 0 0,0 0 0 0 0,0 0 0 0 0,1 1 0 0 0,-1-1 0 0 0,0 0 0 0 0,0 1 0 0 0,0-1 0 0 0,0 1 0 0 0,1-1 0 0 0,-1 1-1 0 0,0 0 1 0 0,0-1 0 0 0,1 1 0 0 0,1 0 0 0 0,0 0 0 0 0,-1 0 0 0 0,1 0 0 0 0,0 1 0 0 0,0-1-1 0 0,0 1 1 0 0,0 0 0 0 0,0 0 0 0 0,4 2 0 0 0,4 2-2 0 0,-1 1 1 0 0,0 0-1 0 0,13 10 1 0 0,-22-15 13 0 0,14 11 24 0 0,1-1 1 0 0,1 0-1 0 0,0-1 1 0 0,1-1-1 0 0,-1-1 0 0 0,2 0 1 0 0,26 7-1 0 0,-39-13-6 0 0,0-1 0 0 0,0 0-1 0 0,1 0 1 0 0,-1 0 0 0 0,0-1 0 0 0,0 0-1 0 0,1 0 1 0 0,-1-1 0 0 0,0 0 0 0 0,1 0-1 0 0,-1 0 1 0 0,0 0 0 0 0,0-1 0 0 0,0 0-1 0 0,0-1 1 0 0,0 1 0 0 0,-1-1 0 0 0,1-1-1 0 0,-1 1 1 0 0,0 0 0 0 0,0-1 0 0 0,0 0-1 0 0,0-1 1 0 0,-1 1 0 0 0,1-1 0 0 0,6-9-1 0 0,-6 6 33 0 0,0-1 0 0 0,0 0-1 0 0,-1 1 1 0 0,0-2-1 0 0,4-14 1 0 0,-6 18 72 0 0,0 0 0 0 0,-1 0 1 0 0,0 0-1 0 0,0-1 0 0 0,-1 1 0 0 0,0 0 0 0 0,0 0 1 0 0,0-1-1 0 0,-3-11 0 0 0,3 17-107 0 0,-1-1 0 0 0,1 1 0 0 0,-1 0 0 0 0,0-1 0 0 0,0 1 0 0 0,0 0 1 0 0,1-1-1 0 0,-1 1 0 0 0,0 0 0 0 0,-1 0 0 0 0,1 0 0 0 0,0 0 0 0 0,0 0 0 0 0,0 0 0 0 0,-1 0 1 0 0,1 1-1 0 0,0-1 0 0 0,-1 0 0 0 0,1 1 0 0 0,0-1 0 0 0,-1 1 0 0 0,1-1 0 0 0,-1 1 0 0 0,1 0 1 0 0,-1 0-1 0 0,1-1 0 0 0,-1 1 0 0 0,1 0 0 0 0,-1 0 0 0 0,-2 1 0 0 0,-1-1-5 0 0,0 1 0 0 0,0 0 0 0 0,1 0 0 0 0,-1 0 0 0 0,0 1 0 0 0,1-1 0 0 0,-1 1 0 0 0,1 0 0 0 0,-8 5 0 0 0,6-3-27 0 0,1 0 1 0 0,-1 1 0 0 0,1-1 0 0 0,0 1-1 0 0,0 1 1 0 0,0-1 0 0 0,1 1 0 0 0,-4 6-1 0 0,6-9-6 0 0,0 1 0 0 0,0-1 0 0 0,0 1 0 0 0,1 0 0 0 0,0 0 0 0 0,0 0-1 0 0,0 0 1 0 0,0 0 0 0 0,0 0 0 0 0,1 0 0 0 0,0 0 0 0 0,0 0-1 0 0,0 0 1 0 0,1 8 0 0 0,0-9-27 0 0,0 0 0 0 0,0 0 0 0 0,0-1 0 0 0,0 1-1 0 0,0 0 1 0 0,1 0 0 0 0,0-1 0 0 0,-1 1 0 0 0,1-1 0 0 0,0 1 0 0 0,0-1 0 0 0,0 0-1 0 0,1 0 1 0 0,-1 0 0 0 0,0 0 0 0 0,1 0 0 0 0,4 2 0 0 0,2 1-210 0 0,0 0 1 0 0,0-1-1 0 0,15 4 0 0 0,-22-7 217 0 0,61 17-669 0 0,-61-17 803 0 0,1 0 111 0 0,6 2 86 0 0,-7-2 572 0 0,1-1-681 0 0,-1-1-157 0 0,-1 0 0 0 0,1 0 0 0 0,0 0 0 0 0,-1 0 0 0 0,1 0 0 0 0,-1 0 0 0 0,1 0 0 0 0,-1-1 0 0 0,1 1 0 0 0,-1 0 0 0 0,0-1 0 0 0,0 1 0 0 0,0-1 0 0 0,0 0 0 0 0,0 1-1 0 0,0-1 1 0 0,0 0 0 0 0,-1 1 0 0 0,1-1 0 0 0,0 0 0 0 0,-1 0 0 0 0,1 0 0 0 0,-1 0 0 0 0,0 0 0 0 0,0 1 0 0 0,0-4 0 0 0,1-5-838 0 0,-1-1 0 0 0,0 1 0 0 0,-2-18 0 0 0,1 26 438 0 0,1-1 1 0 0,-1 0-1 0 0,0 1 0 0 0,0-1 1 0 0,0 1-1 0 0,0 0 0 0 0,0-1 1 0 0,-1 1-1 0 0,1 0 0 0 0,-1-1 1 0 0,1 1-1 0 0,-1 0 0 0 0,0 0 1 0 0,0 0-1 0 0,0 1 0 0 0,0-1 1 0 0,0 0-1 0 0,0 1 0 0 0,0-1 1 0 0,0 1-1 0 0,-4-1 0 0 0,0-2-1732 0 0,-6-4-999 0 0</inkml:trace>
</inkml:ink>
</file>

<file path=ppt/ink/ink8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35.7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82 164 0 0,'3'0'2081'0'0,"-2"0"-1934"0"0,0 0 1 0 0,-1 0-1 0 0,1 0 1 0 0,0 0-1 0 0,-1 0 1 0 0,1 0-1 0 0,0 0 1 0 0,-1 0-1 0 0,1 0 0 0 0,0 0 1 0 0,-1 0-1 0 0,1 0 1 0 0,-1 1-1 0 0,1-1 1 0 0,0 0-1 0 0,-1 0 1 0 0,1 1-1 0 0,-1-1 1 0 0,1 0-1 0 0,-1 1 0 0 0,1-1 1 0 0,-1 1-1 0 0,1-1 1 0 0,-1 1-1 0 0,1-1 1 0 0,-1 1-1 0 0,1-1 1 0 0,-1 1-1 0 0,1 0 1 0 0,2 26 2445 0 0,-2-10-1948 0 0,0 0-1 0 0,0 1 1 0 0,2-1-1 0 0,0-1 1 0 0,1 1-1 0 0,10 25 1 0 0,-11-33-523 0 0,1 0-1 0 0,0-1 1 0 0,1 1-1 0 0,0-1 1 0 0,0 0 0 0 0,1 0-1 0 0,0-1 1 0 0,0 1 0 0 0,1-1-1 0 0,0-1 1 0 0,0 1-1 0 0,1-1 1 0 0,10 7 0 0 0,-14-11-95 0 0,-1 0 1 0 0,0-1-1 0 0,1 1 0 0 0,0-1 1 0 0,-1 1-1 0 0,1-1 1 0 0,0 0-1 0 0,-1 0 1 0 0,1-1-1 0 0,0 1 0 0 0,0-1 1 0 0,0 0-1 0 0,0 0 1 0 0,0 0-1 0 0,0 0 1 0 0,0-1-1 0 0,-1 1 0 0 0,1-1 1 0 0,0 0-1 0 0,0 0 1 0 0,-1-1-1 0 0,1 1 1 0 0,-1-1-1 0 0,1 0 0 0 0,5-3 1 0 0,-3 0-20 0 0,0 0 1 0 0,-1 0 0 0 0,0-1-1 0 0,0 0 1 0 0,0 0 0 0 0,-1 0-1 0 0,0 0 1 0 0,0 0 0 0 0,0-1-1 0 0,-1 0 1 0 0,0 0 0 0 0,3-10-1 0 0,8-27-117 0 0,-14 42 55 0 0,-1 3-93 0 0,1-1 143 0 0,-1 1 0 0 0,0-1 0 0 0,0 1 0 0 0,0 0 0 0 0,1 0 0 0 0,-1-1 0 0 0,0 1 0 0 0,1 0 0 0 0,-1 0 0 0 0,1 0 0 0 0,-1 0 0 0 0,1 0 0 0 0,-1 0 0 0 0,1-1 1 0 0,0 1-1 0 0,-1 0 0 0 0,1 0 0 0 0,0 0 0 0 0,0 0 0 0 0,0 1 0 0 0,0-1 0 0 0,0 0 0 0 0,0 0 0 0 0,0 1 0 0 0,0 30-30 0 0,0-27 57 0 0,1 1 1 0 0,0-1 0 0 0,0 0-1 0 0,0 0 1 0 0,1 0-1 0 0,-1 0 1 0 0,1 0 0 0 0,1 0-1 0 0,-1 0 1 0 0,1 0-1 0 0,0-1 1 0 0,0 1 0 0 0,0-1-1 0 0,0 0 1 0 0,1 0-1 0 0,0 0 1 0 0,0 0-1 0 0,0-1 1 0 0,8 6 0 0 0,-6-6 1 0 0,-1 0 0 0 0,1 0 0 0 0,0-1 1 0 0,0 0-1 0 0,0 0 0 0 0,0 0 0 0 0,0-1 0 0 0,0 0 1 0 0,0 0-1 0 0,1-1 0 0 0,-1 1 0 0 0,0-1 1 0 0,1-1-1 0 0,-1 1 0 0 0,0-1 0 0 0,10-2 1 0 0,-7 0-75 0 0,0 0 0 0 0,0 0 0 0 0,-1 0 1 0 0,1-1-1 0 0,-1-1 0 0 0,1 0 1 0 0,-1 0-1 0 0,-1 0 0 0 0,1-1 1 0 0,-1 0-1 0 0,0 0 0 0 0,7-8 1 0 0,-6 3-112 0 0,0 0 0 0 0,0 0 1 0 0,-2-1-1 0 0,1 1 0 0 0,-1-2 1 0 0,-1 1-1 0 0,7-21 0 0 0,-2-10-195 0 0,-2 0 0 0 0,-2-1 0 0 0,-2 0 0 0 0,-1-48 0 0 0,-3 37 259 0 0,-10-87-1 0 0,9 137 100 0 0,1 1 0 0 0,-1-1 1 0 0,-1 1-1 0 0,1-1 0 0 0,0 1 0 0 0,-1 0 0 0 0,0 0 0 0 0,0-1 0 0 0,0 1 0 0 0,-1 0 0 0 0,-2-3 1 0 0,4 6-1 0 0,0 1 0 0 0,1-1 0 0 0,-1 1 0 0 0,0-1 0 0 0,1 1 1 0 0,-1-1-1 0 0,0 1 0 0 0,1 0 0 0 0,-1-1 0 0 0,0 1 1 0 0,0 0-1 0 0,1 0 0 0 0,-1 0 0 0 0,0-1 0 0 0,0 1 1 0 0,0 0-1 0 0,1 0 0 0 0,-1 0 0 0 0,0 0 0 0 0,0 0 0 0 0,0 0 1 0 0,1 1-1 0 0,-1-1 0 0 0,0 0 0 0 0,0 0 0 0 0,0 1 1 0 0,1-1-1 0 0,-1 0 0 0 0,0 1 0 0 0,0 0 0 0 0,-19 15 133 0 0,10-5-45 0 0,2 1 0 0 0,0 1 0 0 0,0 0 1 0 0,1 0-1 0 0,1 0 0 0 0,0 1 1 0 0,0 0-1 0 0,2 0 0 0 0,-5 23 1 0 0,4-11 71 0 0,1 0 0 0 0,2 0 0 0 0,0 1 1 0 0,4 40-1 0 0,0-45-31 0 0,1 0 1 0 0,1-1-1 0 0,1 0 0 0 0,1 1 1 0 0,1-2-1 0 0,1 1 0 0 0,0-1 1 0 0,21 34-1 0 0,-23-44-91 0 0,1-1 0 0 0,0 1 1 0 0,1-1-1 0 0,0-1 0 0 0,0 0 0 0 0,1 0 1 0 0,18 13-1 0 0,-20-17-42 0 0,0 0 0 0 0,1 0 0 0 0,-1-1 0 0 0,1 0 0 0 0,0 0 0 0 0,0-1 0 0 0,0 0 0 0 0,0 0 0 0 0,0-1 0 0 0,0 0 0 0 0,1 0 0 0 0,8-1 0 0 0,-10 0-85 0 0,0-1-1 0 0,0 0 1 0 0,0 0-1 0 0,0-1 1 0 0,0 1-1 0 0,0-2 1 0 0,-1 1-1 0 0,1-1 1 0 0,-1 0-1 0 0,1 0 1 0 0,-1 0-1 0 0,9-8 1 0 0,-7 4-4 0 0,-1 1 1 0 0,0-2 0 0 0,0 1-1 0 0,-1-1 1 0 0,0 0 0 0 0,0 0-1 0 0,-1-1 1 0 0,5-9 0 0 0,4-14 75 0 0,-2-1 0 0 0,-1-1-1 0 0,-2 0 1 0 0,5-35 0 0 0,-8 41 234 0 0,18-134 1260 0 0,-24 162-1475 0 0,0-1 0 0 0,0 1 0 0 0,0-1-1 0 0,0 1 1 0 0,0-1 0 0 0,0 1 0 0 0,0-1-1 0 0,0 1 1 0 0,0-1 0 0 0,0 1 0 0 0,0-1-1 0 0,1 1 1 0 0,-1 0 0 0 0,0-1 0 0 0,0 1-1 0 0,0-1 1 0 0,1 1 0 0 0,-1 0-1 0 0,0-1 1 0 0,1 1 0 0 0,-1-1 0 0 0,0 1-1 0 0,1 0 1 0 0,-1-1 0 0 0,0 1 0 0 0,1 0-1 0 0,-1 0 1 0 0,0-1 0 0 0,1 1 0 0 0,0 0-1 0 0,8 10 86 0 0,3 23 8 0 0,-8-3-25 0 0,-1 0 0 0 0,-1 0 0 0 0,-2 1 0 0 0,-6 55 1 0 0,3-70-43 0 0,0 0 1 0 0,-1 0 0 0 0,0-1-1 0 0,-1 1 1 0 0,-1-1-1 0 0,-1 0 1 0 0,0-1 0 0 0,-1 1-1 0 0,0-1 1 0 0,-18 22 0 0 0,24-34-37 0 0,0 1 1 0 0,0-1 0 0 0,0 0-1 0 0,0 0 1 0 0,0 0 0 0 0,-1 0 0 0 0,1 0-1 0 0,-1 0 1 0 0,1 0 0 0 0,-1-1-1 0 0,0 0 1 0 0,0 1 0 0 0,0-1 0 0 0,1 0-1 0 0,-1 0 1 0 0,0-1 0 0 0,0 1-1 0 0,0 0 1 0 0,-1-1 0 0 0,1 0 0 0 0,0 0-1 0 0,0 0 1 0 0,0 0 0 0 0,0 0 0 0 0,-3-1-1 0 0,5 0-5 0 0,0 1-1 0 0,0-1 0 0 0,1 0 1 0 0,-1 1-1 0 0,0-1 1 0 0,0 1-1 0 0,1-1 0 0 0,-1 0 1 0 0,1 0-1 0 0,-1 1 1 0 0,1-1-1 0 0,-1 0 1 0 0,1 0-1 0 0,-1 0 0 0 0,1 0 1 0 0,0 1-1 0 0,0-1 1 0 0,-1 0-1 0 0,1 0 0 0 0,0 0 1 0 0,0 0-1 0 0,0 0 1 0 0,0 0-1 0 0,0 0 0 0 0,0 0 1 0 0,0 0-1 0 0,0 1 1 0 0,0-1-1 0 0,0 0 0 0 0,1 0 1 0 0,-1-1-1 0 0,1-1-16 0 0,0-1-1 0 0,0 1 0 0 0,0 0 1 0 0,1-1-1 0 0,-1 1 0 0 0,4-5 1 0 0,-1 2-14 0 0,1 1 1 0 0,-1 0-1 0 0,1 0 1 0 0,1 1-1 0 0,-1-1 1 0 0,0 1 0 0 0,1 1-1 0 0,0-1 1 0 0,0 1-1 0 0,0 0 1 0 0,0 0 0 0 0,1 0-1 0 0,-1 1 1 0 0,1 0-1 0 0,0 0 1 0 0,-1 1 0 0 0,1 0-1 0 0,0 0 1 0 0,9 1-1 0 0,-2 0-589 0 0,1 1-1 0 0,-1 0 1 0 0,0 1-1 0 0,0 1 1 0 0,0 0-1 0 0,0 1 0 0 0,0 1 1 0 0,15 7-1 0 0,1-1-3670 0 0,-16-2 994 0 0</inkml:trace>
</inkml:ink>
</file>

<file path=ppt/ink/ink8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36.9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0 828 0 0,'-4'185'8168'0'0,"0"1"-4906"0"0,0-93 963 0 0,4-91-3567 0 0,1-4-649 0 0,0-5-54 0 0,1-1-1 0 0,1 1 0 0 0,-1 0 1 0 0,1 0-1 0 0,0 0 1 0 0,1 1-1 0 0,0-1 1 0 0,0 1-1 0 0,0 0 0 0 0,1 0 1 0 0,0 0-1 0 0,0 1 1 0 0,0-1-1 0 0,1 1 0 0 0,0 0 1 0 0,10-6-1 0 0,-11 7 22 0 0,1 1 0 0 0,-1 0 0 0 0,1-1-1 0 0,0 2 1 0 0,0-1 0 0 0,0 1 0 0 0,0 0-1 0 0,1 0 1 0 0,-1 1 0 0 0,0-1 0 0 0,1 2 0 0 0,-1-1-1 0 0,1 1 1 0 0,-1 0 0 0 0,1 0 0 0 0,-1 0-1 0 0,1 1 1 0 0,-1 0 0 0 0,12 4 0 0 0,-14-4 8 0 0,0 1 1 0 0,0-1-1 0 0,-1 1 1 0 0,1 0-1 0 0,-1 1 1 0 0,1-1-1 0 0,-1 0 1 0 0,0 1-1 0 0,0 0 1 0 0,0 0-1 0 0,0 0 1 0 0,-1 0-1 0 0,1 0 1 0 0,-1 0-1 0 0,0 1 1 0 0,0-1-1 0 0,0 1 1 0 0,0 0-1 0 0,0 0 1 0 0,-1-1-1 0 0,0 1 1 0 0,0 0-1 0 0,0 0 1 0 0,1 8-1 0 0,-2-7 16 0 0,0 0 1 0 0,-1 0-1 0 0,1 0 0 0 0,-1 0 0 0 0,0 1 0 0 0,0-2 1 0 0,-1 1-1 0 0,1 0 0 0 0,-1 0 0 0 0,-1 0 0 0 0,1-1 0 0 0,0 1 1 0 0,-1-1-1 0 0,0 0 0 0 0,0 0 0 0 0,0 0 0 0 0,-1 0 0 0 0,1 0 1 0 0,-7 5-1 0 0,1-4 25 0 0,1 1 1 0 0,0-1-1 0 0,-1-1 1 0 0,0 0 0 0 0,0 0-1 0 0,0-1 1 0 0,-1 0-1 0 0,1 0 1 0 0,-1-1 0 0 0,-10 1-1 0 0,17-3-22 0 0,-11 0-557 0 0,23-6 448 0 0,1 0 0 0 0,-1 1 0 0 0,1 0 0 0 0,1 0-1 0 0,18-5 1 0 0,19-9-126 0 0,-33 12 279 0 0,0-1-1 0 0,0-1 1 0 0,-1 0 0 0 0,0 0-1 0 0,-1-2 1 0 0,0 0 0 0 0,0 0-1 0 0,-1-1 1 0 0,-1 0 0 0 0,0-1-1 0 0,-1-1 1 0 0,9-15 0 0 0,-18 29-30 0 0,-1-1 0 0 0,1 0 0 0 0,-1 0 0 0 0,1 0 0 0 0,-1 1 0 0 0,0-1 0 0 0,1 0 0 0 0,-1 0 0 0 0,0 0 0 0 0,0 0 0 0 0,1 0 0 0 0,-1 0 0 0 0,0 1 0 0 0,0-1 0 0 0,0 0 0 0 0,0 0 0 0 0,0 0 0 0 0,-1 0 0 0 0,1 0 0 0 0,0 0 0 0 0,0 0 0 0 0,0 1 0 0 0,-1-1 0 0 0,1 0 0 0 0,0 0 0 0 0,-1 0 0 0 0,1 0 0 0 0,-1 1 0 0 0,1-1 0 0 0,-1 0 0 0 0,1 0 0 0 0,-1 1 0 0 0,0-1 0 0 0,1 1 0 0 0,-1-1 0 0 0,0 0 0 0 0,0 1 0 0 0,1-1-1 0 0,-1 1 1 0 0,0 0 0 0 0,0-1 0 0 0,-1 1 0 0 0,1-1-14 0 0,0 1 0 0 0,-1-1 0 0 0,1 1-1 0 0,-1 0 1 0 0,1 0 0 0 0,-1 0-1 0 0,0 0 1 0 0,1 0 0 0 0,-1 0-1 0 0,1 0 1 0 0,-1 0 0 0 0,1 1-1 0 0,-1-1 1 0 0,1 0 0 0 0,0 1 0 0 0,-1-1-1 0 0,1 1 1 0 0,-1 0 0 0 0,1 0-1 0 0,0-1 1 0 0,0 1 0 0 0,-1 0-1 0 0,1 0 1 0 0,0 0 0 0 0,0 0-1 0 0,-1 2 1 0 0,0-1-12 0 0,0 0 0 0 0,0 0 0 0 0,1 0 0 0 0,-1 0 0 0 0,1 0 0 0 0,0 0 0 0 0,0 0 0 0 0,-1 0 0 0 0,1 1 0 0 0,1-1 0 0 0,-1 1 0 0 0,0-1 0 0 0,1 0 0 0 0,-1 1 0 0 0,1-1 0 0 0,0 1 0 0 0,-1-1 0 0 0,1 1 0 0 0,0-1 0 0 0,1 1 0 0 0,-1 0 0 0 0,0-1 0 0 0,1 0 0 0 0,0 1 0 0 0,-1-1 0 0 0,1 1 0 0 0,0-1 0 0 0,0 0 0 0 0,0 1-1 0 0,1-1 1 0 0,-1 0 0 0 0,0 0 0 0 0,3 2 0 0 0,2 4-473 0 0,1-1-1 0 0,1 1 0 0 0,0-2 0 0 0,0 1 0 0 0,0-1 0 0 0,1 0 1 0 0,10 5-1 0 0,-7-5-1552 0 0,0-1 1 0 0,22 7-1 0 0,-16-7-1066 0 0</inkml:trace>
</inkml:ink>
</file>

<file path=ppt/ink/ink8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38.1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344 0 0,'9'10'3814'0'0,"0"29"-1053"0"0,7 54 0 0 0,-8-35-1359 0 0,3 19-14 0 0,6 37 1174 0 0,-16-102-1176 0 0,-3-15-263 0 0,-3-21-950 0 0,7 9-397 0 0,0 0 1 0 0,0 1 0 0 0,1-1-1 0 0,9-21 1 0 0,-10 28 159 0 0,1 1 0 0 0,0 0 1 0 0,1 0-1 0 0,0 0 0 0 0,0 1 0 0 0,0 0 0 0 0,1-1 0 0 0,0 1 0 0 0,0 1 1 0 0,10-9-1 0 0,-12 11 46 0 0,0 1 0 0 0,1 0-1 0 0,-1 0 1 0 0,1 0 0 0 0,-1 1 0 0 0,1-1 0 0 0,0 1 0 0 0,-1 0 0 0 0,1 0-1 0 0,0 0 1 0 0,0 0 0 0 0,0 1 0 0 0,-1 0 0 0 0,1-1 0 0 0,0 2 0 0 0,7 0-1 0 0,-4 0-8 0 0,0 1-1 0 0,-1 0 0 0 0,1 0 0 0 0,-1 0 0 0 0,1 1 0 0 0,-1 0 0 0 0,0 1 0 0 0,11 7 0 0 0,-6-2 105 0 0,0 0 1 0 0,-1 0-1 0 0,-1 1 1 0 0,1 0 0 0 0,-1 1-1 0 0,-1 0 1 0 0,0 0 0 0 0,-1 1-1 0 0,6 13 1 0 0,-10-21 239 0 0,-1 1 0 0 0,1 0 0 0 0,0-1 0 0 0,0 0 0 0 0,4 5 0 0 0,-5-7 698 0 0,1-5-1009 0 0,-3 3-11 0 0,1 0 0 0 0,-1 0 0 0 0,0 0 0 0 0,0 0 0 0 0,1 0 0 0 0,-1-1 0 0 0,0 1 0 0 0,1 0 0 0 0,-1 0 0 0 0,0 0 0 0 0,0-1 0 0 0,1 1 0 0 0,-1 0 1 0 0,0 0-1 0 0,0-1 0 0 0,1 1 0 0 0,-1 0 0 0 0,0 0 0 0 0,0-1 0 0 0,0 1 0 0 0,0 0 0 0 0,0-1 0 0 0,1 1 0 0 0,-1 0 0 0 0,0-1 0 0 0,0 1 0 0 0,7-25-619 0 0,17-36-1 0 0,1-2-105 0 0,-25 62 702 0 0,0 1 0 0 0,0-1 0 0 0,0 0 0 0 0,1 0 1 0 0,-1 0-1 0 0,0 1 0 0 0,0-1 0 0 0,0 0 0 0 0,1 0 0 0 0,-1 1 0 0 0,0-1 1 0 0,1 0-1 0 0,-1 1 0 0 0,1-1 0 0 0,-1 0 0 0 0,1 1 0 0 0,-1-1 0 0 0,1 1 0 0 0,-1-1 1 0 0,1 1-1 0 0,0-1 0 0 0,-1 1 0 0 0,1-1 0 0 0,0 1 0 0 0,-1 0 0 0 0,1-1 1 0 0,0 1-1 0 0,-1 0 0 0 0,1 0 0 0 0,0-1 0 0 0,0 1 0 0 0,0 0 0 0 0,-1 0 1 0 0,1 0-1 0 0,0 0 0 0 0,0 0 0 0 0,-1 0 0 0 0,1 0 0 0 0,0 0 0 0 0,0 0 0 0 0,0 0 1 0 0,-1 1-1 0 0,1-1 0 0 0,0 0 0 0 0,-1 0 0 0 0,1 1 0 0 0,1 0 0 0 0,-1-1 24 0 0,0 1 0 0 0,0-1 0 0 0,0 1 0 0 0,0-1 1 0 0,-1 1-1 0 0,1 0 0 0 0,0 0 0 0 0,0-1 0 0 0,0 1 0 0 0,-1 0 0 0 0,1 0 0 0 0,0 0 0 0 0,-1 0 0 0 0,1 0 0 0 0,-1-1 0 0 0,1 1 0 0 0,-1 0 0 0 0,1 1 0 0 0,-1 0 0 0 0,4 5-13 0 0,12 20 15 0 0,-10-17 47 0 0,0 0 1 0 0,1-1 0 0 0,0 1-1 0 0,14 14 1 0 0,-13-16-33 0 0,-2-3 62 0 0,0 0 0 0 0,0 0 0 0 0,0 0-1 0 0,13 7 1 0 0,-17-11-58 0 0,1 0-1 0 0,0 0 1 0 0,-1 0-1 0 0,1-1 1 0 0,0 1-1 0 0,0 0 1 0 0,-1-1-1 0 0,1 0 1 0 0,0 0-1 0 0,0 0 1 0 0,0 0-1 0 0,-1 0 1 0 0,1-1-1 0 0,0 1 1 0 0,0-1-1 0 0,0 1 1 0 0,3-3-1 0 0,-1 1-29 0 0,0-1-1 0 0,0 1 0 0 0,0-1 0 0 0,0-1 0 0 0,-1 1 0 0 0,1-1 0 0 0,-1 1 0 0 0,0-1 1 0 0,0 0-1 0 0,0-1 0 0 0,-1 1 0 0 0,1-1 0 0 0,-1 0 0 0 0,0 1 0 0 0,-1-1 1 0 0,4-8-1 0 0,2-9-128 0 0,0 0 0 0 0,7-40 0 0 0,-9 33 429 0 0,-2-7-76 0 0,-4 34-183 0 0,-1 2-21 0 0,0 1 0 0 0,0-1 1 0 0,0 0-1 0 0,1 1 0 0 0,-1-1 0 0 0,0 1 0 0 0,0 0 0 0 0,0-1 0 0 0,1 1 1 0 0,-1 0-1 0 0,0-1 0 0 0,1 1 0 0 0,-1 0 0 0 0,0 0 0 0 0,1-1 0 0 0,-1 1 0 0 0,1 0 1 0 0,-1 0-1 0 0,1 0 0 0 0,0 0 0 0 0,-1 0 0 0 0,1 0 0 0 0,0 0 0 0 0,0 0 1 0 0,-1 0-1 0 0,1 0 0 0 0,0 0 0 0 0,0 1 0 0 0,-2 34 213 0 0,2-34-211 0 0,0 11 113 0 0,1-1-1 0 0,1 1 0 0 0,0 0 1 0 0,0-1-1 0 0,1 1 0 0 0,1-1 1 0 0,0 0-1 0 0,9 18 0 0 0,-10-24-90 0 0,-1-1 0 0 0,1-1 0 0 0,0 1 0 0 0,0 0-1 0 0,1-1 1 0 0,0 1 0 0 0,-1-1 0 0 0,1 0 0 0 0,1 0 0 0 0,-1 0-1 0 0,0-1 1 0 0,1 0 0 0 0,0 0 0 0 0,0 0 0 0 0,0 0 0 0 0,0-1-1 0 0,0 1 1 0 0,0-2 0 0 0,1 1 0 0 0,9 2 0 0 0,-10-4-51 0 0,-1 1-1 0 0,1-1 1 0 0,-1 0 0 0 0,1 0 0 0 0,-1-1 0 0 0,0 1 0 0 0,1-1 0 0 0,-1 0-1 0 0,0 0 1 0 0,1 0 0 0 0,-1-1 0 0 0,0 0 0 0 0,0 0 0 0 0,0 0 0 0 0,0 0-1 0 0,0 0 1 0 0,-1-1 0 0 0,1 0 0 0 0,-1 1 0 0 0,0-1 0 0 0,0-1 0 0 0,0 1-1 0 0,0 0 1 0 0,0-1 0 0 0,3-5 0 0 0,3-8-152 0 0,-1 1 0 0 0,-1-1 0 0 0,-1 0 0 0 0,9-34 1 0 0,0-2 488 0 0,-11 45-301 0 0,-5 12-23 0 0,-1 12 4 0 0,3 3-221 0 0,0-1 0 0 0,1 0-1 0 0,1 0 1 0 0,0 0-1 0 0,2 0 1 0 0,0 0 0 0 0,1-1-1 0 0,1 0 1 0 0,9 18 0 0 0,-14-31-88 0 0,1 0 1 0 0,0 0 0 0 0,0-1-1 0 0,1 1 1 0 0,-1-1-1 0 0,1 1 1 0 0,-1-1 0 0 0,1 0-1 0 0,0 0 1 0 0,1-1-1 0 0,5 4 1 0 0,-6-4-315 0 0,0-1-1 0 0,0 1 1 0 0,0-1-1 0 0,0 0 1 0 0,0 0-1 0 0,1 0 1 0 0,-1-1-1 0 0,0 0 1 0 0,6 0-1 0 0,20-1-2102 0 0</inkml:trace>
</inkml:ink>
</file>

<file path=ppt/ink/ink8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38.5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4 330 1744 0 0,'1'-2'336'0'0,"0"1"0"0"0,-1-1 0 0 0,1 0 0 0 0,-1 0 1 0 0,1 0-1 0 0,-1 0 0 0 0,0 0 0 0 0,0 0 0 0 0,0 0 0 0 0,0 0 0 0 0,0 0 0 0 0,0 0 0 0 0,0 0 0 0 0,-1 0 0 0 0,0-2 1 0 0,1 3-256 0 0,-1 1 0 0 0,1 0 1 0 0,0-1-1 0 0,0 1 1 0 0,-1 0-1 0 0,1 0 1 0 0,0-1-1 0 0,-1 1 1 0 0,1 0-1 0 0,0 0 1 0 0,-1 0-1 0 0,1 0 1 0 0,0-1-1 0 0,-1 1 1 0 0,1 0-1 0 0,0 0 1 0 0,-1 0-1 0 0,1 0 1 0 0,-1 0-1 0 0,1 0 1 0 0,0 0-1 0 0,-1 0 1 0 0,1 0-1 0 0,-1 0 1 0 0,1 0-1 0 0,0 0 1 0 0,-1 0-1 0 0,-17 10 250 0 0,15-7-217 0 0,-1 1 0 0 0,1-1 0 0 0,0 1 0 0 0,0 0 0 0 0,0 0 0 0 0,0 0 0 0 0,1 0 0 0 0,-1 0 0 0 0,1 0 0 0 0,-1 6 0 0 0,2-8-76 0 0,0 1 1 0 0,0-1-1 0 0,0 1 1 0 0,1-1-1 0 0,-1 1 1 0 0,1 0-1 0 0,-1-1 1 0 0,1 1-1 0 0,0 0 1 0 0,0-1-1 0 0,0 1 1 0 0,1 0-1 0 0,-1-1 1 0 0,1 1-1 0 0,-1 0 1 0 0,1-1-1 0 0,0 1 1 0 0,2 3-1 0 0,-1-4-24 0 0,-1 0-1 0 0,1-1 1 0 0,-1 1-1 0 0,1 0 1 0 0,0-1 0 0 0,0 0-1 0 0,0 1 1 0 0,0-1 0 0 0,0 0-1 0 0,0 0 1 0 0,0 0-1 0 0,0 0 1 0 0,0-1 0 0 0,0 1-1 0 0,0-1 1 0 0,1 1-1 0 0,-1-1 1 0 0,0 0 0 0 0,0 1-1 0 0,1-1 1 0 0,-1-1-1 0 0,0 1 1 0 0,0 0 0 0 0,1 0-1 0 0,-1-1 1 0 0,4-1-1 0 0,1 1-68 0 0,0-2-1 0 0,0 1 1 0 0,-1-1-1 0 0,1 0 1 0 0,-1 0-1 0 0,0-1 1 0 0,8-5-1 0 0,-7 2-93 0 0,0 1-1 0 0,-1-2 1 0 0,1 1 0 0 0,-1-1-1 0 0,-1 0 1 0 0,1 0-1 0 0,-2 0 1 0 0,1-1-1 0 0,-1 1 1 0 0,0-1-1 0 0,-1 0 1 0 0,0-1-1 0 0,2-9 1 0 0,1-11 33 0 0,-1 0-1 0 0,2-55 1 0 0,-7-36 2318 0 0,0 119-1755 0 0,-1 4-316 0 0,0 0 0 0 0,0 0 0 0 0,0 1 0 0 0,1-1 0 0 0,-1 0 0 0 0,1 1 0 0 0,-1-1 0 0 0,1 0 0 0 0,0 1 0 0 0,0 2 0 0 0,-2 76 1832 0 0,9 94 1 0 0,-3-130-1605 0 0,3 63 1978 0 0,-7-106-1746 0 0,1-2-577 0 0,-1 0 0 0 0,0 0 1 0 0,1 0-1 0 0,-1 0 1 0 0,1 0-1 0 0,-1 0 1 0 0,1 0-1 0 0,-1 0 1 0 0,1 0-1 0 0,-1 0 0 0 0,1 0 1 0 0,-1 0-1 0 0,0 0 1 0 0,1 0-1 0 0,-1-1 1 0 0,1 1-1 0 0,-1 0 1 0 0,0 0-1 0 0,1 0 1 0 0,-1-1-1 0 0,1 1 0 0 0,-1 0 1 0 0,0-1-1 0 0,1 1 1 0 0,-1 0-1 0 0,0-1 1 0 0,0 1-1 0 0,1 0 1 0 0,-1-1-1 0 0,0 0 0 0 0,15-17 114 0 0,-10 11-81 0 0,3-1-69 0 0,0 0 0 0 0,0 1-1 0 0,1 0 1 0 0,0 0 0 0 0,0 1 0 0 0,0 0-1 0 0,1 1 1 0 0,0 0 0 0 0,0 0-1 0 0,0 1 1 0 0,21-5 0 0 0,-24 7-190 0 0,-1 1 0 0 0,1 0 1 0 0,-1 1-1 0 0,1 0 0 0 0,0 0 0 0 0,-1 0 0 0 0,1 1 0 0 0,-1-1 1 0 0,1 2-1 0 0,-1-1 0 0 0,1 1 0 0 0,-1 0 0 0 0,0 0 1 0 0,0 1-1 0 0,0-1 0 0 0,0 1 0 0 0,0 1 0 0 0,-1-1 1 0 0,1 1-1 0 0,-1 0 0 0 0,7 7 0 0 0,-4-3-1075 0 0,-1 0 0 0 0,11 16-1 0 0,0 6-4601 0 0,-13-21 1844 0 0</inkml:trace>
</inkml:ink>
</file>

<file path=ppt/ink/ink8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39.0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600 0 0,'0'0'3322'0'0,"5"11"-730"0"0,5 17-442 0 0,-2 0-1 0 0,8 54 1 0 0,-9-40-1303 0 0,36 142 716 0 0,-6-65-4429 0 0,-34-109 1959 0 0,6 13-376 0 0,1-8-3529 0 0,0-4 1711 0 0</inkml:trace>
</inkml:ink>
</file>

<file path=ppt/ink/ink8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40.4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0 355 644 0 0,'5'-8'843'0'0,"-2"3"-305"0"0,0 1 0 0 0,-1-1-1 0 0,1 0 1 0 0,-1 1 0 0 0,0-1 0 0 0,0 0-1 0 0,0-1 1 0 0,-1 1 0 0 0,0 0 0 0 0,0 0 0 0 0,0-1-1 0 0,-1-6 1 0 0,0 11-495 0 0,0 0 1 0 0,0 1-1 0 0,-1-1 1 0 0,1 0-1 0 0,-1 1 0 0 0,1-1 1 0 0,-1 0-1 0 0,1 1 0 0 0,-1-1 1 0 0,1 0-1 0 0,-1 1 1 0 0,1-1-1 0 0,-1 1 0 0 0,0-1 1 0 0,1 1-1 0 0,-1-1 0 0 0,0 1 1 0 0,1-1-1 0 0,-1 1 1 0 0,0 0-1 0 0,0 0 0 0 0,1-1 1 0 0,-1 1-1 0 0,0 0 0 0 0,-1 0 1 0 0,-13-2 296 0 0,13 2-289 0 0,-1 0 1 0 0,0 0 0 0 0,0 1 0 0 0,0-1 0 0 0,0 1 0 0 0,1 0 0 0 0,-1-1-1 0 0,0 1 1 0 0,1 1 0 0 0,-1-1 0 0 0,0 0 0 0 0,-2 2 0 0 0,-4 2 120 0 0,-1 0-68 0 0,1 1 0 0 0,0 0 0 0 0,0 0 0 0 0,0 0 0 0 0,1 1 0 0 0,0 1 0 0 0,0-1 0 0 0,1 1 0 0 0,-9 13 0 0 0,13-17-51 0 0,0 0-1 0 0,0 1 1 0 0,0-1-1 0 0,1 1 1 0 0,0 0-1 0 0,0 0 1 0 0,0 0-1 0 0,0 0 1 0 0,1 0-1 0 0,0 0 1 0 0,0 0-1 0 0,0 0 1 0 0,1 0-1 0 0,-1 1 1 0 0,1-1-1 0 0,1 0 1 0 0,-1 0-1 0 0,1 1 1 0 0,0-1-1 0 0,3 10 1 0 0,-4-13-40 0 0,1-1 0 0 0,-1 1 0 0 0,1-1 0 0 0,0 1 1 0 0,0-1-1 0 0,0 1 0 0 0,0-1 0 0 0,0 0 0 0 0,0 1 1 0 0,0-1-1 0 0,0 0 0 0 0,0 0 0 0 0,1 0 0 0 0,-1 0 1 0 0,0 0-1 0 0,1 0 0 0 0,-1 0 0 0 0,1 0 0 0 0,-1-1 1 0 0,1 1-1 0 0,2 0 0 0 0,-2-1-14 0 0,1 1 0 0 0,-1-1-1 0 0,1 0 1 0 0,-1 0 0 0 0,1-1 0 0 0,-1 1-1 0 0,1-1 1 0 0,-1 1 0 0 0,1-1 0 0 0,-1 0-1 0 0,1 1 1 0 0,3-3 0 0 0,3-2-40 0 0,-1 0 0 0 0,1-1 0 0 0,-1 0 0 0 0,0 0 0 0 0,12-13 0 0 0,45-59 932 0 0,-52 61-524 0 0,-12 17-362 0 0,-1-1 0 0 0,1 1 0 0 0,-1-1 0 0 0,1 0 0 0 0,-1 1 1 0 0,1 0-1 0 0,-1-1 0 0 0,1 1 0 0 0,-1-1 0 0 0,1 1 0 0 0,0 0 1 0 0,-1-1-1 0 0,1 1 0 0 0,-1 0 0 0 0,1 0 0 0 0,0-1 0 0 0,0 1 1 0 0,-1 0-1 0 0,1 0 0 0 0,0 0 0 0 0,-1 0 0 0 0,1 0 0 0 0,0 0 1 0 0,-1 0-1 0 0,1 0 0 0 0,0 0 0 0 0,-1 0 0 0 0,1 0 0 0 0,0 1 1 0 0,-1-1-1 0 0,1 0 0 0 0,0 0 0 0 0,-1 1 0 0 0,1-1 0 0 0,0 0 1 0 0,-1 1-1 0 0,1-1 0 0 0,-1 1 0 0 0,1-1 0 0 0,0 2 0 0 0,22 26 190 0 0,-15-17-120 0 0,-6-8-59 0 0,5 6 50 0 0,0 0-1 0 0,0-1 1 0 0,0 0 0 0 0,1 0 0 0 0,0-1 0 0 0,1 0-1 0 0,12 8 1 0 0,-18-14-2 0 0,1-1-51 0 0,1-1-1 0 0,-1 1 1 0 0,0-1-1 0 0,0 0 1 0 0,0-1-1 0 0,0 1 1 0 0,0-1 0 0 0,0 0-1 0 0,0 0 1 0 0,-1 0-1 0 0,1 0 1 0 0,0-1-1 0 0,-1 1 1 0 0,0-1-1 0 0,0 0 1 0 0,6-6 0 0 0,4-6-31 0 0,-1-1 0 0 0,14-24 0 0 0,-9 14-12 0 0,-13 20 68 0 0,-2 3-90 0 0,-1 0 1 0 0,1 0-1 0 0,0 0 0 0 0,0 0 1 0 0,0 1-1 0 0,0-1 1 0 0,1 1-1 0 0,-1-1 0 0 0,1 1 1 0 0,-1 0-1 0 0,1 0 1 0 0,0 0-1 0 0,0 0 1 0 0,0 1-1 0 0,0-1 0 0 0,0 1 1 0 0,5-2-1 0 0,-5 3 35 0 0,-1 0 0 0 0,0 1 0 0 0,1-1 0 0 0,-1 1 0 0 0,0-1 0 0 0,1 1 0 0 0,-1 0 0 0 0,0 0 0 0 0,0 0 0 0 0,0 0 0 0 0,0 0 0 0 0,3 3 0 0 0,24 16 82 0 0,-14-6 40 0 0,2-2 0 0 0,-1 0 0 0 0,1-1-1 0 0,1-1 1 0 0,34 14 0 0 0,-46-21-78 0 0,-1-1 0 0 0,1-1 0 0 0,1 1 0 0 0,-1-1 0 0 0,0 0 0 0 0,0 0 0 0 0,0-1 0 0 0,1 0 0 0 0,-1 0 0 0 0,0 0 0 0 0,1-1 0 0 0,-1 0 0 0 0,0 0 0 0 0,0 0 0 0 0,0-1 0 0 0,0 0 0 0 0,0 0 0 0 0,0-1 0 0 0,-1 0 0 0 0,1 0 0 0 0,-1 0 0 0 0,10-8 0 0 0,-11 8-22 0 0,0-1 1 0 0,-1 1-1 0 0,0-1 0 0 0,1 0 0 0 0,-1 0 0 0 0,-1 0 0 0 0,1-1 0 0 0,-1 1 0 0 0,0-1 0 0 0,4-8 0 0 0,-2-2-54 0 0,-1 0 0 0 0,3-18 1 0 0,1-6-197 0 0,-3 27-618 0 0,-3 23 393 0 0,0-4 546 0 0,15 114-265 0 0,-8-72 598 0 0,3 81-1 0 0,-9-99-173 0 0,-1-26-121 0 0,0 0 0 0 0,-1 0 0 0 0,1 0 0 0 0,-1 0 0 0 0,0 1 0 0 0,-1-1 0 0 0,1 0 0 0 0,-1 0 0 0 0,0 0 0 0 0,0 0 0 0 0,-1 0 0 0 0,-1 5 0 0 0,2-9 12 0 0,-13-8-281 0 0,13 5 120 0 0,0 1 1 0 0,-1 0 0 0 0,1-1-1 0 0,0 1 1 0 0,0-1 0 0 0,0 1-1 0 0,1-1 1 0 0,-1 0-1 0 0,0 1 1 0 0,0-1 0 0 0,1 0-1 0 0,-1 0 1 0 0,1 1 0 0 0,-1-4-1 0 0,-1-26-365 0 0,1 25 312 0 0,-2-53-461 0 0,-24-243-77 0 0,26 297 628 0 0,0-1 1 0 0,-1 1-1 0 0,0-1 1 0 0,0 1-1 0 0,0 0 1 0 0,-1 0-1 0 0,1 0 1 0 0,-1 0-1 0 0,-1 1 0 0 0,1-1 1 0 0,0 1-1 0 0,-1 0 1 0 0,0-1-1 0 0,0 2 1 0 0,0-1-1 0 0,-1 0 0 0 0,1 1 1 0 0,-1 0-1 0 0,-6-3 1 0 0,7 4-7 0 0,1 1 0 0 0,-1-1 0 0 0,1 1 0 0 0,-1 0 0 0 0,0 0 0 0 0,0 1-1 0 0,0-1 1 0 0,1 1 0 0 0,-1 0 0 0 0,0 0 0 0 0,0 0 0 0 0,0 0 0 0 0,0 1 0 0 0,0-1 0 0 0,1 1 0 0 0,-1 0 0 0 0,0 0 0 0 0,1 1 0 0 0,-1-1 0 0 0,0 1 0 0 0,1-1 0 0 0,0 1 0 0 0,-1 0 0 0 0,1 1 0 0 0,0-1-1 0 0,0 0 1 0 0,0 1 0 0 0,1 0 0 0 0,-4 3 0 0 0,4-4-43 0 0,1-1-1 0 0,-1 1 0 0 0,0 0 1 0 0,1 1-1 0 0,-1-1 0 0 0,1 0 1 0 0,0 0-1 0 0,-1 1 0 0 0,1-1 1 0 0,0 0-1 0 0,0 1 0 0 0,1-1 1 0 0,-1 1-1 0 0,0-1 0 0 0,1 1 1 0 0,0 0-1 0 0,0-1 0 0 0,-1 1 1 0 0,2 0-1 0 0,-1-1 0 0 0,0 1 1 0 0,0-1-1 0 0,1 1 0 0 0,-1-1 1 0 0,1 1-1 0 0,0-1 0 0 0,0 1 1 0 0,2 3-1 0 0,-1-3-116 0 0,1 1-1 0 0,-1-1 1 0 0,1 1-1 0 0,0-1 1 0 0,1 0-1 0 0,-1 0 1 0 0,0 0 0 0 0,1-1-1 0 0,0 1 1 0 0,-1-1-1 0 0,1 0 1 0 0,0 0-1 0 0,0 0 1 0 0,0 0-1 0 0,1-1 1 0 0,5 2 0 0 0,10 1-158 0 0,0-1 0 0 0,1-1 1 0 0,-1 0-1 0 0,1-2 1 0 0,-1 0-1 0 0,1-2 1 0 0,24-4-1 0 0,-16 1 1185 0 0,0-2 1 0 0,0-1-1 0 0,0-2 0 0 0,36-17 1 0 0,-30 11-341 0 0,0-2-1 0 0,-1-2 1 0 0,0-1 0 0 0,45-39 0 0 0,-76 58-470 0 0,-1 0 0 0 0,1-1-1 0 0,-1 0 1 0 0,0 1 0 0 0,0-1 0 0 0,0 0-1 0 0,3-6 1 0 0,-4 8-48 0 0,-1 0 0 0 0,0 0 0 0 0,1 0 0 0 0,-1 0 0 0 0,0 1-1 0 0,0-1 1 0 0,0 0 0 0 0,1 0 0 0 0,-1 0 0 0 0,0 0 0 0 0,0 0-1 0 0,0 0 1 0 0,-1 0 0 0 0,1 0 0 0 0,0 1 0 0 0,0-1 0 0 0,0 0 0 0 0,-1 0-1 0 0,1 0 1 0 0,0 0 0 0 0,-1 0 0 0 0,1 1 0 0 0,-1-1 0 0 0,1 0-1 0 0,-1 0 1 0 0,1 1 0 0 0,-1-1 0 0 0,1 0 0 0 0,-1 1 0 0 0,0-1 0 0 0,0 0-1 0 0,-1 0-24 0 0,-4 1 18 0 0,0 1-1 0 0,0 0 0 0 0,0 0 0 0 0,0 1 1 0 0,0 0-1 0 0,1 0 0 0 0,-1 0 0 0 0,1 1 1 0 0,-1 0-1 0 0,1 0 0 0 0,0 0 0 0 0,0 1 1 0 0,0 0-1 0 0,0 0 0 0 0,1 0 0 0 0,0 0 1 0 0,0 1-1 0 0,0-1 0 0 0,0 1 0 0 0,1 0 1 0 0,-1 0-1 0 0,1 1 0 0 0,1-1 1 0 0,-1 0-1 0 0,-1 8 0 0 0,2-8-25 0 0,0 1 0 0 0,0-1-1 0 0,1 1 1 0 0,0 0 0 0 0,0-1 0 0 0,1 1 0 0 0,-1 0-1 0 0,1 0 1 0 0,1-1 0 0 0,-1 1 0 0 0,3 11-1 0 0,-2-13-56 0 0,0 0-1 0 0,1 0 0 0 0,0 0 0 0 0,0 0 0 0 0,0 0 0 0 0,0 0 0 0 0,0 0 0 0 0,1-1 0 0 0,0 1 0 0 0,0-1 1 0 0,0 0-1 0 0,0 0 0 0 0,0 0 0 0 0,0 0 0 0 0,1-1 0 0 0,0 1 0 0 0,3 1 0 0 0,-3-2-189 0 0,-1 0-1 0 0,0-1 1 0 0,1 1-1 0 0,-1-1 1 0 0,1 0-1 0 0,-1 0 1 0 0,1-1-1 0 0,0 1 1 0 0,-1-1-1 0 0,1 1 1 0 0,0-1-1 0 0,-1 0 1 0 0,1 0-1 0 0,0-1 1 0 0,0 1-1 0 0,-1-1 1 0 0,1 0-1 0 0,-1 0 1 0 0,1 0-1 0 0,-1-1 1 0 0,1 1-1 0 0,4-4 1 0 0,4-2-232 0 0,-1-1 1 0 0,0-1-1 0 0,-1 0 1 0 0,17-17-1 0 0,-18 16 692 0 0,1-1 332 0 0,0 1 0 0 0,0 0 0 0 0,1 1 0 0 0,0 0 0 0 0,1 0-1 0 0,17-9 1 0 0,-25 17-401 0 0,0 0-1 0 0,0 1 1 0 0,0-1-1 0 0,0 1 1 0 0,1 0-1 0 0,-1 0 0 0 0,0 0 1 0 0,0 1-1 0 0,0-1 1 0 0,0 1-1 0 0,0 0 1 0 0,0 0-1 0 0,0 1 0 0 0,0-1 1 0 0,0 1-1 0 0,-1 0 1 0 0,1 0-1 0 0,0 0 1 0 0,-1 0-1 0 0,0 1 1 0 0,5 3-1 0 0,-4-2 20 0 0,0 0 1 0 0,0 0-1 0 0,-1 1 1 0 0,1-1-1 0 0,-1 1 1 0 0,0 0-1 0 0,0 0 1 0 0,-1 0-1 0 0,1 0 1 0 0,-1 0-1 0 0,0 1 0 0 0,0-1 1 0 0,-1 1-1 0 0,0-1 1 0 0,0 1-1 0 0,0-1 1 0 0,-1 1-1 0 0,1 0 1 0 0,-1-1-1 0 0,-1 1 1 0 0,1 0-1 0 0,-3 8 1 0 0,3-14-115 0 0,0 0 1 0 0,1 1-1 0 0,-1-1 1 0 0,0 0-1 0 0,0 1 0 0 0,0-1 1 0 0,0 0-1 0 0,0 0 1 0 0,0 1-1 0 0,0-1 1 0 0,0 0-1 0 0,-1 1 1 0 0,1-1-1 0 0,0 0 1 0 0,0 0-1 0 0,0 1 1 0 0,0-1-1 0 0,0 0 1 0 0,0 0-1 0 0,0 1 1 0 0,-1-1-1 0 0,1 0 1 0 0,0 0-1 0 0,0 1 1 0 0,0-1-1 0 0,-1 0 1 0 0,1 0-1 0 0,0 0 1 0 0,0 0-1 0 0,0 1 1 0 0,-1-1-1 0 0,1 0 1 0 0,0 0-1 0 0,0 0 1 0 0,-1 0-1 0 0,1 0 1 0 0,0 0-1 0 0,-1 0 1 0 0,1 0-1 0 0,0 0 1 0 0,0 0-1 0 0,-1 1 0 0 0,1-1 1 0 0,0-1-1 0 0,-1 1 1 0 0,1 0-1 0 0,0 0 1 0 0,0 0-1 0 0,-1 0 1 0 0,1 0-1 0 0,0 0 1 0 0,0 0-1 0 0,-1 0 1 0 0,1 0-1 0 0,0 0 1 0 0,0-1-1 0 0,-1 1 1 0 0,1 0-1 0 0,0 0 1 0 0,0 0-1 0 0,-1-1 1 0 0,1 1-1 0 0,0 0 1 0 0,0 0-1 0 0,0 0 1 0 0,0-1-1 0 0,-1 1 1 0 0,1 0-1 0 0,0-1 1 0 0,-1 0 64 0 0,0-1 1 0 0,0 1 0 0 0,0-1-1 0 0,0 1 1 0 0,0-1 0 0 0,0 1-1 0 0,1-1 1 0 0,-1 0 0 0 0,0 1-1 0 0,1-1 1 0 0,0 0 0 0 0,-1-2-1 0 0,2-4-91 0 0,0 0 0 0 0,0 0 0 0 0,1 0 0 0 0,0 1 0 0 0,0-1 0 0 0,1 0 0 0 0,0 1 0 0 0,0 0 0 0 0,1 0 0 0 0,-1 0 0 0 0,2 0 0 0 0,-1 1 0 0 0,1-1 0 0 0,0 1 0 0 0,9-8 0 0 0,-4 4-787 0 0,1 0 1 0 0,0 1-1 0 0,15-9 1 0 0,-15 11-1018 0 0,1 0 0 0 0,1 1 1 0 0,13-5-1 0 0,-10 7-1421 0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6.1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9 126 448 0 0,'0'0'6151'0'0,"-2"3"-5176"0"0,-2 8-414 0 0,0 1 0 0 0,1-1 0 0 0,0 1-1 0 0,1 0 1 0 0,0 0 0 0 0,1 24 0 0 0,-2-5 41 0 0,-27 306 1865 0 0,15-112-3883 0 0,15-217 954 0 0,-1-1 0 0 0,0 1 0 0 0,0-1 0 0 0,-4 14 0 0 0,4-19-192 0 0,-7-26-1892 0 0,-1 0 1802 0 0,3-7 289 0 0,-11-51 271 0 0,3-1 1 0 0,-3-123-1 0 0,18 176 442 0 0,0 0 1 0 0,2 0-1 0 0,2 0 1 0 0,9-33 0 0 0,-8 42-119 0 0,1 1 1 0 0,1 0-1 0 0,1 0 1 0 0,1 0-1 0 0,0 1 1 0 0,22-29-1 0 0,-27 41-36 0 0,1 1-1 0 0,-1-1 0 0 0,2 1 0 0 0,-1 0 1 0 0,1 0-1 0 0,-1 1 0 0 0,2 0 0 0 0,-1 0 1 0 0,0 0-1 0 0,1 1 0 0 0,0 0 0 0 0,16-5 0 0 0,-19 8-42 0 0,1 0 0 0 0,0 0 0 0 0,0 0 0 0 0,0 0 0 0 0,0 1-1 0 0,0 0 1 0 0,0 1 0 0 0,0-1 0 0 0,0 1 0 0 0,0 0-1 0 0,0 1 1 0 0,-1-1 0 0 0,1 1 0 0 0,0 0 0 0 0,-1 0-1 0 0,1 1 1 0 0,-1 0 0 0 0,0 0 0 0 0,8 6 0 0 0,-8-6-13 0 0,0 1 1 0 0,-1 0 0 0 0,1 1-1 0 0,-1-1 1 0 0,1 1 0 0 0,-1 0 0 0 0,-1 0-1 0 0,1 0 1 0 0,-1 0 0 0 0,0 1-1 0 0,0 0 1 0 0,0-1 0 0 0,-1 1 0 0 0,0 0-1 0 0,0 0 1 0 0,1 10 0 0 0,-2-7 19 0 0,-1 0 1 0 0,0 0 0 0 0,0 0 0 0 0,-1-1-1 0 0,0 1 1 0 0,0 0 0 0 0,-1 0-1 0 0,0-1 1 0 0,-1 1 0 0 0,-7 14-1 0 0,3-9-85 0 0,0 0 0 0 0,-1 0-1 0 0,-1-1 1 0 0,0 0 0 0 0,-1 0 0 0 0,-1-1-1 0 0,0-1 1 0 0,0 1 0 0 0,-1-2-1 0 0,0 0 1 0 0,-1 0 0 0 0,-26 14-1 0 0,34-22-502 0 0,-1 0-1 0 0,1 0 1 0 0,0 0-1 0 0,-1 0 1 0 0,1-1-1 0 0,-1 0 1 0 0,1 0-1 0 0,-1-1 1 0 0,0 0-1 0 0,-8 0 1 0 0,5-12-3437 0 0</inkml:trace>
</inkml:ink>
</file>

<file path=ppt/ink/ink8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40.8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 1 460 0 0,'0'0'2914'0'0,"-4"16"416"0"0,5 16-2218 0 0,1 0 0 0 0,1 0 1 0 0,15 58-1 0 0,7 1-693 0 0,4 15-1712 0 0,-13-36-3750 0 0,-14-55 2211 0 0</inkml:trace>
</inkml:ink>
</file>

<file path=ppt/ink/ink8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41.5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5 217 764 0 0,'-6'-3'997'0'0,"-1"-1"1"0"0,1 1-1 0 0,0-1 1 0 0,-8-8-1 0 0,-1 0 963 0 0,14 12-1912 0 0,0-1-1 0 0,1 1 1 0 0,-1-1-1 0 0,0 0 1 0 0,1 1-1 0 0,-1-1 0 0 0,1 1 1 0 0,-1-1-1 0 0,0 0 1 0 0,1 0-1 0 0,-1 1 1 0 0,1-1-1 0 0,0 0 1 0 0,-1 0-1 0 0,1 0 0 0 0,0 1 1 0 0,-1-1-1 0 0,1 0 1 0 0,0 0-1 0 0,0 0 1 0 0,0 0-1 0 0,0 0 1 0 0,0 1-1 0 0,0-1 0 0 0,0 0 1 0 0,0 0-1 0 0,0 0 1 0 0,0 0-1 0 0,0 0 1 0 0,1 0-1 0 0,-1 1 1 0 0,0-1-1 0 0,1 0 0 0 0,-1 0 1 0 0,0 0-1 0 0,1 1 1 0 0,-1-1-1 0 0,1 0 1 0 0,-1 0-1 0 0,1 1 1 0 0,0-1-1 0 0,-1 1 0 0 0,1-1 1 0 0,1 0-1 0 0,3-4 7 0 0,0 0 0 0 0,1 1-1 0 0,0 0 1 0 0,8-4 0 0 0,-9 6 28 0 0,24-15 142 0 0,2 2 1 0 0,-1 2-1 0 0,2 1 0 0 0,0 1 1 0 0,64-13-1 0 0,-90 23-94 0 0,-1 1 0 0 0,1 0 0 0 0,0 0 1 0 0,-1 1-1 0 0,1-1 0 0 0,-1 1 0 0 0,1 0 0 0 0,-1 1 0 0 0,1-1 1 0 0,-1 1-1 0 0,0 0 0 0 0,0 1 0 0 0,0-1 0 0 0,0 1 0 0 0,0 0 0 0 0,-1 0 1 0 0,1 1-1 0 0,-1-1 0 0 0,0 1 0 0 0,0 0 0 0 0,0 0 0 0 0,0 0 0 0 0,-1 1 1 0 0,1-1-1 0 0,-1 1 0 0 0,-1 0 0 0 0,1 0 0 0 0,0 0 0 0 0,2 9 0 0 0,4 12 1321 0 0,8 40 1173 0 0,-16-67-2562 0 0,8-21-313 0 0,-8 21 232 0 0,-1 0-1 0 0,0 0 0 0 0,0 1 0 0 0,0-1 0 0 0,1 0 0 0 0,-1 0 0 0 0,0 1 0 0 0,0-1 0 0 0,1 0 0 0 0,-1 0 1 0 0,1 1-1 0 0,-1-1 0 0 0,1 1 0 0 0,-1-1 0 0 0,1 0 0 0 0,-1 1 0 0 0,1-1 0 0 0,0 1 0 0 0,-1-1 0 0 0,1 1 1 0 0,0 0-1 0 0,1-1 0 0 0,0 0-23 0 0,1 0 0 0 0,0 0 0 0 0,-1 0 0 0 0,1 0 0 0 0,0 1 0 0 0,0-1 0 0 0,0 1 0 0 0,0 0 0 0 0,-1 0 0 0 0,1 0 0 0 0,0 1 0 0 0,0-1 0 0 0,5 2 0 0 0,44 14-54 0 0,-10-2 20 0 0,-24-10 77 0 0,0-1 1 0 0,0-1-1 0 0,0 0 1 0 0,36-2 0 0 0,-46-1-57 0 0,-1 0 1 0 0,1 0 0 0 0,0-1-1 0 0,-1 0 1 0 0,1-1 0 0 0,-1 1-1 0 0,0-1 1 0 0,0-1 0 0 0,0 1-1 0 0,0-1 1 0 0,0-1 0 0 0,-1 1 0 0 0,0-1-1 0 0,6-6 1 0 0,-7 7-18 0 0,-1-1 1 0 0,0 0-1 0 0,-1-1 1 0 0,1 1-1 0 0,-1 0 1 0 0,0-1 0 0 0,-1 0-1 0 0,1 0 1 0 0,-1 0-1 0 0,0 0 1 0 0,0 0-1 0 0,0-7 1 0 0,-1 10 39 0 0,-1 0 1 0 0,0 1 0 0 0,1-1-1 0 0,-1 1 1 0 0,0-1 0 0 0,0 0 0 0 0,-1 1-1 0 0,1-1 1 0 0,-1 1 0 0 0,1-1-1 0 0,-1 1 1 0 0,0-1 0 0 0,0 1-1 0 0,0-1 1 0 0,0 1 0 0 0,0 0 0 0 0,0-1-1 0 0,-1 1 1 0 0,1 0 0 0 0,-1 0-1 0 0,1 0 1 0 0,-1 0 0 0 0,0 0-1 0 0,0 1 1 0 0,0-1 0 0 0,0 0 0 0 0,0 1-1 0 0,0-1 1 0 0,-1 1 0 0 0,1 0-1 0 0,0 0 1 0 0,-3-1 0 0 0,-2 1 5 0 0,0-1 1 0 0,1 1-1 0 0,-1 1 1 0 0,0 0-1 0 0,0 0 1 0 0,0 0-1 0 0,1 0 1 0 0,-1 1-1 0 0,0 1 1 0 0,0-1-1 0 0,-7 3 1 0 0,9-2 9 0 0,-1-1 0 0 0,0 2 0 0 0,0-1 0 0 0,1 0 1 0 0,-1 1-1 0 0,1 0 0 0 0,0 0 0 0 0,0 1 0 0 0,0 0 0 0 0,1 0 1 0 0,-1 0-1 0 0,-6 7 0 0 0,10-9-3 0 0,0-1 1 0 0,0 1-1 0 0,0-1 0 0 0,0 1 0 0 0,0-1 1 0 0,0 1-1 0 0,0 0 0 0 0,1-1 1 0 0,-1 1-1 0 0,1 0 0 0 0,-1 0 1 0 0,1 0-1 0 0,0-1 0 0 0,0 1 0 0 0,-1 0 1 0 0,2 2-1 0 0,-1-3 11 0 0,0 0-1 0 0,1 0 1 0 0,-1-1 0 0 0,0 1 0 0 0,1 0-1 0 0,-1-1 1 0 0,1 1 0 0 0,-1 0-1 0 0,1-1 1 0 0,0 1 0 0 0,-1-1 0 0 0,1 1-1 0 0,0-1 1 0 0,-1 1 0 0 0,1-1-1 0 0,0 0 1 0 0,-1 1 0 0 0,1-1 0 0 0,0 0-1 0 0,0 1 1 0 0,-1-1 0 0 0,1 0-1 0 0,0 0 1 0 0,1 0 0 0 0,6 1-31 0 0,0-1 0 0 0,0 0 0 0 0,0 0 0 0 0,-1-1 0 0 0,11-2 0 0 0,-10 2 17 0 0,22-7-41 0 0,4 2-45 0 0,-32 6 112 0 0,-1 0 0 0 0,1 0 0 0 0,0 0 0 0 0,0 0 1 0 0,0 1-1 0 0,0-1 0 0 0,-1 1 0 0 0,1-1 0 0 0,0 1 0 0 0,0 0 0 0 0,-1 0 1 0 0,1 0-1 0 0,-1 0 0 0 0,1 0 0 0 0,2 2 0 0 0,1 2-83 0 0,-1 0-1 0 0,0 0 1 0 0,0 1-1 0 0,0-1 1 0 0,-1 1-1 0 0,1 0 1 0 0,-1 0-1 0 0,2 7 0 0 0,16 52-6004 0 0,-21-63 5821 0 0,7 9-4033 0 0</inkml:trace>
</inkml:ink>
</file>

<file path=ppt/ink/ink8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41.9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12 304 0 0,'5'-10'1645'0'0,"0"0"-1"0"0,1 1 0 0 0,0 0 1 0 0,1 0-1 0 0,14-15 1 0 0,-20 24-1568 0 0,0-1 0 0 0,0 0 0 0 0,0 1 0 0 0,1-1 0 0 0,-1 1 0 0 0,0-1 0 0 0,0 1 0 0 0,0 0 0 0 0,0-1 0 0 0,1 1 0 0 0,-1 0 0 0 0,0 0 0 0 0,0 0 0 0 0,1 0 0 0 0,-1 0 0 0 0,0 0 0 0 0,0 0 0 0 0,0 1 0 0 0,3-1 0 0 0,20 11 913 0 0,5 21 70 0 0,-28-31-787 0 0,-1-1-177 0 0,0 1 0 0 0,0-1-1 0 0,1 1 1 0 0,-1-1 0 0 0,0 0 0 0 0,0 1 0 0 0,0-1 0 0 0,1 0 0 0 0,-1 0-1 0 0,0 1 1 0 0,1-1 0 0 0,-1 0 0 0 0,0 0 0 0 0,1 1 0 0 0,-1-1-1 0 0,0 0 1 0 0,1 0 0 0 0,-1 0 0 0 0,0 1 0 0 0,1-1 0 0 0,-1 0-1 0 0,0 0 1 0 0,1 0 0 0 0,24-26 264 0 0,-18 19-246 0 0,-1 0 1 0 0,1 0-1 0 0,1 1 0 0 0,-1 0 1 0 0,15-10-1 0 0,-18 14-250 0 0,0 1 0 0 0,-1-1 0 0 0,1 1 0 0 0,0-1 0 0 0,0 1-1 0 0,0 0 1 0 0,0 1 0 0 0,0-1 0 0 0,0 1 0 0 0,0-1 0 0 0,1 1-1 0 0,-1 1 1 0 0,0-1 0 0 0,0 0 0 0 0,0 1 0 0 0,0 0 0 0 0,0 0 0 0 0,0 0-1 0 0,0 1 1 0 0,-1-1 0 0 0,1 1 0 0 0,5 3 0 0 0,-4-2-107 0 0,-1 0 0 0 0,1 1 0 0 0,-1 0 0 0 0,0-1 0 0 0,0 2 0 0 0,0-1 0 0 0,-1 0 0 0 0,1 1 0 0 0,-1 0-1 0 0,0 0 1 0 0,0 0 0 0 0,-1 0 0 0 0,0 0 0 0 0,0 0 0 0 0,3 11 0 0 0,1 16-4280 0 0,-6-16 1090 0 0</inkml:trace>
</inkml:ink>
</file>

<file path=ppt/ink/ink8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42.6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 0 448 0 0,'-4'13'1687'0'0,"1"-1"0"0"0,-5 26 0 0 0,2 60 386 0 0,6-82-1686 0 0,0 20-135 0 0,1-1-1 0 0,2 1 0 0 0,2-1 0 0 0,1 0 1 0 0,1-1-1 0 0,3 1 0 0 0,13 35 0 0 0,35 57-5155 0 0,-48-108 2233 0 0</inkml:trace>
</inkml:ink>
</file>

<file path=ppt/ink/ink8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43.2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207 252 0 0,'0'0'1730'0'0,"-3"0"-372"0"0,-14 0 2468 0 0,19-1-3195 0 0,10-4-358 0 0,0 0 0 0 0,0 1-1 0 0,0 1 1 0 0,0 0-1 0 0,0 0 1 0 0,13 0-1 0 0,23-6 23 0 0,481-136 655 0 0,-522 143-914 0 0,15-6 28 0 0,0 2 0 0 0,24-3 0 0 0,-41 8 3 0 0,-1 1-1 0 0,0 1 1 0 0,1-1-1 0 0,-1 0 1 0 0,0 1-1 0 0,0 0 0 0 0,1 0 1 0 0,-1 0-1 0 0,0 1 1 0 0,0-1-1 0 0,0 1 1 0 0,0 0-1 0 0,-1 0 1 0 0,1 0-1 0 0,0 1 1 0 0,-1-1-1 0 0,0 1 0 0 0,1 0 1 0 0,-1 0-1 0 0,0 0 1 0 0,0 0-1 0 0,-1 1 1 0 0,1-1-1 0 0,-1 1 1 0 0,4 7-1 0 0,2 4 223 0 0,-1 1 1 0 0,-1 0-1 0 0,0 0 1 0 0,6 33-1 0 0,-7-19 672 0 0,-1 0 0 0 0,-1 55 0 0 0,-3-83-599 0 0,0-1-341 0 0,-1-1-1 0 0,1 0 1 0 0,-1 1-1 0 0,1-1 1 0 0,-1 1-1 0 0,0-1 1 0 0,1 0-1 0 0,-1 0 1 0 0,0 1-1 0 0,1-1 0 0 0,-1 0 1 0 0,0 0-1 0 0,1 0 1 0 0,-1 0-1 0 0,0 0 1 0 0,0 0-1 0 0,-1-3-101 0 0,0 0 0 0 0,0 0 0 0 0,0 0 0 0 0,0-1 0 0 0,0 1 0 0 0,1 0 0 0 0,0-1-1 0 0,0 0 1 0 0,0 1 0 0 0,0-1 0 0 0,0 0 0 0 0,1 1 0 0 0,0-1 0 0 0,0-6 0 0 0,0-2-221 0 0,0 1 0 0 0,1-1 0 0 0,4-19 0 0 0,-4 28 230 0 0,0-1-1 0 0,0 1 1 0 0,0 0-1 0 0,1-1 1 0 0,0 1-1 0 0,3-4 1 0 0,-5 5 50 0 0,1 1 0 0 0,0 0 0 0 0,0 0 0 0 0,0 0 0 0 0,0 0 1 0 0,0 0-1 0 0,0 0 0 0 0,1 0 0 0 0,-1 0 0 0 0,0 0 0 0 0,0 0 1 0 0,1 1-1 0 0,-1-1 0 0 0,0 1 0 0 0,1-1 0 0 0,-1 1 0 0 0,1-1 1 0 0,-1 1-1 0 0,3-1 0 0 0,11 3-19 0 0,0 0 0 0 0,0 2 0 0 0,0-1 0 0 0,0 2 1 0 0,-1 0-1 0 0,22 10 0 0 0,38 13 49 0 0,-64-26 6 0 0,0 0 0 0 0,0-1 0 0 0,-1 0 0 0 0,2 0-1 0 0,-1-1 1 0 0,0 0 0 0 0,0-1 0 0 0,0 0 0 0 0,-1-1 0 0 0,1 0 0 0 0,0 0 0 0 0,0-1 0 0 0,-1 0-1 0 0,16-8 1 0 0,-18 7-47 0 0,0 1 0 0 0,-1-1 0 0 0,1-1-1 0 0,-1 1 1 0 0,0-1 0 0 0,0 0 0 0 0,-1 0 0 0 0,0-1-1 0 0,0 0 1 0 0,0 0 0 0 0,0 0 0 0 0,-1 0-1 0 0,0-1 1 0 0,-1 0 0 0 0,1 1 0 0 0,-1-1 0 0 0,-1-1-1 0 0,1 1 1 0 0,-1 0 0 0 0,1-9 0 0 0,-2 15 26 0 0,-1 0 0 0 0,0-1 0 0 0,1 1 0 0 0,-1 0 0 0 0,0 0 0 0 0,0-1 0 0 0,0 1 0 0 0,0 0 0 0 0,0-1 0 0 0,0 1 0 0 0,-1 0 0 0 0,1 0 1 0 0,0-1-1 0 0,-1 1 0 0 0,1 0 0 0 0,0 0 0 0 0,-1-1 0 0 0,0 1 0 0 0,1 0 0 0 0,-1 0 0 0 0,0 0 0 0 0,1 0 0 0 0,-1 0 0 0 0,0 0 0 0 0,0 0 0 0 0,0 0 1 0 0,0 0-1 0 0,0 1 0 0 0,0-1 0 0 0,0 0 0 0 0,0 0 0 0 0,0 1 0 0 0,0-1 0 0 0,-1 1 0 0 0,1-1 0 0 0,0 1 0 0 0,0 0 0 0 0,-1-1 0 0 0,1 1 0 0 0,0 0 1 0 0,0 0-1 0 0,-1 0 0 0 0,1 0 0 0 0,0 0 0 0 0,-2 0 0 0 0,-3 1-4 0 0,0 1 0 0 0,1 0 0 0 0,-1 0 0 0 0,1 0 0 0 0,0 1 0 0 0,-1 0 0 0 0,1 0 0 0 0,0 0 0 0 0,1 0 0 0 0,-1 1-1 0 0,1 0 1 0 0,-1 0 0 0 0,-6 9 0 0 0,8-10 10 0 0,1 1 0 0 0,0-1 0 0 0,0 1 0 0 0,0-1 0 0 0,0 1 0 0 0,0 0 0 0 0,1-1 0 0 0,0 1 0 0 0,-1 0 0 0 0,1 0 0 0 0,1 0-1 0 0,-1 0 1 0 0,1 0 0 0 0,-1 0 0 0 0,1 0 0 0 0,1 0 0 0 0,-1 1 0 0 0,0-1 0 0 0,1 0 0 0 0,0 0 0 0 0,0 0 0 0 0,2 5 0 0 0,0-2-120 0 0,0 0 1 0 0,1 0-1 0 0,0 0 1 0 0,0 0-1 0 0,1-1 1 0 0,0 0-1 0 0,0 0 1 0 0,0 0-1 0 0,1 0 1 0 0,-1-1-1 0 0,1 0 1 0 0,1 0-1 0 0,8 5 1 0 0,3-1-1557 0 0,1 0 1 0 0,0 0 0 0 0,37 9-1 0 0,-32-11-839 0 0</inkml:trace>
</inkml:ink>
</file>

<file path=ppt/ink/ink8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43.8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 39 2228 0 0,'-24'19'10733'0'0,"243"-42"-9249"0"0,-136 12-2584 0 0,-75 10 840 0 0,59-8-2383 0 0,-24 0-2114 0 0,-29 5 1476 0 0</inkml:trace>
</inkml:ink>
</file>

<file path=ppt/ink/ink8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44.1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 17 36 0 0,'-20'-17'7223'0'0,"18"18"-6307"0"0,1-1-845 0 0,1 0 1 0 0,-1 0-1 0 0,1 1 0 0 0,-1-1 1 0 0,1 0-1 0 0,-1 0 1 0 0,1 0-1 0 0,-1 1 0 0 0,1-1 1 0 0,-1 0-1 0 0,1 1 0 0 0,-1-1 1 0 0,1 0-1 0 0,-1 1 1 0 0,1-1-1 0 0,0 1 0 0 0,-1-1 1 0 0,1 1-1 0 0,0-1 1 0 0,-1 1-1 0 0,1-1 0 0 0,0 1 1 0 0,-1 0-1 0 0,3 19 1301 0 0,39 132 1909 0 0,8 0-3952 0 0,-33-104-485 0 0,9 23-5450 0 0,-19-57 2902 0 0</inkml:trace>
</inkml:ink>
</file>

<file path=ppt/ink/ink8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5:44.5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12 1580 0 0,'5'1'475'0'0,"0"0"0"0"0,0 1 0 0 0,0-1 0 0 0,-1 1 0 0 0,1 0 0 0 0,-1 0 0 0 0,1 1 0 0 0,-1-1 0 0 0,0 1 0 0 0,0 0 0 0 0,0 0 0 0 0,4 4 0 0 0,8 9 816 0 0,20 25 0 0 0,-12-15-354 0 0,79 71 2235 0 0,-67-65 250 0 0,-35-32-3356 0 0,-1 1 0 0 0,1-1 0 0 0,0 1 1 0 0,-1-1-1 0 0,1 0 0 0 0,0 0 0 0 0,-1 1 1 0 0,1-1-1 0 0,0 0 0 0 0,0 0 0 0 0,0 0 0 0 0,-1 1 1 0 0,1-1-1 0 0,0 0 0 0 0,0 0 0 0 0,-1 0 1 0 0,1 0-1 0 0,0-1 0 0 0,0 1 0 0 0,0 0 1 0 0,-1 0-1 0 0,1 0 0 0 0,0-1 0 0 0,0 1 1 0 0,-1 0-1 0 0,1-1 0 0 0,0 1 0 0 0,-1-1 1 0 0,1 1-1 0 0,0 0 0 0 0,-1-1 0 0 0,1 0 0 0 0,-1 1 1 0 0,1-1-1 0 0,-1 1 0 0 0,1-2 0 0 0,2 0 53 0 0,-1-1 0 0 0,0 0 0 0 0,0 0 0 0 0,0 0 0 0 0,0 0 0 0 0,2-5 0 0 0,2-10 136 0 0,-1 0 0 0 0,-1 0 0 0 0,-1 0 0 0 0,2-28 0 0 0,-3-77-4052 0 0,-3 76-2505 0 0,1 47 6167 0 0,0 0-1 0 0,0-1 1 0 0,1 1-1 0 0,35 10-6376 0 0,-29-6 5869 0 0,9 3 975 0 0,0-1 1 0 0,0 0 0 0 0,1-1-1 0 0,0-1 1 0 0,-1-1 0 0 0,1 0-1 0 0,1-1 1 0 0,-1-1-1 0 0,24-1 1 0 0,-31-1-76 0 0,0-1 0 0 0,0 1 0 0 0,0-1 0 0 0,0-1 0 0 0,0 0 0 0 0,0 0 1 0 0,-1-1-1 0 0,0-1 0 0 0,1 1 0 0 0,-2-1 0 0 0,1-1 0 0 0,0 0 0 0 0,-1 0 0 0 0,0 0 0 0 0,-1-1 0 0 0,1 0 0 0 0,6-9 0 0 0,-9 10-95 0 0,0 0-1 0 0,-1-1 0 0 0,1 1 1 0 0,-1-1-1 0 0,0 0 1 0 0,-1 0-1 0 0,0 0 0 0 0,0-1 1 0 0,3-12-1 0 0,-6 19-153 0 0,0 0-1 0 0,0 1 1 0 0,0-1-1 0 0,0 0 1 0 0,0 1-1 0 0,0-1 1 0 0,0 1-1 0 0,0-1 1 0 0,0 0-1 0 0,0 1 1 0 0,0-1-1 0 0,0 0 1 0 0,0 1-1 0 0,0-1 1 0 0,-1 1-1 0 0,1-1 1 0 0,0 0-1 0 0,-1 1 1 0 0,1-1-1 0 0,0 1 0 0 0,-1-1 1 0 0,1 1-1 0 0,-1-1 1 0 0,1 1-1 0 0,0-1 1 0 0,-1 1-1 0 0,1 0 1 0 0,-1-1-1 0 0,0 1 1 0 0,1-1-1 0 0,-1 1 1 0 0,1 0-1 0 0,-1 0 1 0 0,1-1-1 0 0,-1 1 1 0 0,0 0-1 0 0,1 0 1 0 0,-1 0-1 0 0,0 0 1 0 0,1 0-1 0 0,-1 0 1 0 0,0 0-1 0 0,1 0 1 0 0,-1 0-1 0 0,1 0 1 0 0,-1 0-1 0 0,-1 0 1 0 0,-2 1-1 0 0,1-1 1 0 0,-1 1 0 0 0,1 0 0 0 0,-1 0 0 0 0,1 0 0 0 0,-5 2-1 0 0,0 2 0 0 0,0 0 0 0 0,0 1 0 0 0,1 0 0 0 0,-1 1 0 0 0,1-1 0 0 0,1 1 0 0 0,-1 1 0 0 0,1-1 0 0 0,1 1 0 0 0,-1 0 0 0 0,1 1 0 0 0,1-1 0 0 0,0 1-1 0 0,0 0 1 0 0,0 0 0 0 0,-2 12 0 0 0,3-10 4 0 0,1-1-1 0 0,0 1 0 0 0,0 0 1 0 0,1 0-1 0 0,1 0 1 0 0,0 0-1 0 0,0 0 0 0 0,1 0 1 0 0,0 0-1 0 0,1 0 1 0 0,0 0-1 0 0,1-1 0 0 0,8 20 1 0 0,-8-24-176 0 0,1 1 0 0 0,0-1 1 0 0,0 0-1 0 0,0-1 0 0 0,1 1 1 0 0,0-1-1 0 0,0 0 0 0 0,0 0 1 0 0,1 0-1 0 0,-1-1 0 0 0,1 0 1 0 0,0 0-1 0 0,1-1 0 0 0,-1 1 1 0 0,11 3-1 0 0,-8-4-676 0 0,0 0 1 0 0,-1-1-1 0 0,1 0 1 0 0,0-1-1 0 0,0 1 1 0 0,0-2-1 0 0,12 0 1 0 0,-1-1-2272 0 0</inkml:trace>
</inkml:ink>
</file>

<file path=ppt/ink/ink8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06.8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 1 800 0 0,'-11'-1'11043'0'0,"4"24"-10336"0"0,-8 103 2703 0 0,12-78-2970 0 0,7 94 1 0 0,-3-127-1089 0 0,4 43-1671 0 0,-3-21-4448 0 0</inkml:trace>
</inkml:ink>
</file>

<file path=ppt/ink/ink8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07.2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 116 1168 0 0,'-6'-10'1678'0'0,"0"1"-1"0"0,0-1 1 0 0,-8-7-1 0 0,8 10-538 0 0,0-1 1 0 0,0 0-1 0 0,-8-15 0 0 0,2 9-244 0 0,4 5-1915 0 0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6.5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40 388 0 0,'14'-1'467'0'0,"0"0"0"0"0,0 1-1 0 0,0 0 1 0 0,0 1 0 0 0,0 0 0 0 0,0 1-1 0 0,0 1 1 0 0,0 0 0 0 0,0 1 0 0 0,-1 1-1 0 0,0 0 1 0 0,18 10 0 0 0,-14-7-166 0 0,-2 2 0 0 0,1 0 0 0 0,-1 1 0 0 0,-1 0 0 0 0,0 1 0 0 0,0 1 0 0 0,-2 0 0 0 0,1 0 0 0 0,11 19 0 0 0,-20-26-200 0 0,0 1 1 0 0,0 0-1 0 0,0 0 0 0 0,-1 1 1 0 0,0-1-1 0 0,-1 1 1 0 0,4 14-1 0 0,-4-4 461 0 0,0 0-1 0 0,-1 22 1 0 0,-1-37-319 0 0,-7 5 321 0 0,6-11-587 0 0,1 1 0 0 0,-1-1 0 0 0,1 1 0 0 0,0-1 0 0 0,0 1 0 0 0,0-1 1 0 0,0 0-1 0 0,1 1 0 0 0,-1-1 0 0 0,1 1 0 0 0,0-1 0 0 0,-1 1 1 0 0,1 0-1 0 0,0-1 0 0 0,0 1 0 0 0,1 0 0 0 0,-1-1 0 0 0,0 1 1 0 0,3-2-1 0 0,33-45-449 0 0,-32 44 436 0 0,116-117-299 0 0,-101 109 499 0 0,-19 13-142 0 0,0 0 0 0 0,0 0 0 0 0,-1-1 0 0 0,1 1 0 0 0,0 0 0 0 0,0 0 0 0 0,-1 0 0 0 0,1 0 0 0 0,0 0 0 0 0,0 0 0 0 0,-1 1 0 0 0,1-1 0 0 0,0 0 0 0 0,0 0 0 0 0,-1 0 0 0 0,1 1 0 0 0,1 0 0 0 0,0 1 69 0 0,0 0-1 0 0,0 0 1 0 0,0 0-1 0 0,0 1 1 0 0,0-1-1 0 0,0 1 1 0 0,-1-1-1 0 0,1 1 1 0 0,1 5-1 0 0,7 11 129 0 0,-6-13-137 0 0,1-1 0 0 0,-1 1-1 0 0,1-1 1 0 0,1 1 0 0 0,-1-2-1 0 0,1 1 1 0 0,0 0 0 0 0,0-1-1 0 0,0 0 1 0 0,1-1 0 0 0,-1 1-1 0 0,1-1 1 0 0,0-1 0 0 0,0 1-1 0 0,0-1 1 0 0,0 0 0 0 0,11 1-1 0 0,-9-2 1 0 0,0 0-1 0 0,1 0 1 0 0,-1-1 0 0 0,0 0-1 0 0,1 0 1 0 0,-1-1-1 0 0,0-1 1 0 0,0 1-1 0 0,0-1 1 0 0,0-1 0 0 0,0 0-1 0 0,0 0 1 0 0,13-8-1 0 0,-18 9-45 0 0,0 0-1 0 0,0-1 1 0 0,-1 0-1 0 0,1 1 0 0 0,-1-1 1 0 0,0-1-1 0 0,0 1 1 0 0,0 0-1 0 0,0-1 0 0 0,-1 1 1 0 0,1-1-1 0 0,-1 0 1 0 0,0 0-1 0 0,0 0 0 0 0,0 0 1 0 0,-1 0-1 0 0,0 0 1 0 0,1 0-1 0 0,-1-1 1 0 0,-1 1-1 0 0,1-1 0 0 0,-1 1 1 0 0,1 0-1 0 0,-1-1 1 0 0,-1 1-1 0 0,1-1 0 0 0,0 1 1 0 0,-1 0-1 0 0,0-1 1 0 0,0 1-1 0 0,-1 0 0 0 0,1 0 1 0 0,-1-1-1 0 0,0 1 1 0 0,0 1-1 0 0,0-1 0 0 0,0 0 1 0 0,-1 0-1 0 0,-4-5 1 0 0,0 2-145 0 0,-1 1 1 0 0,1 0 0 0 0,-1 0 0 0 0,0 0 0 0 0,0 1 0 0 0,-1 0 0 0 0,0 1-1 0 0,0 0 1 0 0,0 1 0 0 0,0-1 0 0 0,0 2 0 0 0,-1-1 0 0 0,-16-1 0 0 0,6 2-1525 0 0,-1 0 0 0 0,1 2 1 0 0,-1 0-1 0 0,0 2 1 0 0,-29 5-1 0 0,30-2-1835 0 0</inkml:trace>
</inkml:ink>
</file>

<file path=ppt/ink/ink8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07.5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 22 80 0 0,'13'20'1318'0'0,"-1"1"1"0"0,-1 1-1 0 0,-1 0 0 0 0,0 0 1 0 0,-2 1-1 0 0,0 0 0 0 0,6 40 1 0 0,-5-10 737 0 0,-3 0 0 0 0,-1 75 1 0 0,-5-121-1757 0 0,0 0 1 0 0,0 0 0 0 0,0 0 0 0 0,-1 0-1 0 0,0 0 1 0 0,-1 0 0 0 0,1 0 0 0 0,-1-1-1 0 0,0 1 1 0 0,-4 7 0 0 0,5-13-255 0 0,1 0 0 0 0,-1-1 0 0 0,1 1-1 0 0,-1 0 1 0 0,0-1 0 0 0,1 1 0 0 0,-1 0 0 0 0,1-1 0 0 0,-1 1 0 0 0,0-1 0 0 0,0 1-1 0 0,1-1 1 0 0,-1 1 0 0 0,0-1 0 0 0,0 0 0 0 0,0 1 0 0 0,1-1 0 0 0,-1 0 0 0 0,0 0 0 0 0,0 0-1 0 0,0 1 1 0 0,0-1 0 0 0,0 0 0 0 0,-1 0 0 0 0,0-1-10 0 0,1 1-1 0 0,-1-1 1 0 0,0 1 0 0 0,0-1-1 0 0,1 0 1 0 0,-1 1-1 0 0,0-1 1 0 0,1 0 0 0 0,-1 0-1 0 0,-2-3 1 0 0,-2-1-7 0 0,1-1 0 0 0,-1 1 0 0 0,1-1 1 0 0,-5-9-1 0 0,2 3-27 0 0,1-1 0 0 0,1 0 0 0 0,0-1 1 0 0,1 1-1 0 0,1-1 0 0 0,0 0 0 0 0,1 0 1 0 0,0 0-1 0 0,-1-29 0 0 0,3 22-87 0 0,1-1 0 0 0,1 1 0 0 0,1-1 0 0 0,1 1 0 0 0,1 0-1 0 0,7-22 1 0 0,-6 28-71 0 0,1 1-1 0 0,0 0 1 0 0,0 1 0 0 0,2-1-1 0 0,-1 1 1 0 0,2 1-1 0 0,11-14 1 0 0,-16 21-118 0 0,0 0 1 0 0,1 0-1 0 0,0 0 0 0 0,0 0 1 0 0,0 1-1 0 0,1 0 0 0 0,-1 0 1 0 0,1 1-1 0 0,0-1 0 0 0,0 1 1 0 0,0 0-1 0 0,1 1 0 0 0,-1 0 1 0 0,1 0-1 0 0,-1 0 0 0 0,1 1 1 0 0,11-2-1 0 0,-13 3-114 0 0,0 1 1 0 0,-1-1-1 0 0,1 0 0 0 0,0 1 0 0 0,0 0 1 0 0,0 0-1 0 0,-1 1 0 0 0,1-1 0 0 0,-1 1 1 0 0,1 0-1 0 0,6 4 0 0 0,8 13-4051 0 0,-14-8 897 0 0</inkml:trace>
  <inkml:trace contextRef="#ctx0" brushRef="#br0" timeOffset="1">137 301 1228 0 0,'-26'15'3640'0'0,"15"-8"-1096"0"0,0-1 0 0 0,1 1 0 0 0,-12 10 0 0 0,21-17-2457 0 0,1 1 1 0 0,-1-1-1 0 0,1 0 0 0 0,0 1 1 0 0,-1-1-1 0 0,1 0 0 0 0,0 1 1 0 0,0-1-1 0 0,-1 0 0 0 0,1 1 1 0 0,0-1-1 0 0,0 1 0 0 0,-1-1 1 0 0,1 0-1 0 0,0 1 1 0 0,0-1-1 0 0,0 1 0 0 0,0-1 1 0 0,0 1-1 0 0,0-1 0 0 0,0 1 1 0 0,116-4-1483 0 0,64-8-6689 0 0,-151 9 6788 0 0,-4 0-558 0 0,0-1-79 0 0</inkml:trace>
</inkml:ink>
</file>

<file path=ppt/ink/ink8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07.8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75 304 0 0,'10'-10'1054'0'0,"-1"-1"1"0"0,0 0-1 0 0,0-1 0 0 0,-1 0 0 0 0,0 0 0 0 0,-1-1 1 0 0,-1 0-1 0 0,8-20 0 0 0,2-14 3290 0 0,-18 49-4181 0 0,0 0 1 0 0,0 0-1 0 0,1 0 0 0 0,-1 0 1 0 0,1 1-1 0 0,-1-1 0 0 0,1 1 1 0 0,0-1-1 0 0,-1 5 0 0 0,-8 20 230 0 0,2 1-1 0 0,1 0 1 0 0,1 0-1 0 0,2 1 1 0 0,0-1-1 0 0,1 38 1 0 0,4-47-495 0 0,0 0 0 0 0,0 0 0 0 0,2-1 0 0 0,1 1 0 0 0,0-1 0 0 0,1 1-1 0 0,1-2 1 0 0,1 1 0 0 0,0 0 0 0 0,16 26 0 0 0,-19-39-323 0 0,0 0 1 0 0,0 1-1 0 0,0-2 0 0 0,1 1 0 0 0,-1 0 0 0 0,1-1 1 0 0,9 6-1 0 0,-9-7-969 0 0,0 0 0 0 0,1 0 0 0 0,-1-1 0 0 0,10 4 1 0 0</inkml:trace>
</inkml:ink>
</file>

<file path=ppt/ink/ink8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08.4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1 168 872 0 0,'-40'-5'4136'0'0,"-20"-2"3468"0"0,95-9-7085 0 0,233-50 606 0 0,-91 10 3101 0 0,-169 53-3907 0 0,-1 0-130 0 0,-1 1 0 0 0,0-1 0 0 0,1 2-1 0 0,-1-1 1 0 0,1 1 0 0 0,-1 0-1 0 0,1 0 1 0 0,10 1 0 0 0,-16 0-175 0 0,0 0 1 0 0,0 1-1 0 0,0-1 1 0 0,0 1-1 0 0,0-1 1 0 0,0 1-1 0 0,0 0 0 0 0,0-1 1 0 0,0 1-1 0 0,0 0 1 0 0,0 0-1 0 0,0 0 1 0 0,0-1-1 0 0,-1 1 1 0 0,1 0-1 0 0,0 0 0 0 0,-1 0 1 0 0,2 2-1 0 0,7 16 147 0 0,-1 6-92 0 0,-1-1 1 0 0,-2 1 0 0 0,0 0 0 0 0,1 30 0 0 0,-1 100 1741 0 0,-5-134-1119 0 0,-2-10 319 0 0,-1-14-707 0 0,-2-16-726 0 0,5 13 208 0 0,0 0-1 0 0,1 0 1 0 0,0 0-1 0 0,0 1 1 0 0,1-1-1 0 0,0 0 1 0 0,0 0-1 0 0,0 1 1 0 0,1-1-1 0 0,-1 1 1 0 0,1 0-1 0 0,1 0 1 0 0,-1 0-1 0 0,1 0 0 0 0,5-6 1 0 0,-8 11 170 0 0,1-1 1 0 0,-1 0-1 0 0,0 0 1 0 0,1 1-1 0 0,-1-1 1 0 0,0 0-1 0 0,1 1 1 0 0,-1-1-1 0 0,1 1 1 0 0,-1 0-1 0 0,1 0 0 0 0,-1-1 1 0 0,1 1-1 0 0,-1 0 1 0 0,1 0-1 0 0,-1 0 1 0 0,1 1-1 0 0,2-1 1 0 0,23 9-215 0 0,-27-9 258 0 0,74 38-276 0 0,-50-24 169 0 0,39 15-1 0 0,-55-26 94 0 0,1 0-1 0 0,0-1 1 0 0,0 0 0 0 0,0 0 0 0 0,0-1 0 0 0,0 0 0 0 0,0-1 0 0 0,15-1-1 0 0,-16 1-63 0 0,0-1-1 0 0,0 0 0 0 0,-1-1 1 0 0,1 0-1 0 0,0 0 0 0 0,0-1 0 0 0,-1 0 1 0 0,1 0-1 0 0,-1-1 0 0 0,0 0 0 0 0,0 0 1 0 0,-1 0-1 0 0,1-1 0 0 0,-1 0 0 0 0,0 0 1 0 0,0-1-1 0 0,0 0 0 0 0,-1 0 0 0 0,0 0 1 0 0,5-8-1 0 0,-5 5 111 0 0,0 0 0 0 0,0 0-1 0 0,-1 0 1 0 0,0-1 0 0 0,0 1 0 0 0,-1-1 0 0 0,-1 0-1 0 0,0 0 1 0 0,2-11 0 0 0,-4 20-30 0 0,0 0-1 0 0,0 0 1 0 0,0 0-1 0 0,0 1 1 0 0,0-1-1 0 0,0 0 1 0 0,0 0-1 0 0,0 0 1 0 0,0 0-1 0 0,0 0 1 0 0,-1 0-1 0 0,1 0 1 0 0,0 0-1 0 0,-1 1 1 0 0,1-1-1 0 0,0 0 1 0 0,-1 0-1 0 0,1 0 1 0 0,-1 1-1 0 0,1-1 1 0 0,-1 0-1 0 0,0 0 1 0 0,1 1-1 0 0,-1-1 1 0 0,0 0-1 0 0,1 1 1 0 0,-1-1-1 0 0,0 1 1 0 0,0-1 0 0 0,1 1-1 0 0,-1 0 1 0 0,0-1-1 0 0,0 1 1 0 0,0 0-1 0 0,0-1 1 0 0,0 1-1 0 0,0 0 1 0 0,1 0-1 0 0,-1 0 1 0 0,0 0-1 0 0,0 0 1 0 0,0 0-1 0 0,0 0 1 0 0,0 0-1 0 0,0 0 1 0 0,0 0-1 0 0,0 0 1 0 0,0 1-1 0 0,0-1 1 0 0,-3 2 2 0 0,0-1 0 0 0,1 0 0 0 0,-1 1 0 0 0,1 0 0 0 0,0 0 0 0 0,-1 0 0 0 0,1 0 0 0 0,0 1 1 0 0,0-1-1 0 0,-4 6 0 0 0,4-5-155 0 0,1 0-1 0 0,-1 1 1 0 0,1-1 0 0 0,0 1 0 0 0,1 0 0 0 0,-1 0 0 0 0,1-1-1 0 0,-1 1 1 0 0,1 0 0 0 0,0 0 0 0 0,1 0 0 0 0,-1 0 0 0 0,1 1 0 0 0,0-1-1 0 0,-1 0 1 0 0,2 0 0 0 0,-1 0 0 0 0,0 0 0 0 0,1 0 0 0 0,0 0-1 0 0,0 0 1 0 0,0 0 0 0 0,1 0 0 0 0,-1 0 0 0 0,1-1 0 0 0,0 1 0 0 0,0 0-1 0 0,0-1 1 0 0,5 6 0 0 0,-1-1-402 0 0,0 0-1 0 0,1-1 1 0 0,0 0-1 0 0,0 0 1 0 0,1 0-1 0 0,0-1 1 0 0,0 0-1 0 0,1-1 1 0 0,-1 0-1 0 0,1 0 1 0 0,11 4-1 0 0,-3-2-4195 0 0</inkml:trace>
</inkml:ink>
</file>

<file path=ppt/ink/ink8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09.3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3 28 1392 0 0,'-5'-4'738'0'0,"3"2"-304"0"0,-1-1 1 0 0,0 1-1 0 0,1 0 1 0 0,-1 0-1 0 0,0 0 1 0 0,0 1-1 0 0,0-1 1 0 0,0 1-1 0 0,-1-1 1 0 0,1 1-1 0 0,0 0 1 0 0,-1 0-1 0 0,1 1 1 0 0,0-1-1 0 0,-1 1 1 0 0,-6-1-1 0 0,0 3-150 0 0,1 0-1 0 0,0 1 0 0 0,0 0 1 0 0,0 0-1 0 0,0 1 1 0 0,1 0-1 0 0,0 1 0 0 0,-1 0 1 0 0,1 0-1 0 0,1 1 1 0 0,-1-1-1 0 0,1 2 0 0 0,0-1 1 0 0,1 1-1 0 0,-7 9 1 0 0,9-12-192 0 0,1 0 1 0 0,-1 1 0 0 0,1 0-1 0 0,0 0 1 0 0,1 0 0 0 0,-1 0-1 0 0,1 0 1 0 0,0 1 0 0 0,0-1-1 0 0,1 1 1 0 0,0-1 0 0 0,0 1-1 0 0,0 0 1 0 0,0-1 0 0 0,1 1-1 0 0,0 0 1 0 0,1-1 0 0 0,-1 1-1 0 0,1 0 1 0 0,0-1 0 0 0,0 1-1 0 0,0 0 1 0 0,1-1 0 0 0,0 0-1 0 0,0 1 1 0 0,1-1 0 0 0,2 5 0 0 0,1-2-34 0 0,-1-1 1 0 0,1 0 0 0 0,0-1-1 0 0,0 1 1 0 0,1-1 0 0 0,-1-1-1 0 0,1 1 1 0 0,1-1 0 0 0,-1 0 0 0 0,1-1-1 0 0,0 1 1 0 0,0-2 0 0 0,0 1-1 0 0,1-1 1 0 0,-1 0 0 0 0,1-1 0 0 0,0 0-1 0 0,-1 0 1 0 0,1-1 0 0 0,15 0-1 0 0,-11 0-38 0 0,1-2-1 0 0,-1 0 0 0 0,0 0 1 0 0,0-1-1 0 0,0 0 0 0 0,-1-2 1 0 0,1 1-1 0 0,-1-1 0 0 0,1-1 0 0 0,-1 0 1 0 0,-1-1-1 0 0,1-1 0 0 0,16-11 1 0 0,-22 14 60 0 0,0 0 1 0 0,0-1-1 0 0,-1 0 1 0 0,1-1-1 0 0,-1 1 1 0 0,-1-1-1 0 0,1 0 0 0 0,-1 0 1 0 0,4-7-1 0 0,-7 10-71 0 0,-1 3-9 0 0,0 0-1 0 0,0-1 1 0 0,0 1-1 0 0,0 0 0 0 0,0-1 1 0 0,0 1-1 0 0,0-1 0 0 0,0 1 1 0 0,0 0-1 0 0,0-1 1 0 0,-1 1-1 0 0,1 0 0 0 0,0-1 1 0 0,0 1-1 0 0,0 0 0 0 0,-1 0 1 0 0,1-1-1 0 0,0 1 1 0 0,-1 0-1 0 0,1 0 0 0 0,0-1 1 0 0,0 1-1 0 0,-1 0 0 0 0,1 0 1 0 0,0 0-1 0 0,-1-1 1 0 0,1 1-1 0 0,0 0 0 0 0,-1 0 1 0 0,-1 0-6 0 0,1 1 1 0 0,-1-1-1 0 0,0 1 1 0 0,1 0-1 0 0,-1-1 1 0 0,1 1-1 0 0,-1 0 1 0 0,1 0-1 0 0,0 0 1 0 0,-1 0-1 0 0,1 0 1 0 0,0 0-1 0 0,0 0 1 0 0,-1 0-1 0 0,1 1 1 0 0,0-1-1 0 0,0 0 1 0 0,0 1-1 0 0,1-1 1 0 0,-1 1-1 0 0,0-1 1 0 0,0 1-1 0 0,1-1 1 0 0,-1 1-1 0 0,1 0 1 0 0,-1 2-1 0 0,1-3 6 0 0,0 1-1 0 0,0-1 1 0 0,0 0-1 0 0,0 0 1 0 0,0 0-1 0 0,0 1 1 0 0,1-1-1 0 0,-1 0 1 0 0,0 0-1 0 0,1 0 1 0 0,-1 0-1 0 0,1 0 0 0 0,-1 1 1 0 0,1-1-1 0 0,-1 0 1 0 0,1 0-1 0 0,0 0 1 0 0,0-1-1 0 0,-1 1 1 0 0,1 0-1 0 0,0 0 1 0 0,2 1-1 0 0,-1 0 4 0 0,0 0 0 0 0,1 0 0 0 0,-1 0 0 0 0,1 0 0 0 0,0-1 0 0 0,-1 1 0 0 0,4 0 0 0 0,3 1-1 0 0,0-2 0 0 0,0 1-1 0 0,1-1 1 0 0,-1-1 0 0 0,0 0 0 0 0,0 0 0 0 0,0-1-1 0 0,0 0 1 0 0,0 0 0 0 0,16-5 0 0 0,-20 5 27 0 0,-1-1 0 0 0,1 1 0 0 0,-1-1-1 0 0,0 0 1 0 0,0 0 0 0 0,0 0 0 0 0,0 0 0 0 0,0-1 0 0 0,0 0 0 0 0,-1 1 0 0 0,1-1 0 0 0,-1-1 0 0 0,0 1 0 0 0,0 0 0 0 0,0-1-1 0 0,0 0 1 0 0,-1 0 0 0 0,1 0 0 0 0,-1 0 0 0 0,0 0 0 0 0,0 0 0 0 0,0 0 0 0 0,1-7 0 0 0,-3 9-22 0 0,0 0 1 0 0,1 0 0 0 0,-1 1-1 0 0,0-1 1 0 0,0 0-1 0 0,-1 0 1 0 0,1 0 0 0 0,0 0-1 0 0,0 1 1 0 0,-1-1-1 0 0,1 0 1 0 0,-1 0 0 0 0,0 1-1 0 0,1-1 1 0 0,-1 0-1 0 0,0 1 1 0 0,0-1-1 0 0,0 1 1 0 0,-3-3 0 0 0,2 1-129 0 0,-2 0 0 0 0,1 0 1 0 0,0 1-1 0 0,-1-1 0 0 0,1 1 1 0 0,-1 0-1 0 0,1 0 0 0 0,-7-2 1 0 0,-5-1-1812 0 0,1 1 0 0 0,-1 1 0 0 0,-26-4 1 0 0,31 7 834 0 0</inkml:trace>
</inkml:ink>
</file>

<file path=ppt/ink/ink8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0.1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54 940 0 0,'4'0'1779'0'0,"1"-1"-1313"0"0,0 1 0 0 0,0 1-1 0 0,0-1 1 0 0,0 1 0 0 0,0 0 0 0 0,0 0 0 0 0,0 0 0 0 0,0 0-1 0 0,-1 1 1 0 0,1 0 0 0 0,-1 0 0 0 0,1 1 0 0 0,-1-1 0 0 0,1 1-1 0 0,-1 0 1 0 0,0 0 0 0 0,0 0 0 0 0,-1 0 0 0 0,1 1 0 0 0,-1 0-1 0 0,5 6 1 0 0,62 86 2536 0 0,-15-18-850 0 0,-54-77-2123 0 0,0-1 0 0 0,0 1 1 0 0,-1-1-1 0 0,1 1 0 0 0,0-1 0 0 0,0 1 1 0 0,1-1-1 0 0,-1 0 0 0 0,0 1 0 0 0,0-1 1 0 0,0 0-1 0 0,0 0 0 0 0,0 0 0 0 0,0 0 1 0 0,0 0-1 0 0,0 0 0 0 0,1 0 0 0 0,-1 0 1 0 0,0 0-1 0 0,0 0 0 0 0,0-1 0 0 0,0 1 1 0 0,0 0-1 0 0,0-1 0 0 0,0 1 0 0 0,0-1 1 0 0,0 1-1 0 0,0-1 0 0 0,0 0 0 0 0,0 1 1 0 0,0-1-1 0 0,-1 0 0 0 0,1 1 0 0 0,0-1 1 0 0,0 0-1 0 0,-1 0 0 0 0,2-1 0 0 0,11-15-180 0 0,-1-1-1 0 0,0 0 0 0 0,-1 0 1 0 0,-1-1-1 0 0,11-30 0 0 0,-21 49 143 0 0,0-1 0 0 0,1 0 0 0 0,-1 0 0 0 0,0 0 0 0 0,1 0 0 0 0,-1 1 0 0 0,1-1 0 0 0,-1 0-1 0 0,1 1 1 0 0,0-1 0 0 0,-1 0 0 0 0,1 1 0 0 0,0-1 0 0 0,-1 0 0 0 0,1 1 0 0 0,0-1 0 0 0,0 1-1 0 0,-1 0 1 0 0,1-1 0 0 0,0 1 0 0 0,0 0 0 0 0,0-1 0 0 0,0 1 0 0 0,-1 0 0 0 0,1 0 0 0 0,0 0 0 0 0,0-1-1 0 0,0 1 1 0 0,0 0 0 0 0,0 0 0 0 0,0 1 0 0 0,0-1 0 0 0,-1 0 0 0 0,1 0 0 0 0,0 0 0 0 0,0 0 0 0 0,0 1-1 0 0,0-1 1 0 0,0 1 0 0 0,-1-1 0 0 0,1 0 0 0 0,1 1 0 0 0,5 4 9 0 0,0-1 0 0 0,1 1 0 0 0,10 10 1 0 0,-3-4 19 0 0,-6-6 1 0 0,0 0 0 0 0,1 0 0 0 0,-1-1 0 0 0,1 0 0 0 0,0-1 0 0 0,0 0 0 0 0,0-1 0 0 0,1 0 0 0 0,-1-1 0 0 0,1 0 0 0 0,-1 0 0 0 0,1-1 0 0 0,-1 0 0 0 0,1-1 0 0 0,18-4 0 0 0,-22 3-29 0 0,0 0 0 0 0,0 0 0 0 0,0-1 0 0 0,0 0 0 0 0,0 0-1 0 0,0 0 1 0 0,-1-1 0 0 0,0 0 0 0 0,0-1 0 0 0,0 1 0 0 0,0-1 0 0 0,-1 0-1 0 0,1-1 1 0 0,-1 1 0 0 0,-1-1 0 0 0,1 0 0 0 0,-1 0 0 0 0,0-1 0 0 0,0 1-1 0 0,-1-1 1 0 0,0 0 0 0 0,4-12 0 0 0,2-17-38 0 0,-2-1 0 0 0,4-56 0 0 0,-2 6 397 0 0,-9 86-349 0 0,0 1 0 0 0,0-1-1 0 0,0 0 1 0 0,0 0 0 0 0,0 0-1 0 0,0 1 1 0 0,1-1 0 0 0,-1 0 0 0 0,0 0-1 0 0,0 0 1 0 0,1 1 0 0 0,-1-1-1 0 0,0 0 1 0 0,1 0 0 0 0,-1 1-1 0 0,0-1 1 0 0,1 0 0 0 0,-1 1-1 0 0,1-1 1 0 0,0 0 0 0 0,0 0 0 0 0,0 1 17 0 0,-1 1 1 0 0,1 0 0 0 0,-1-1 0 0 0,1 1 0 0 0,-1-1 0 0 0,1 1 0 0 0,-1-1 0 0 0,1 1 0 0 0,-1 0 0 0 0,1-1 0 0 0,-1 1 0 0 0,0 0 0 0 0,1 0 0 0 0,-1-1-1 0 0,0 1 1 0 0,0 1 0 0 0,10 40 430 0 0,-6-11-260 0 0,-1 1 0 0 0,-1-1 0 0 0,-2 0 1 0 0,-7 54-1 0 0,5-69-135 0 0,-1 0-1 0 0,-1 1 1 0 0,-1-1 0 0 0,0-1-1 0 0,-1 1 1 0 0,-1-1-1 0 0,0 0 1 0 0,-1 0 0 0 0,-1-1-1 0 0,-15 20 1 0 0,21-30-119 0 0,0-1-1 0 0,0 1 1 0 0,-1-1 0 0 0,1 0 0 0 0,-1 0-1 0 0,0 0 1 0 0,0-1 0 0 0,0 0 0 0 0,0 1-1 0 0,-8 2 1 0 0,-8-8-1026 0 0,20 3 1040 0 0,-1-1 0 0 0,1 1 0 0 0,-1 0 0 0 0,1-1 0 0 0,-1 1 0 0 0,1-1 0 0 0,-1 1 0 0 0,1-1 0 0 0,-1 1 0 0 0,1-1 0 0 0,0 1 0 0 0,-1-1 0 0 0,1 1 0 0 0,0-1 0 0 0,-1 0 0 0 0,1 1 0 0 0,0-1 0 0 0,0 0 0 0 0,-1 1 0 0 0,1-1 0 0 0,0 0 0 0 0,0 1 0 0 0,0-1 0 0 0,0 0 0 0 0,0 1 0 0 0,0-1 0 0 0,0 0 0 0 0,0 1 0 0 0,0-1 0 0 0,1 1 0 0 0,-1-1 0 0 0,0 0 0 0 0,0 0 0 0 0,6-20-714 0 0,-4 17 713 0 0,0 1-1 0 0,-1 1 1 0 0,2-1 0 0 0,-1 0 0 0 0,0 0 0 0 0,0 1-1 0 0,1-1 1 0 0,0 1 0 0 0,-1 0 0 0 0,1 0-1 0 0,0 0 1 0 0,0 0 0 0 0,0 0 0 0 0,0 1 0 0 0,0-1-1 0 0,1 1 1 0 0,-1 0 0 0 0,0 0 0 0 0,1 0-1 0 0,-1 0 1 0 0,1 1 0 0 0,-1-1 0 0 0,1 1 0 0 0,-1 0-1 0 0,1 0 1 0 0,4 1 0 0 0,12 0 158 0 0,-1 2 0 0 0,0 0 1 0 0,29 10-1 0 0,-32-9 31 0 0,-3 0-42 0 0,1-1-1 0 0,0-1 0 0 0,-1 0 1 0 0,1-1-1 0 0,0-1 0 0 0,27-2 0 0 0,-34 1-88 0 0,1 0 0 0 0,-1-1 0 0 0,1 0-1 0 0,-1 0 1 0 0,0-1 0 0 0,0 0 0 0 0,0 0-1 0 0,0-1 1 0 0,0 0 0 0 0,-1 0 0 0 0,1 0-1 0 0,-1-1 1 0 0,10-10 0 0 0,55-65 2399 0 0,-70 79-2070 0 0,0 1-316 0 0,0 0 0 0 0,0 0 0 0 0,0 1 0 0 0,0-1 0 0 0,0 0 0 0 0,0 1 0 0 0,0-1 0 0 0,0 1 0 0 0,0-1 0 0 0,0 1 0 0 0,0-1 0 0 0,-1 1 0 0 0,1-1 0 0 0,0 1 0 0 0,0 0 0 0 0,-1 0 0 0 0,1-1 0 0 0,-1 1 0 0 0,1 0 0 0 0,0 0 0 0 0,-1 0 0 0 0,0 0 0 0 0,1 0 0 0 0,-1 0 0 0 0,1-1 0 0 0,-1 1 0 0 0,0 2 0 0 0,8 30-95 0 0,-7-28-79 0 0,8 38-2281 0 0,-1-5-7672 0 0</inkml:trace>
</inkml:ink>
</file>

<file path=ppt/ink/ink8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0.4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6 114 2548 0 0,'-8'-15'2044'0'0,"2"1"-467"0"0,0 3-265 0 0,0-1-316 0 0,0 1-124 0 0,0 2-264 0 0,0 0 296 0 0,-2-6-556 0 0,2 5-408 0 0,-2 2-1648 0 0</inkml:trace>
</inkml:ink>
</file>

<file path=ppt/ink/ink8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0.7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 1 140 0 0,'0'0'3519'0'0,"-9"6"-788"0"0,7-1-2279 0 0,-1 0 1 0 0,1 0-1 0 0,0 1 0 0 0,0-1 0 0 0,0 0 1 0 0,1 1-1 0 0,0-1 0 0 0,0 1 1 0 0,0 7-1 0 0,-2 7 215 0 0,-13 121 2068 0 0,16-101-2301 0 0,1 0 0 0 0,13 72 0 0 0,-5-49-756 0 0,4 7-2170 0 0,1-29-4094 0 0</inkml:trace>
</inkml:ink>
</file>

<file path=ppt/ink/ink8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1.1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5 142 108 0 0,'-38'-25'9258'0'0,"38"25"-9181"0"0,-1 0-1 0 0,1-1 0 0 0,-1 1 1 0 0,1-1-1 0 0,0 1 1 0 0,-1 0-1 0 0,1-1 0 0 0,-1 1 1 0 0,1-1-1 0 0,0 1 0 0 0,-1-1 1 0 0,1 1-1 0 0,0-1 1 0 0,0 1-1 0 0,-1-1 0 0 0,1 0 1 0 0,0 1-1 0 0,0-1 1 0 0,0 1-1 0 0,0-2 0 0 0,3-1 56 0 0,0 0-1 0 0,0 0 0 0 0,1 0 0 0 0,-1 0 0 0 0,1 0 1 0 0,0 1-1 0 0,0-1 0 0 0,0 1 0 0 0,5-2 1 0 0,46-16 476 0 0,-26 10-212 0 0,3-1 205 0 0,0 0 1 0 0,0 2-1 0 0,37-5 1 0 0,-65 14-494 0 0,0-1 0 0 0,0 1 0 0 0,0 0 0 0 0,0 0 0 0 0,0 0 0 0 0,0 0 0 0 0,0 1 0 0 0,0 0 0 0 0,0 0 1 0 0,-1 0-1 0 0,1 0 0 0 0,0 0 0 0 0,0 1 0 0 0,-1 0 0 0 0,1 0 0 0 0,-1 0 0 0 0,1 0 0 0 0,-1 0 0 0 0,0 1 0 0 0,0-1 0 0 0,0 1 0 0 0,0 0 1 0 0,-1 0-1 0 0,1 0 0 0 0,-1 0 0 0 0,1 1 0 0 0,-1-1 0 0 0,0 1 0 0 0,2 4 0 0 0,2 9-293 0 0,-1 0 0 0 0,0 0-1 0 0,-1 1 1 0 0,-1 0 0 0 0,2 22 0 0 0,1 6-3872 0 0,-6-34 1547 0 0,1 1-1998 0 0</inkml:trace>
</inkml:ink>
</file>

<file path=ppt/ink/ink8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1.4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4 244 1760 0 0,'-54'-115'11393'0'0,"10"25"-6364"0"0,22 51-8537 0 0,9 41-671 0 0</inkml:trace>
  <inkml:trace contextRef="#ctx0" brushRef="#br0" timeOffset="1">272 148 2176 0 0,'3'1'1760'0'0,"29"14"3771"0"0,-31-15-5433 0 0,0 1 0 0 0,-1 0 1 0 0,1 0-1 0 0,0 0 0 0 0,-1-1 1 0 0,1 1-1 0 0,-1 0 0 0 0,1 0 0 0 0,-1 0 1 0 0,1 0-1 0 0,-1 0 0 0 0,0 0 1 0 0,1 0-1 0 0,-1 0 0 0 0,0 0 0 0 0,0 0 1 0 0,0 0-1 0 0,0 0 0 0 0,0 1 1 0 0,0-1-1 0 0,0 0 0 0 0,0 0 0 0 0,0 1 1 0 0,-1 5 256 0 0,1 4-168 0 0,1 0 0 0 0,0 0 0 0 0,1 0 0 0 0,0 0 0 0 0,0 0 0 0 0,1-1-1 0 0,0 1 1 0 0,9 16 0 0 0,-9-21-87 0 0,0 0 0 0 0,1 0 0 0 0,0 0 0 0 0,0 0 0 0 0,1-1 0 0 0,0 0 0 0 0,0 0 0 0 0,0 0 0 0 0,0 0 0 0 0,1-1-1 0 0,0 0 1 0 0,-1 0 0 0 0,2-1 0 0 0,-1 0 0 0 0,10 4 0 0 0,-6-3 114 0 0,0-1 0 0 0,0 0 0 0 0,1-1-1 0 0,0 0 1 0 0,-1-1 0 0 0,1 0 0 0 0,18-1 0 0 0,-25 0-128 0 0,-1-1 0 0 0,0 1 0 0 0,0 0 0 0 0,0-1 1 0 0,0 0-1 0 0,0 1 0 0 0,0-1 0 0 0,0-1 0 0 0,0 1 1 0 0,0 0-1 0 0,0-1 0 0 0,-1 1 0 0 0,1-1 1 0 0,0 0-1 0 0,-1 0 0 0 0,1 0 0 0 0,-1 0 0 0 0,0 0 1 0 0,0-1-1 0 0,0 1 0 0 0,0-1 0 0 0,0 1 0 0 0,0-1 1 0 0,-1 0-1 0 0,1 1 0 0 0,-1-1 0 0 0,0 0 1 0 0,0 0-1 0 0,0 0 0 0 0,1-5 0 0 0,-2 5-63 0 0,0 0 0 0 0,0-1 0 0 0,0 1-1 0 0,0 0 1 0 0,0-1 0 0 0,-1 1 0 0 0,1 0 0 0 0,-1-1-1 0 0,0 1 1 0 0,0 0 0 0 0,0 0 0 0 0,-1 0-1 0 0,1 0 1 0 0,-1 0 0 0 0,1 0 0 0 0,-1 0 0 0 0,0 0-1 0 0,0 1 1 0 0,0-1 0 0 0,-1 1 0 0 0,1-1 0 0 0,-1 1-1 0 0,1 0 1 0 0,-4-2 0 0 0,-8-6-891 0 0,-1 1-1 0 0,0 1 1 0 0,-26-11-1 0 0,5 3-3337 0 0,34 15 3489 0 0,0 0 1 0 0,0-1-1 0 0,0 1 0 0 0,0 0 0 0 0,0-1 0 0 0,0 1 1 0 0,1-1-1 0 0,-1 0 0 0 0,-2-3 0 0 0</inkml:trace>
</inkml:ink>
</file>

<file path=ppt/ink/ink8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1.8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08 0 0,'4'0'1352'0'0,"2"1"-961"0"0,-1 0-1 0 0,0 1 1 0 0,1-1-1 0 0,-1 1 1 0 0,0 0-1 0 0,0 0 1 0 0,0 1-1 0 0,0 0 0 0 0,0 0 1 0 0,-1 0-1 0 0,1 0 1 0 0,-1 1-1 0 0,0-1 1 0 0,0 1-1 0 0,0 0 1 0 0,0 0-1 0 0,-1 1 1 0 0,0-1-1 0 0,0 1 1 0 0,0 0-1 0 0,0 0 1 0 0,-1 0-1 0 0,3 6 1 0 0,7 22 1357 0 0,13 50 0 0 0,-16-50-1055 0 0,-2 5 3881 0 0,-8-42-4530 0 0,0 0 0 0 0,1-1-1 0 0,-1 1 1 0 0,1 0 0 0 0,0 0 0 0 0,0 0-1 0 0,1-1 1 0 0,-1 1 0 0 0,1 0-1 0 0,0 0 1 0 0,0 0 0 0 0,0 0 0 0 0,1 0-1 0 0,3-6 1 0 0,-2 2-44 0 0,1 1 1 0 0,0 0-1 0 0,0 0 1 0 0,1 1-1 0 0,0-1 0 0 0,10-10 1 0 0,-11 15-55 0 0,-1 1 1 0 0,1 0-1 0 0,-1-1 1 0 0,1 1 0 0 0,0 0-1 0 0,0 1 1 0 0,0-1-1 0 0,-1 1 1 0 0,1 0-1 0 0,0 0 1 0 0,0 0-1 0 0,0 0 1 0 0,0 0-1 0 0,6 3 1 0 0,-4-2-245 0 0,0 0-1 0 0,-1 1 1 0 0,1 0 0 0 0,-1 1 0 0 0,1-1 0 0 0,-1 1-1 0 0,0 0 1 0 0,0 0 0 0 0,7 7 0 0 0,0 1-1452 0 0,0 0-1 0 0,10 14 1 0 0,-1 0-2972 0 0,-11-14 529 0 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7.0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88 0 0,'9'11'1027'0'0,"0"0"0"0"0,-1 1 0 0 0,-1 0 0 0 0,0 1 1 0 0,-1 0-1 0 0,0 0 0 0 0,-1 0 0 0 0,4 14 0 0 0,20 116 2351 0 0,-23-104-2449 0 0,3 59 465 0 0,-2-20 2086 0 0,-7-76-2979 0 0,0-2-475 0 0,0 1-1 0 0,0-1 1 0 0,0 0 0 0 0,0 0 0 0 0,0 1 0 0 0,0-1-1 0 0,0 0 1 0 0,0 0 0 0 0,0 0 0 0 0,0 1 0 0 0,0-1 0 0 0,0 0-1 0 0,0 0 1 0 0,0 0 0 0 0,0 1 0 0 0,0-1 0 0 0,0 0-1 0 0,0 0 1 0 0,0 0 0 0 0,0 1 0 0 0,0-1 0 0 0,-1 0 0 0 0,1 0-1 0 0,0 0 1 0 0,0 0 0 0 0,0 0 0 0 0,0 1 0 0 0,0-1-1 0 0,-1 0 1 0 0,1 0 0 0 0,0 0 0 0 0,0 0 0 0 0,0 0 0 0 0,-1 0-1 0 0,1 1 1 0 0,0-1 0 0 0,0 0 0 0 0,0 0 0 0 0,-1 0-1 0 0,1-1-22 0 0,0 1-1 0 0,0-1 0 0 0,-1 0 1 0 0,1 1-1 0 0,0-1 1 0 0,0 1-1 0 0,0-1 0 0 0,0 0 1 0 0,0 1-1 0 0,0-1 0 0 0,0 0 1 0 0,0 1-1 0 0,0-1 0 0 0,0 1 1 0 0,0-1-1 0 0,0 0 0 0 0,0 1 1 0 0,1-1-1 0 0,-1 1 0 0 0,0-1 1 0 0,1 0-1 0 0,2-10-118 0 0,1 1 0 0 0,1 0 0 0 0,0 0 0 0 0,0 0 0 0 0,1 0 0 0 0,0 1 1 0 0,0 0-1 0 0,1 0 0 0 0,1 1 0 0 0,8-9 0 0 0,-9 11 25 0 0,0 0 1 0 0,0 1-1 0 0,1 0 1 0 0,0 0-1 0 0,0 0 0 0 0,0 1 1 0 0,0 0-1 0 0,1 0 0 0 0,0 1 1 0 0,-1 1-1 0 0,1-1 1 0 0,16-1-1 0 0,-21 4 58 0 0,1 0 0 0 0,-1 0 0 0 0,1 0 0 0 0,-1 0 0 0 0,1 1-1 0 0,-1 0 1 0 0,0 0 0 0 0,1 0 0 0 0,-1 1 0 0 0,0-1 0 0 0,0 1 0 0 0,0 0 0 0 0,0 0 0 0 0,5 3 0 0 0,-7-3 30 0 0,-1-1 0 0 0,1 0 1 0 0,-1 0-1 0 0,1 1 1 0 0,-1-1-1 0 0,0 1 1 0 0,1-1-1 0 0,-1 1 0 0 0,0 0 1 0 0,0-1-1 0 0,0 1 1 0 0,0 0-1 0 0,0 0 1 0 0,-1-1-1 0 0,1 1 0 0 0,0 0 1 0 0,-1 0-1 0 0,1 0 1 0 0,-1 0-1 0 0,0 0 1 0 0,0 0-1 0 0,0 0 0 0 0,0 0 1 0 0,0 0-1 0 0,0 0 1 0 0,0 0-1 0 0,-1 0 1 0 0,1 0-1 0 0,-1 0 0 0 0,0 0 1 0 0,-1 3-1 0 0,-2 3 23 0 0,-1 0 0 0 0,-1-1 0 0 0,1 0 0 0 0,-1 0 0 0 0,-1 0 0 0 0,1 0 0 0 0,-1-1 0 0 0,0 0 0 0 0,0-1 0 0 0,-1 1 0 0 0,0-1 0 0 0,0-1 1 0 0,0 0-1 0 0,-17 7 0 0 0,1-3-113 0 0,0 0 1 0 0,-1-1 0 0 0,1-2-1 0 0,-34 4 1 0 0,49-9-377 0 0,0 1 0 0 0,0-1 0 0 0,0-1 0 0 0,-10-1 0 0 0,16 2 101 0 0,1 0 0 0 0,0 0-1 0 0,0-1 1 0 0,0 1-1 0 0,-1-1 1 0 0,1 0 0 0 0,0 0-1 0 0,0 0 1 0 0,0 0-1 0 0,0 0 1 0 0,0 0-1 0 0,0 0 1 0 0,0 0 0 0 0,1-1-1 0 0,-1 1 1 0 0,0-1-1 0 0,1 0 1 0 0,-1 1 0 0 0,1-1-1 0 0,0 0 1 0 0,-2-3-1 0 0,0-7-3882 0 0</inkml:trace>
</inkml:ink>
</file>

<file path=ppt/ink/ink8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2.1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0 2120 0 0,'0'0'3378'0'0,"-7"19"2691"0"0,21 64-1568 0 0,0-3-3301 0 0,-12-63-2270 0 0,-1 0 1 0 0,-1 29-1 0 0,-2-33-247 0 0,0 1-4311 0 0,0 0 918 0 0</inkml:trace>
</inkml:ink>
</file>

<file path=ppt/ink/ink8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2.52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8 103 476 0 0,'-8'-13'2020'0'0,"2"0"-368"0"0,0 3-287 0 0,-2-1-393 0 0,4 0-120 0 0,-2 4 340 0 0,-2-9-496 0 0,2 3-752 0 0,0 4-280 0 0</inkml:trace>
</inkml:ink>
</file>

<file path=ppt/ink/ink8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2.8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4 42 936 0 0,'36'-6'3833'0'0,"-34"6"-3600"0"0,-1 0 0 0 0,1 0 1 0 0,-1-1-1 0 0,1 1 0 0 0,-1 0 1 0 0,0-1-1 0 0,1 1 0 0 0,-1-1 0 0 0,1 1 1 0 0,-1-1-1 0 0,0 0 0 0 0,1 0 1 0 0,-1 0-1 0 0,0 0 0 0 0,0 0 0 0 0,0 0 1 0 0,0 0-1 0 0,0 0 0 0 0,0 0 0 0 0,0 0 1 0 0,0 0-1 0 0,1-3 0 0 0,-2 3-195 0 0,0 0-1 0 0,0 1 0 0 0,0-1 0 0 0,0 0 1 0 0,-1 0-1 0 0,1 1 0 0 0,0-1 0 0 0,-1 0 1 0 0,1 1-1 0 0,0-1 0 0 0,-1 0 1 0 0,1 1-1 0 0,-1-1 0 0 0,1 0 0 0 0,-1 1 1 0 0,1-1-1 0 0,-1 1 0 0 0,0-1 1 0 0,1 1-1 0 0,-1-1 0 0 0,1 1 0 0 0,-1 0 1 0 0,0-1-1 0 0,0 1 0 0 0,1 0 0 0 0,-1-1 1 0 0,0 1-1 0 0,0 0 0 0 0,1 0 1 0 0,-1 0-1 0 0,0 0 0 0 0,0 0 0 0 0,1 0 1 0 0,-1 0-1 0 0,0 0 0 0 0,0 0 1 0 0,0 0-1 0 0,1 0 0 0 0,-2 0 0 0 0,1 1-32 0 0,-1-1-1 0 0,1 0 0 0 0,-1 0 0 0 0,1 1 1 0 0,-1-1-1 0 0,1 1 0 0 0,-1 0 0 0 0,1-1 1 0 0,0 1-1 0 0,-1 0 0 0 0,1 0 0 0 0,0-1 0 0 0,0 1 1 0 0,-1 0-1 0 0,1 1 0 0 0,0-1 0 0 0,0 0 1 0 0,0 0-1 0 0,0 0 0 0 0,0 0 0 0 0,1 1 1 0 0,-1-1-1 0 0,-1 3 0 0 0,1 1 3 0 0,0 1 0 0 0,0 0 0 0 0,0-1 0 0 0,0 1 0 0 0,1 0 0 0 0,0 0 0 0 0,0-1 0 0 0,1 1 0 0 0,0 0 0 0 0,0 0 0 0 0,0-1 0 0 0,1 1 0 0 0,-1-1 0 0 0,6 11 0 0 0,4 6 77 0 0,1 0 0 0 0,19 26-1 0 0,3 6 132 0 0,-22-35-240 0 0,-6-10 134 0 0,0 1 0 0 0,9 20 0 0 0,-14-28-81 0 0,0 0 1 0 0,-1 0 0 0 0,1-1-1 0 0,-1 1 1 0 0,1 0 0 0 0,-1 0-1 0 0,0 0 1 0 0,1 0 0 0 0,-1 0-1 0 0,0 0 1 0 0,0 0 0 0 0,-1 0-1 0 0,1 0 1 0 0,0 0 0 0 0,-1 0 0 0 0,1 0-1 0 0,-1 0 1 0 0,1-1 0 0 0,-1 1-1 0 0,0 0 1 0 0,0 0 0 0 0,-2 2-1 0 0,2-3-13 0 0,-1 1 0 0 0,0-2-1 0 0,0 1 1 0 0,0 0 0 0 0,1 0-1 0 0,-1 0 1 0 0,0-1 0 0 0,0 1-1 0 0,0-1 1 0 0,0 0 0 0 0,0 0 0 0 0,0 1-1 0 0,0-1 1 0 0,0 0 0 0 0,0-1-1 0 0,0 1 1 0 0,0 0 0 0 0,0-1-1 0 0,0 1 1 0 0,0-1 0 0 0,0 1 0 0 0,-3-3-1 0 0,-1 1 2 0 0,0-1-1 0 0,1-1 1 0 0,-1 1 0 0 0,1-1-1 0 0,0 0 1 0 0,0 0-1 0 0,0 0 1 0 0,1-1 0 0 0,-8-9-1 0 0,4 3 287 0 0,1 0 1 0 0,-1 0-1 0 0,-8-22 0 0 0,13 27-219 0 0,2 5 10 0 0,-4 3-63 0 0,4-2-29 0 0,0 0 0 0 0,1 0 0 0 0,-1 0 0 0 0,1 0 0 0 0,-1 0 0 0 0,0 1 0 0 0,1-1 1 0 0,-1 0-1 0 0,1 0 0 0 0,-1 0 0 0 0,1 1 0 0 0,-1-1 0 0 0,1 0 0 0 0,-1 1 0 0 0,1-1 0 0 0,-1 0 0 0 0,1 1 0 0 0,-1-1 0 0 0,0 1 0 0 0,-33 68-141 0 0,-10 16-3669 0 0,29-57-990 0 0,5-14 762 0 0</inkml:trace>
</inkml:ink>
</file>

<file path=ppt/ink/ink8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4.1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 24 1656 0 0,'-4'-11'4303'0'0,"-1"-2"-1360"0"0,10 19-1225 0 0,14 25-411 0 0,-17-29-1226 0 0,10 18 433 0 0,-1 1-1 0 0,0 0 1 0 0,-2 0 0 0 0,0 1 0 0 0,-1 0-1 0 0,6 31 1 0 0,-11-36-188 0 0,-2-14-129 0 0,0 1 0 0 0,0-1-1 0 0,-1 1 1 0 0,1 0 0 0 0,-1-1 0 0 0,0 1-1 0 0,0 0 1 0 0,0-1 0 0 0,-1 1 0 0 0,1 0-1 0 0,-2 4 1 0 0,1-6 147 0 0,-15-1 464 0 0,15-2-798 0 0,0 0 0 0 0,0 0 0 0 0,0 0 0 0 0,0-1-1 0 0,0 1 1 0 0,1 0 0 0 0,-1-1 0 0 0,0 1 0 0 0,1 0 0 0 0,-1-1 0 0 0,1 1 0 0 0,0-1-1 0 0,0 1 1 0 0,-1-1 0 0 0,1 1 0 0 0,0-1 0 0 0,0 1 0 0 0,0-1 0 0 0,0 1-1 0 0,1-4 1 0 0,6-26-202 0 0,-4 24 143 0 0,0 0 0 0 0,1 0-1 0 0,0 0 1 0 0,0 1 0 0 0,0 0-1 0 0,1 0 1 0 0,0 0 0 0 0,0 0-1 0 0,1 1 1 0 0,-1-1-1 0 0,1 2 1 0 0,8-7 0 0 0,-9 8 0 0 0,0 1 0 0 0,0-1 0 0 0,0 1 0 0 0,0-1 0 0 0,1 2 0 0 0,-1-1 1 0 0,1 0-1 0 0,-1 1 0 0 0,1 0 0 0 0,-1 0 0 0 0,1 1 0 0 0,0 0 0 0 0,-1 0 0 0 0,1 0 1 0 0,0 1-1 0 0,-1-1 0 0 0,8 3 0 0 0,3 2 9 0 0,-1 1 1 0 0,1 1-1 0 0,-1 1 1 0 0,0 0-1 0 0,-1 0 1 0 0,0 2-1 0 0,0 0 0 0 0,-1 0 1 0 0,0 2-1 0 0,11 12 1 0 0,-15-15 67 0 0,1 0 0 0 0,0 0 0 0 0,1 0 0 0 0,-1-1 1 0 0,2-1-1 0 0,21 11 0 0 0,-29-17-19 0 0,1 0 0 0 0,-1 0-1 0 0,1 0 1 0 0,0-1 0 0 0,-1 1 0 0 0,1-1-1 0 0,0-1 1 0 0,-1 1 0 0 0,1-1 0 0 0,0 1 0 0 0,-1-1-1 0 0,1 0 1 0 0,-1-1 0 0 0,0 1 0 0 0,1-1 0 0 0,-1 0-1 0 0,0 0 1 0 0,0-1 0 0 0,0 1 0 0 0,0-1-1 0 0,0 0 1 0 0,-1 0 0 0 0,4-3 0 0 0,6-7-106 0 0,0 0 0 0 0,-1 0 1 0 0,-1-1-1 0 0,14-23 0 0 0,18-35 253 0 0,-40 65-171 0 0,-7 6-16 0 0,3 1 29 0 0,0 1 0 0 0,0-1 0 0 0,0 1-1 0 0,0-1 1 0 0,0 1 0 0 0,0-1 0 0 0,0 1 0 0 0,1 0 0 0 0,-1-1-1 0 0,0 1 1 0 0,0 0 0 0 0,1 0 0 0 0,-1 0 0 0 0,0 1 0 0 0,-2 3 2 0 0,0 0 1 0 0,1 1 0 0 0,0-1 0 0 0,0 1 0 0 0,1-1-1 0 0,-1 1 1 0 0,1-1 0 0 0,1 1 0 0 0,-1 0-1 0 0,1 0 1 0 0,0 0 0 0 0,0-1 0 0 0,1 9 0 0 0,0-10 16 0 0,0 0 1 0 0,0 0 0 0 0,0 0 0 0 0,1 0-1 0 0,-1-1 1 0 0,1 1 0 0 0,0 0 0 0 0,0-1-1 0 0,0 1 1 0 0,1-1 0 0 0,-1 0 0 0 0,1 0-1 0 0,0 0 1 0 0,0 0 0 0 0,0 0 0 0 0,0-1 0 0 0,0 1-1 0 0,1-1 1 0 0,-1 0 0 0 0,8 4 0 0 0,-4-3 31 0 0,1-1 0 0 0,0 1 0 0 0,-1-1 1 0 0,1-1-1 0 0,0 1 0 0 0,0-1 0 0 0,0-1 1 0 0,0 1-1 0 0,0-1 0 0 0,0-1 0 0 0,0 1 1 0 0,0-1-1 0 0,0-1 0 0 0,13-3 0 0 0,-18 3-15 0 0,1 1 0 0 0,-1 0 0 0 0,1-1 0 0 0,-1 0 0 0 0,0 0-1 0 0,1 0 1 0 0,-1 0 0 0 0,0 0 0 0 0,0-1 0 0 0,0 1 0 0 0,-1-1-1 0 0,1 0 1 0 0,-1 0 0 0 0,1 0 0 0 0,-1 0 0 0 0,0 0 0 0 0,0 0 0 0 0,-1-1-1 0 0,1 1 1 0 0,-1-1 0 0 0,1 1 0 0 0,-1-1 0 0 0,0 0 0 0 0,0 0-1 0 0,-1 1 1 0 0,1-1 0 0 0,-1 0 0 0 0,0 0 0 0 0,0 1 0 0 0,0-1-1 0 0,0 0 1 0 0,-2-5 0 0 0,2 5-87 0 0,-1 1-1 0 0,0-1 1 0 0,-1 0-1 0 0,1 1 0 0 0,0-1 1 0 0,-1 1-1 0 0,0-1 1 0 0,0 1-1 0 0,0 0 1 0 0,0-1-1 0 0,-1 1 1 0 0,1 0-1 0 0,-1 0 1 0 0,0 1-1 0 0,0-1 1 0 0,0 1-1 0 0,0-1 1 0 0,0 1-1 0 0,0 0 1 0 0,-4-2-1 0 0,-7-2-1640 0 0,0 0 0 0 0,0 1 1 0 0,-27-6-1 0 0,12 3-3972 0 0</inkml:trace>
</inkml:ink>
</file>

<file path=ppt/ink/ink8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4.5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7 64 0 0,'4'-3'941'0'0,"1"0"1"0"0,-1 0-1 0 0,0 0 1 0 0,1 0-1 0 0,0 0 0 0 0,0 1 1 0 0,0 0-1 0 0,7-2 1 0 0,-10 4-749 0 0,0-1 1 0 0,0 1-1 0 0,0 0 0 0 0,0 0 1 0 0,0 1-1 0 0,0-1 1 0 0,0 0-1 0 0,0 1 1 0 0,0-1-1 0 0,0 1 0 0 0,0 0 1 0 0,-1-1-1 0 0,1 1 1 0 0,0 0-1 0 0,0 0 1 0 0,-1 0-1 0 0,1 0 0 0 0,0 1 1 0 0,-1-1-1 0 0,1 0 1 0 0,-1 1-1 0 0,0-1 1 0 0,0 1-1 0 0,1-1 0 0 0,-1 1 1 0 0,1 1-1 0 0,4 7 289 0 0,0 0 1 0 0,-1 0-1 0 0,0 1 0 0 0,0-1 0 0 0,4 17 0 0 0,11 59 595 0 0,-5-21-595 0 0,11 41-722 0 0,-11-44-2488 0 0,1-1-5198 0 0,-12-48 3013 0 0</inkml:trace>
</inkml:ink>
</file>

<file path=ppt/ink/ink8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4.8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 78 1320 0 0,'-2'-1'4167'0'0,"2"1"-4066"0"0,-1 0 0 0 0,1 0 0 0 0,0 0 0 0 0,-1 0 0 0 0,1 0 0 0 0,0-1 0 0 0,-1 1 0 0 0,1 0 0 0 0,0 0 0 0 0,0 0 0 0 0,-1 0 0 0 0,1 0 0 0 0,0 0 0 0 0,-1-1 0 0 0,1 1 0 0 0,0 0 0 0 0,-1-1 202 0 0,1 1-202 0 0,0 0 0 0 0,0 0 0 0 0,-1-1 0 0 0,1 1 0 0 0,0 0 0 0 0,0 0 0 0 0,0-1 0 0 0,0 1 0 0 0,0 0 0 0 0,-1-1 0 0 0,1 1 0 0 0,0 0 1 0 0,0-1-1 0 0,0 1 0 0 0,0 0 0 0 0,0-1 0 0 0,0 1 0 0 0,0 0 0 0 0,0 0 0 0 0,0-1 0 0 0,0 1 0 0 0,0 0 0 0 0,1-1 0 0 0,-1 1 0 0 0,0 0 0 0 0,0-1 0 0 0,0 1 0 0 0,0-1 0 0 0,19-11 1770 0 0,32-6-824 0 0,-3 8-982 0 0,61-3 0 0 0,-22 4-7740 0 0,-64 6 4269 0 0</inkml:trace>
</inkml:ink>
</file>

<file path=ppt/ink/ink8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5.4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5 6 1060 0 0,'-3'-1'898'0'0,"-7"0"-212"0"0,-1-1 1 0 0,1 1-1 0 0,-1 1 1 0 0,-15 1 0 0 0,22-1-576 0 0,-1 1 0 0 0,1 0 1 0 0,-1 0-1 0 0,1 0 0 0 0,-1 0 1 0 0,1 1-1 0 0,-1 0 0 0 0,1 0 1 0 0,0 0-1 0 0,0 0 0 0 0,0 1 1 0 0,0 0-1 0 0,-4 4 0 0 0,2-2 6 0 0,1 0-1 0 0,0 1 0 0 0,0 0 1 0 0,1 0-1 0 0,0 0 1 0 0,0 0-1 0 0,0 0 0 0 0,1 1 1 0 0,0 0-1 0 0,0 0 1 0 0,1 0-1 0 0,0 0 0 0 0,0 0 1 0 0,1 0-1 0 0,-1 0 0 0 0,2 1 1 0 0,-1-1-1 0 0,1 1 1 0 0,0-1-1 0 0,0 0 0 0 0,1 1 1 0 0,0-1-1 0 0,1 0 1 0 0,2 8-1 0 0,8 14 122 0 0,2-1-1 0 0,2 0 1 0 0,0 0 0 0 0,26 31 0 0 0,10 16 510 0 0,-52-74-722 0 0,1 0 0 0 0,-1 0 0 0 0,1 0 0 0 0,-1 0 0 0 0,0 0-1 0 0,1-1 1 0 0,-1 1 0 0 0,0 0 0 0 0,1 0 0 0 0,-1 0 0 0 0,0 0-1 0 0,0 0 1 0 0,0 0 0 0 0,0 0 0 0 0,0 0 0 0 0,0 0 0 0 0,0 0-1 0 0,0 0 1 0 0,-1 0 0 0 0,1 0 0 0 0,0 0 0 0 0,-1 0-1 0 0,1 0 1 0 0,0 0 0 0 0,-1 0 0 0 0,1 0 0 0 0,-1 0 0 0 0,1-1-1 0 0,-1 1 1 0 0,0 0 0 0 0,1 0 0 0 0,-1-1 0 0 0,0 1 0 0 0,0 0-1 0 0,1-1 1 0 0,-1 1 0 0 0,0-1 0 0 0,0 1 0 0 0,-1 0 0 0 0,-2 1 6 0 0,1 0 0 0 0,0-1 0 0 0,-1 0 0 0 0,1 0 1 0 0,-1 0-1 0 0,0 0 0 0 0,1 0 0 0 0,-1 0 1 0 0,-4-1-1 0 0,0 0-81 0 0,0-1 1 0 0,0 0-1 0 0,0-1 0 0 0,1 1 1 0 0,-1-1-1 0 0,0-1 0 0 0,1 0 1 0 0,0 0-1 0 0,-1 0 0 0 0,1-1 1 0 0,0 0-1 0 0,1 0 1 0 0,-1-1-1 0 0,1 0 0 0 0,0 0 1 0 0,0-1-1 0 0,0 1 0 0 0,1-1 1 0 0,0 0-1 0 0,0-1 0 0 0,0 1 1 0 0,-6-14-1 0 0,-6-16-186 0 0,16 34 453 0 0,0 3-52 0 0,-3 4-84 0 0,0 0 1 0 0,1 1-1 0 0,-1-1 1 0 0,2 1-1 0 0,-1-1 1 0 0,0 1-1 0 0,1 0 0 0 0,0 0 1 0 0,-1 8-1 0 0,-11 26 115 0 0,-24 58-3116 0 0,37-97 2642 0 0,1 0-1 0 0,0 0 1 0 0,-1 0 0 0 0,1 0-1 0 0,0 0 1 0 0,-1 0 0 0 0,1 0-1 0 0,0 0 1 0 0,0 0-1 0 0,0 0 1 0 0,0 0 0 0 0,0 0-1 0 0,0 0 1 0 0,0 0-1 0 0,0 0 1 0 0,0 0 0 0 0,1 1-1 0 0</inkml:trace>
</inkml:ink>
</file>

<file path=ppt/ink/ink8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6.3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0 267 1748 0 0,'1'-1'456'0'0,"-1"0"-228"0"0,1 1 0 0 0,-1-1 0 0 0,0 0 0 0 0,0 1 1 0 0,0-1-1 0 0,1 1 0 0 0,-1-1 0 0 0,0 0 0 0 0,0 1 0 0 0,0-1 0 0 0,0 1 0 0 0,0-1 0 0 0,0 0 0 0 0,0 1 0 0 0,0-1 0 0 0,0 1 0 0 0,0-2 0 0 0,-3 1-64 0 0,1 1 0 0 0,0-1-1 0 0,0 0 1 0 0,0 1 0 0 0,0-1 0 0 0,-1 1-1 0 0,1 0 1 0 0,0 0 0 0 0,0 0-1 0 0,-1 0 1 0 0,1 0 0 0 0,0 0 0 0 0,0 1-1 0 0,-1-1 1 0 0,1 1 0 0 0,0-1-1 0 0,0 1 1 0 0,0 0 0 0 0,0 0 0 0 0,0 0-1 0 0,-2 1 1 0 0,-7 3 146 0 0,0 1 0 0 0,1 0 0 0 0,-10 7-1 0 0,15-9-234 0 0,0 0 0 0 0,0 0 0 0 0,0 1-1 0 0,1-1 1 0 0,0 1 0 0 0,0 0-1 0 0,0 0 1 0 0,-4 9 0 0 0,7-12-54 0 0,0 0 0 0 0,0 0 0 0 0,0 0-1 0 0,0 0 1 0 0,1 0 0 0 0,-1 0 0 0 0,1 0 0 0 0,0 0 0 0 0,-1 0 0 0 0,1 0-1 0 0,0 0 1 0 0,0 0 0 0 0,0 1 0 0 0,1-1 0 0 0,-1 0 0 0 0,1 0 0 0 0,-1 0-1 0 0,1 0 1 0 0,-1 0 0 0 0,1 0 0 0 0,0 0 0 0 0,0 0 0 0 0,0 0 0 0 0,0-1 0 0 0,0 1-1 0 0,1 0 1 0 0,2 2 0 0 0,-3-3-15 0 0,1 0-1 0 0,0 0 1 0 0,0 0-1 0 0,0 0 0 0 0,0 0 1 0 0,0-1-1 0 0,0 1 1 0 0,0-1-1 0 0,0 1 1 0 0,0-1-1 0 0,0 0 1 0 0,0 0-1 0 0,1 0 1 0 0,-1 0-1 0 0,3-1 1 0 0,-4 1-21 0 0,3 0-48 0 0,1-1 0 0 0,-1 1 0 0 0,1-1 0 0 0,-1-1 0 0 0,1 1 0 0 0,-1-1 0 0 0,0 1 0 0 0,0-1 0 0 0,1 0 0 0 0,6-6 0 0 0,32-27-368 0 0,-40 33 440 0 0,2-3-80 0 0,-5 5 91 0 0,0 0-1 0 0,1-1 1 0 0,-1 1 0 0 0,0-1 0 0 0,0 1 0 0 0,1 0-1 0 0,-1-1 1 0 0,0 1 0 0 0,1 0 0 0 0,-1 0-1 0 0,0-1 1 0 0,1 1 0 0 0,-1 0 0 0 0,0 0-1 0 0,1-1 1 0 0,-1 1 0 0 0,1 0 0 0 0,-1 0-1 0 0,1 0 1 0 0,-1 0 0 0 0,0 0 0 0 0,1 0-1 0 0,-1-1 1 0 0,1 1 0 0 0,-1 0 0 0 0,1 0 0 0 0,-1 0-1 0 0,0 1 1 0 0,1-1 0 0 0,-1 0 0 0 0,1 0-1 0 0,-1 0 1 0 0,1 0 0 0 0,-1 0 0 0 0,0 0-1 0 0,1 1 1 0 0,-1-1 0 0 0,1 0 0 0 0,0 1-1 0 0,-1 27 496 0 0,0-23-431 0 0,1-1-1 0 0,-1 1 0 0 0,1-1 1 0 0,0 1-1 0 0,1-1 1 0 0,-1 0-1 0 0,1 0 1 0 0,0 0-1 0 0,0 0 0 0 0,0 0 1 0 0,1 0-1 0 0,-1 0 1 0 0,1 0-1 0 0,0-1 1 0 0,0 0-1 0 0,0 1 0 0 0,1-1 1 0 0,-1 0-1 0 0,1-1 1 0 0,0 1-1 0 0,-1-1 1 0 0,1 1-1 0 0,0-1 0 0 0,0 0 1 0 0,1-1-1 0 0,-1 1 1 0 0,0-1-1 0 0,1 1 1 0 0,-1-1-1 0 0,7 0 0 0 0,-6 0-69 0 0,1-1 0 0 0,0 0-1 0 0,-1-1 1 0 0,1 1-1 0 0,0-1 1 0 0,-1 0-1 0 0,1 0 1 0 0,-1-1 0 0 0,1 0-1 0 0,-1 0 1 0 0,0 0-1 0 0,0 0 1 0 0,0-1-1 0 0,0 0 1 0 0,0 0 0 0 0,0 0-1 0 0,-1-1 1 0 0,0 1-1 0 0,1-1 1 0 0,-1 0-1 0 0,-1-1 1 0 0,1 1 0 0 0,-1-1-1 0 0,1 1 1 0 0,-1-1-1 0 0,-1 0 1 0 0,4-6-1 0 0,-2-3-118 0 0,-1 0 0 0 0,0 0-1 0 0,-1 0 1 0 0,0 0-1 0 0,-1 0 1 0 0,-1-1-1 0 0,-2-18 1 0 0,-18-103 90 0 0,13 96 368 0 0,4 26-178 0 0,1 2-44 0 0,0 0-1 0 0,-1 0 1 0 0,-4-12-1 0 0,6 22 104 0 0,-6 21 183 0 0,6 42-105 0 0,2 1 0 0 0,17 99 0 0 0,-6-60-1345 0 0,-10-69-792 0 0,-2 32 0 0 0,-1-23-2570 0 0,1-31 1766 0 0,-4-1-604 0 0</inkml:trace>
</inkml:ink>
</file>

<file path=ppt/ink/ink8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6.7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30 996 0 0,'1'-3'1482'0'0,"-1"-2"-1083"0"0,1 0 0 0 0,1 1 0 0 0,-1-1 0 0 0,1 0 0 0 0,-1 1 0 0 0,1 0-1 0 0,1-1 1 0 0,-1 1 0 0 0,0 0 0 0 0,1 0 0 0 0,3-4 0 0 0,7-5 1096 0 0,21-20 1 0 0,-30 29-1362 0 0,2 0 110 0 0,0-1 0 0 0,0 1 0 0 0,0-1 0 0 0,1 2 0 0 0,-1-1 0 0 0,1 1 0 0 0,0 0 0 0 0,0 0 0 0 0,1 1 0 0 0,-1 0 0 0 0,0 0 0 0 0,1 1 0 0 0,-1 0 0 0 0,15 0 0 0 0,-17 1-115 0 0,0 0-1 0 0,0 1 0 0 0,0 0 1 0 0,0 0-1 0 0,0 0 0 0 0,0 0 1 0 0,0 1-1 0 0,0-1 1 0 0,0 1-1 0 0,-1 1 0 0 0,1-1 1 0 0,-1 1-1 0 0,1-1 0 0 0,-1 1 1 0 0,0 0-1 0 0,0 1 1 0 0,-1-1-1 0 0,1 1 0 0 0,-1 0 1 0 0,1 0-1 0 0,-1 0 1 0 0,4 7-1 0 0,-1 0-42 0 0,0 1 0 0 0,-1-1 1 0 0,6 21-1 0 0,-5 5-2522 0 0,-6-32 1116 0 0,0 0-1 0 0,-1 1 0 0 0,1-1 0 0 0,-1 0 1 0 0,-1 6-1 0 0,-2 1-3263 0 0</inkml:trace>
  <inkml:trace contextRef="#ctx0" brushRef="#br0" timeOffset="1">272 117 2252 0 0,'-2'-16'1872'0'0,"-2"3"-403"0"0,2 1-329 0 0,0 1-208 0 0,0-3-160 0 0,0 5 304 0 0,0-8-600 0 0,-2 3-704 0 0,2 3-1676 0 0</inkml:trace>
  <inkml:trace contextRef="#ctx0" brushRef="#br0" timeOffset="2">536 18 636 0 0,'12'-6'5695'0'0,"-13"5"-5615"0"0,1 0 0 0 0,-1 1-1 0 0,1-1 1 0 0,-1 1 0 0 0,1-1-1 0 0,-1 1 1 0 0,0 0 0 0 0,1-1-1 0 0,-1 1 1 0 0,1-1 0 0 0,-1 1-1 0 0,0 0 1 0 0,1 0 0 0 0,-1-1-1 0 0,0 1 1 0 0,1 0 0 0 0,-1 0-1 0 0,0 0 1 0 0,0 0 0 0 0,1 0-1 0 0,-1 0 1 0 0,-1 0 0 0 0,-23 5 667 0 0,17-3-642 0 0,1 1 1 0 0,0 0 0 0 0,-1 1-1 0 0,-6 4 1 0 0,11-5-79 0 0,0-1 0 0 0,0 0 0 0 0,0 1-1 0 0,1-1 1 0 0,-1 1 0 0 0,1 0 0 0 0,-1-1 0 0 0,1 1 0 0 0,0 1 0 0 0,0-1 0 0 0,0 0 0 0 0,1 0 0 0 0,-1 1-1 0 0,1-1 1 0 0,0 1 0 0 0,0-1 0 0 0,0 1 0 0 0,0 0 0 0 0,0-1 0 0 0,1 1 0 0 0,0 0 0 0 0,0-1-1 0 0,0 1 1 0 0,0 0 0 0 0,0-1 0 0 0,1 1 0 0 0,0 0 0 0 0,1 5 0 0 0,4 7 39 0 0,1-1 0 0 0,0 0 1 0 0,1 0-1 0 0,1 0 0 0 0,11 15 0 0 0,13 22 210 0 0,-30-47-212 0 0,-2-3 32 0 0,1 0-1 0 0,-1 0 1 0 0,0 0-1 0 0,0 0 1 0 0,0 0-1 0 0,0 0 1 0 0,0 0-1 0 0,0 1 1 0 0,-1-1-1 0 0,1 0 1 0 0,-1 0 0 0 0,0 1-1 0 0,1-1 1 0 0,-1 0-1 0 0,0 1 1 0 0,0-1-1 0 0,-1 0 1 0 0,1 0-1 0 0,0 1 1 0 0,-1-1-1 0 0,1 0 1 0 0,-2 3-1 0 0,1-3-32 0 0,-1-1 0 0 0,0 1-1 0 0,0 0 1 0 0,0-1 0 0 0,0 1-1 0 0,0-1 1 0 0,0 0 0 0 0,0 0-1 0 0,0 0 1 0 0,0 0 0 0 0,-1 0-1 0 0,1 0 1 0 0,-3 0 0 0 0,4-1-51 0 0,-4 1-126 0 0,0 0 0 0 0,0-1 0 0 0,-1 1 0 0 0,1-1 0 0 0,0 0 0 0 0,0-1 0 0 0,-1 0 0 0 0,1 1 0 0 0,0-2 0 0 0,0 1 0 0 0,0 0 0 0 0,0-1 0 0 0,0 0 0 0 0,1 0 0 0 0,-6-4 0 0 0,8 5-318 0 0,0-1 0 0 0,0 1 0 0 0,0-1 0 0 0,1 1 0 0 0,-1-1 0 0 0,1 1 0 0 0,-1-1 0 0 0,1 0 0 0 0,-1 0 0 0 0,1 0 0 0 0,0 0 0 0 0,0 0 0 0 0,-1-4 0 0 0,-1-3-3335 0 0</inkml:trace>
</inkml:ink>
</file>

<file path=ppt/ink/ink8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7.0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 460 1760 0 0,'5'1'486'0'0,"0"1"0"0"0,0 1 0 0 0,-1-1 0 0 0,1 1 0 0 0,-1 0 0 0 0,1 0 0 0 0,-1 0 0 0 0,0 0 0 0 0,0 1 0 0 0,-1-1 1 0 0,1 1-1 0 0,-1 0 0 0 0,1 0 0 0 0,2 6 0 0 0,3 6 729 0 0,0 1 1 0 0,10 27-1 0 0,-14-32-687 0 0,3 6 378 0 0,-2 1 0 0 0,0 0 0 0 0,3 21 0 0 0,-9-40-873 0 0,0 0 1 0 0,0 1-1 0 0,0-1 1 0 0,0 1 0 0 0,0-1-1 0 0,0 0 1 0 0,0 1-1 0 0,0-1 1 0 0,0 1-1 0 0,0-1 1 0 0,0 0-1 0 0,0 1 1 0 0,0-1-1 0 0,0 0 1 0 0,-1 1 0 0 0,1-1-1 0 0,0 0 1 0 0,0 1-1 0 0,0-1 1 0 0,-1 0-1 0 0,1 1 1 0 0,0-1-1 0 0,0 0 1 0 0,-1 1-1 0 0,1-1 1 0 0,0 0-1 0 0,-1 0 1 0 0,1 1 0 0 0,0-1-1 0 0,-1 0 1 0 0,1 0-1 0 0,0 0 1 0 0,-1 1-1 0 0,1-1 1 0 0,0 0-1 0 0,-1 0 1 0 0,1 0-1 0 0,-1 0 1 0 0,1 0-1 0 0,0 0 1 0 0,-1 0 0 0 0,1 0-1 0 0,-1 0 1 0 0,1 0-1 0 0,0 0 1 0 0,-1 0-1 0 0,1 0 1 0 0,-1 0-1 0 0,1-1 1 0 0,-20-6 554 0 0,11-1-455 0 0,0 0-1 0 0,1 0 1 0 0,-1-1-1 0 0,2 0 1 0 0,-1-1-1 0 0,1 0 1 0 0,1 0-1 0 0,0 0 1 0 0,0-1-1 0 0,1 0 1 0 0,1 0-1 0 0,-7-22 0 0 0,3 0-43 0 0,0-1-1 0 0,3 0 0 0 0,-3-41 0 0 0,7 50-49 0 0,1 0 0 0 0,1 0 0 0 0,1 0 0 0 0,2 0 1 0 0,9-37-1 0 0,-10 49-223 0 0,1 1 1 0 0,0-1-1 0 0,1 1 0 0 0,1 0 1 0 0,0 1-1 0 0,0-1 1 0 0,1 1-1 0 0,0 0 1 0 0,1 1-1 0 0,1 0 1 0 0,-1 0-1 0 0,14-10 1 0 0,-15 15-492 0 0,1 0 1 0 0,-1 1 0 0 0,1 0-1 0 0,0 0 1 0 0,15-4-1 0 0,-21 8 450 0 0,0-1 90 0 0,-1 1 1 0 0,1 0-1 0 0,-1-1 1 0 0,1 1-1 0 0,-1 0 1 0 0,1 0-1 0 0,-1 0 0 0 0,0 0 1 0 0,1 0-1 0 0,-1 1 1 0 0,1-1-1 0 0,-1 0 1 0 0,0 1-1 0 0,1-1 0 0 0,-1 1 1 0 0,2 0-1 0 0,1 1-304 0 0,-1-2-30 0 0,-1 1 0 0 0,1 0 1 0 0,-1-1-1 0 0,0 1 0 0 0,0 0 0 0 0,1 0 0 0 0,-1 0 0 0 0,0 0 1 0 0,0 1-1 0 0,2 1 0 0 0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7.3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184 0 0,'6'2'567'0'0,"-1"1"1"0"0,1-1-1 0 0,-1 1 1 0 0,1 0-1 0 0,-1 0 0 0 0,0 0 1 0 0,0 1-1 0 0,0 0 0 0 0,-1 0 1 0 0,0 0-1 0 0,1 0 0 0 0,-1 1 1 0 0,-1 0-1 0 0,1 0 0 0 0,-1 0 1 0 0,0 0-1 0 0,4 8 1 0 0,4 11 899 0 0,-1 1 0 0 0,11 43 0 0 0,-17-54-1054 0 0,8 33 582 0 0,10 79 1 0 0,-13-10-3303 0 0,-7-97 1148 0 0,0 10-855 0 0,-3-8-4009 0 0,-1-8 1728 0 0</inkml:trace>
</inkml:ink>
</file>

<file path=ppt/ink/ink8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7.4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144 1392 0 0,'0'1'179'0'0,"0"-1"0"0"0,-1 1-1 0 0,1-1 1 0 0,0 1 0 0 0,0 0 0 0 0,0-1 0 0 0,0 1-1 0 0,0 0 1 0 0,0-1 0 0 0,0 1 0 0 0,0 0-1 0 0,0-1 1 0 0,0 1 0 0 0,0 0 0 0 0,0-1 0 0 0,0 1-1 0 0,0-1 1 0 0,1 1 0 0 0,-1 0 0 0 0,0 0-1 0 0,4 0-18 0 0,-1 1 0 0 0,0-1-1 0 0,0 0 1 0 0,1 0-1 0 0,-1-1 1 0 0,0 1-1 0 0,1-1 1 0 0,-1 1-1 0 0,0-1 1 0 0,1 0-1 0 0,-1-1 1 0 0,5 0-1 0 0,51-9 950 0 0,-25 4-542 0 0,-2 1-136 0 0,53-6 841 0 0,-76 10-871 0 0,1 1-1 0 0,0 0 0 0 0,-1 1 1 0 0,0 0-1 0 0,1 0 0 0 0,15 6 1 0 0,-21-6-229 0 0,-1 1 0 0 0,0 0 0 0 0,0 0 0 0 0,0 0 0 0 0,0 0 0 0 0,0 0 0 0 0,0 1 0 0 0,-1-1 0 0 0,1 1 0 0 0,-1 0 0 0 0,1 0 0 0 0,-1 0 0 0 0,0 0 0 0 0,0 0 0 0 0,-1 0 0 0 0,1 0 0 0 0,-1 1 0 0 0,1-1 0 0 0,0 4 0 0 0,3 11 279 0 0,-1-1 0 0 0,3 30 1 0 0,-4-25-255 0 0,11 91-2366 0 0,-10-67-6500 0 0,-2-31 3518 0 0</inkml:trace>
  <inkml:trace contextRef="#ctx0" brushRef="#br0" timeOffset="1">376 131 660 0 0,'-30'-41'7496'0'0,"-7"-10"-3032"0"0,23 27-4814 0 0,13 22-256 0 0,3-6-1215 0 0,-2 7 1647 0 0,0 1-1 0 0,0 0 0 0 0,0-1 1 0 0,0 1-1 0 0,0-1 1 0 0,0 1-1 0 0,0-1 0 0 0,0 1 1 0 0,0 0-1 0 0</inkml:trace>
</inkml:ink>
</file>

<file path=ppt/ink/ink8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7.9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3 218 1236 0 0,'3'1'1288'0'0,"4"-1"-573"0"0,-1 1 1 0 0,0-1-1 0 0,1 0 0 0 0,-1 0 1 0 0,0 0-1 0 0,1-1 1 0 0,10-3-1 0 0,-12 2-461 0 0,0 0 0 0 0,-1 0-1 0 0,0 0 1 0 0,0-1-1 0 0,1 1 1 0 0,-1-1 0 0 0,4-4-1 0 0,-7 6-190 0 0,1-1 0 0 0,-1 1 0 0 0,0-1 0 0 0,1 1 0 0 0,-1-1 0 0 0,0 0 0 0 0,0 0 0 0 0,0 1 0 0 0,0-1 0 0 0,0 0 0 0 0,0 0 0 0 0,-1 0 0 0 0,1 0 0 0 0,0 0 0 0 0,-1 0 0 0 0,0 0 0 0 0,1-1 0 0 0,-1 1 0 0 0,0 0 0 0 0,-1-3 0 0 0,1 5-54 0 0,0-1 1 0 0,-1 0-1 0 0,1 1 1 0 0,-1-1-1 0 0,1 0 1 0 0,-1 1-1 0 0,1-1 0 0 0,-1 1 1 0 0,1-1-1 0 0,-1 1 1 0 0,1-1-1 0 0,-1 1 1 0 0,0-1-1 0 0,1 1 0 0 0,-1 0 1 0 0,0-1-1 0 0,0 1 1 0 0,1 0-1 0 0,-1 0 1 0 0,0-1-1 0 0,0 1 0 0 0,1 0 1 0 0,-1 0-1 0 0,-1 0 1 0 0,-12-1 7 0 0,8 1-3 0 0,0 0 0 0 0,0 1 0 0 0,0-1 0 0 0,0 1 0 0 0,1 0 0 0 0,-1 1-1 0 0,0-1 1 0 0,1 1 0 0 0,-1 0 0 0 0,-9 6 0 0 0,4-2 66 0 0,0 1 0 0 0,1 0 0 0 0,-17 15-1 0 0,19-15-4 0 0,0 1 0 0 0,0 1 0 0 0,1 0-1 0 0,0 0 1 0 0,1 0 0 0 0,0 0 0 0 0,0 1 0 0 0,1 0-1 0 0,0 1 1 0 0,-4 14 0 0 0,7-21-38 0 0,1 0 0 0 0,0 0 0 0 0,1 0 0 0 0,-1 0 0 0 0,1 0 0 0 0,-1 1 0 0 0,1-1-1 0 0,0 0 1 0 0,1 0 0 0 0,-1 1 0 0 0,1-1 0 0 0,0 0 0 0 0,0 0 0 0 0,0 0 0 0 0,1 0 0 0 0,-1 0 0 0 0,1 0 0 0 0,0 0 0 0 0,0-1 0 0 0,0 1 0 0 0,1-1 0 0 0,-1 1 0 0 0,1-1 0 0 0,0 0 0 0 0,0 0 0 0 0,0 0 0 0 0,0 0 0 0 0,0-1 0 0 0,1 1 0 0 0,5 2 0 0 0,1 0-12 0 0,0 0 1 0 0,0-1-1 0 0,0 0 1 0 0,0-1-1 0 0,1 0 1 0 0,0-1-1 0 0,-1 0 1 0 0,1-1-1 0 0,0 0 1 0 0,0-1-1 0 0,0 0 1 0 0,17-2-1 0 0,-7-1-38 0 0,-1 0 0 0 0,1-2 0 0 0,0 0 0 0 0,-1-2 0 0 0,30-13 0 0 0,-38 14-45 0 0,0-1 1 0 0,0-1-1 0 0,-1 0 1 0 0,0 0-1 0 0,0-1 0 0 0,-1 0 1 0 0,0-1-1 0 0,-1 0 1 0 0,0-1-1 0 0,0 0 1 0 0,-1-1-1 0 0,10-19 0 0 0,3-12 219 0 0,-2 0-1 0 0,18-62 1 0 0,-11 28 694 0 0,-25 77-850 0 0,-1-1 0 0 0,0 1 0 0 0,0-1-1 0 0,0 1 1 0 0,0-1 0 0 0,0 1 0 0 0,1 0 0 0 0,-1-1-1 0 0,0 1 1 0 0,0-1 0 0 0,1 1 0 0 0,-1 0 0 0 0,0-1 0 0 0,1 1-1 0 0,-1 0 1 0 0,0-1 0 0 0,1 1 0 0 0,-1 0 0 0 0,0-1 0 0 0,1 1-1 0 0,-1 0 1 0 0,1 0 0 0 0,6 5 219 0 0,0 17 69 0 0,-2 14-17 0 0,-2 0 0 0 0,-2 0-1 0 0,-3 39 1 0 0,1-61-214 0 0,-1 0 0 0 0,0 0 0 0 0,-1-1 0 0 0,-1 1 0 0 0,0-1-1 0 0,0 0 1 0 0,-2 0 0 0 0,1 0 0 0 0,-2-1 0 0 0,1 0 0 0 0,-11 13 0 0 0,16-23-56 0 0,-1 0 0 0 0,1 0 0 0 0,-1 0 1 0 0,1 0-1 0 0,-1 0 0 0 0,0-1 1 0 0,0 1-1 0 0,1-1 0 0 0,-1 1 0 0 0,-1-1 1 0 0,1 0-1 0 0,0 0 0 0 0,0 0 0 0 0,0 0 1 0 0,-1 0-1 0 0,1 0 0 0 0,0 0 1 0 0,-1-1-1 0 0,1 1 0 0 0,0-1 0 0 0,-1 0 1 0 0,1 0-1 0 0,-1 0 0 0 0,1 0 1 0 0,-1 0-1 0 0,1 0 0 0 0,0-1 0 0 0,-4 0 1 0 0,6 1-17 0 0,-1-1-1 0 0,0 1 1 0 0,1 0 0 0 0,-1-1 0 0 0,0 1 0 0 0,1-1 0 0 0,-1 1 0 0 0,0-1 0 0 0,1 1 0 0 0,-1-1 0 0 0,1 1 0 0 0,-1-1 0 0 0,1 0 0 0 0,-1 1 0 0 0,1-1 0 0 0,0 0-1 0 0,-1 1 1 0 0,1-1 0 0 0,0 0 0 0 0,-1 1 0 0 0,1-1 0 0 0,0 0 0 0 0,0 0 0 0 0,0 0 0 0 0,0 1 0 0 0,0-1 0 0 0,0 0 0 0 0,0 0 0 0 0,0 1 0 0 0,0-1 0 0 0,0 0-1 0 0,0-1 1 0 0,1 0-19 0 0,-1-1 0 0 0,1 1-1 0 0,0 0 1 0 0,0 0-1 0 0,0 0 1 0 0,0 0 0 0 0,0 0-1 0 0,0 0 1 0 0,3-3 0 0 0,0 1-113 0 0,0 0 1 0 0,1 1 0 0 0,0-1 0 0 0,0 1 0 0 0,0 0-1 0 0,0 0 1 0 0,0 1 0 0 0,0 0 0 0 0,1 0 0 0 0,-1 0-1 0 0,1 0 1 0 0,-1 1 0 0 0,1 0 0 0 0,0 0 0 0 0,0 0-1 0 0,10 1 1 0 0,5 0-566 0 0,-1 2 0 0 0,0 0 0 0 0,29 7 0 0 0,-28-3-772 0 0,0 1 0 0 0,-1 0 0 0 0,1 2 0 0 0,30 18 0 0 0,-31-16-657 0 0</inkml:trace>
</inkml:ink>
</file>

<file path=ppt/ink/ink8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8.8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 130 564 0 0,'-2'-19'7627'0'0,"-3"31"-2608"0"0,-2 33-2232 0 0,6-35-2476 0 0,1 1 0 0 0,0 0 0 0 0,0 0 0 0 0,1 0 0 0 0,1 0 0 0 0,0-1-1 0 0,7 21 1 0 0,-8-27-260 0 0,0 0 0 0 0,1-1 1 0 0,0 1-1 0 0,0-1 0 0 0,0 1 0 0 0,0-1 0 0 0,0 0 0 0 0,1 0 0 0 0,0 0 0 0 0,-1 0 0 0 0,1 0 0 0 0,0 0 0 0 0,0-1 0 0 0,1 0 1 0 0,-1 1-1 0 0,0-1 0 0 0,1 0 0 0 0,-1-1 0 0 0,1 1 0 0 0,0-1 0 0 0,0 1 0 0 0,-1-1 0 0 0,1 0 0 0 0,0-1 0 0 0,6 2 0 0 0,-4-2-113 0 0,0 0 0 0 0,-1-1 0 0 0,1 1-1 0 0,-1-1 1 0 0,1 0 0 0 0,-1 0-1 0 0,1-1 1 0 0,-1 0 0 0 0,0 0-1 0 0,0 0 1 0 0,0 0 0 0 0,0-1-1 0 0,8-5 1 0 0,-2-1-259 0 0,0 0 0 0 0,-1 0 1 0 0,0-1-1 0 0,15-20 0 0 0,-19 20 166 0 0,3-5-161 0 0,-9 15 309 0 0,0 0 1 0 0,0 1-1 0 0,0-1 0 0 0,0 0 1 0 0,0 0-1 0 0,0 0 1 0 0,0 0-1 0 0,0 1 0 0 0,0-1 1 0 0,0 0-1 0 0,0 0 0 0 0,0 0 1 0 0,0 0-1 0 0,0 0 0 0 0,0 1 1 0 0,0-1-1 0 0,0 0 1 0 0,0 0-1 0 0,0 0 0 0 0,0 0 1 0 0,0 0-1 0 0,1 1 0 0 0,-1-1 1 0 0,0 0-1 0 0,0 0 1 0 0,0 0-1 0 0,0 0 0 0 0,0 0 1 0 0,0 0-1 0 0,0 0 0 0 0,1 1 1 0 0,-1-1-1 0 0,0 0 1 0 0,0 0-1 0 0,0 0 0 0 0,0 0 1 0 0,0 0-1 0 0,1 0 0 0 0,-1 0 1 0 0,0 0-1 0 0,0 0 1 0 0,0 0-1 0 0,0 0 0 0 0,1 0 1 0 0,-1 0-1 0 0,0 0 0 0 0,0 0 1 0 0,0 0-1 0 0,0 0 0 0 0,1 0 1 0 0,-1 0-1 0 0,0 0 1 0 0,0 0-1 0 0,0 0 0 0 0,0 0 1 0 0,0 0-1 0 0,1-1 0 0 0,-1 1 1 0 0,0 0-1 0 0,0 0 1 0 0,0 0-1 0 0,0 0 0 0 0,0 0 1 0 0,0 0-1 0 0,0 0 0 0 0,0-1 1 0 0,1 1-1 0 0,-1 0 1 0 0,1 3 25 0 0,-1-1 1 0 0,1 1 0 0 0,0 0-1 0 0,1-1 1 0 0,-1 1 0 0 0,0-1 0 0 0,1 0-1 0 0,0 1 1 0 0,-1-1 0 0 0,1 0 0 0 0,0 0-1 0 0,0 0 1 0 0,0 0 0 0 0,0 0-1 0 0,1-1 1 0 0,-1 1 0 0 0,0 0 0 0 0,1-1-1 0 0,-1 0 1 0 0,1 0 0 0 0,-1 0-1 0 0,5 1 1 0 0,4 2 202 0 0,0-1 0 0 0,0-1 0 0 0,0 0 0 0 0,18 1 0 0 0,-21-3 3 0 0,1 0 0 0 0,-1 0 1 0 0,0-1-1 0 0,0 0 0 0 0,0-1 0 0 0,1 1 1 0 0,-1-2-1 0 0,12-4 0 0 0,-18 6-166 0 0,1 0 0 0 0,-1 0-1 0 0,1 0 1 0 0,-1-1 0 0 0,0 1 0 0 0,0-1 0 0 0,1 0 0 0 0,-1 1-1 0 0,0-1 1 0 0,-1 0 0 0 0,1 0 0 0 0,0 0 0 0 0,0-1 0 0 0,-1 1-1 0 0,0 0 1 0 0,1-1 0 0 0,-1 1 0 0 0,0-1 0 0 0,0 1 0 0 0,0-1-1 0 0,0 1 1 0 0,-1-1 0 0 0,1 0 0 0 0,-1 1 0 0 0,1-1 0 0 0,-1 0 0 0 0,0 0-1 0 0,0 1 1 0 0,0-1 0 0 0,-1 0 0 0 0,0-4 0 0 0,-1-1-74 0 0,-1 1 0 0 0,1-1 1 0 0,-1 1-1 0 0,-1 0 0 0 0,1 0 1 0 0,-1 1-1 0 0,0-1 0 0 0,-1 1 1 0 0,1 0-1 0 0,-1 0 0 0 0,-1 0 1 0 0,1 0-1 0 0,-1 1 0 0 0,-8-6 1 0 0,-10-6-1788 0 0,-1 1 0 0 0,-40-18 0 0 0,18 9-4918 0 0</inkml:trace>
</inkml:ink>
</file>

<file path=ppt/ink/ink8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9.3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 1392 0 0,'4'0'1690'0'0,"-2"-1"-1419"0"0,1 1 0 0 0,-1-1 0 0 0,1 1-1 0 0,0 0 1 0 0,-1 0 0 0 0,1 0 0 0 0,-1 0 0 0 0,1 0 0 0 0,-1 1 0 0 0,1-1 0 0 0,-1 1 0 0 0,1 0 0 0 0,-1-1 0 0 0,1 1 0 0 0,-1 0 0 0 0,0 1 0 0 0,1-1 0 0 0,-1 0 0 0 0,0 1 0 0 0,0-1 0 0 0,0 1 0 0 0,0 0 0 0 0,3 3 0 0 0,4 8 527 0 0,-1 0 1 0 0,-1 0-1 0 0,0 1 1 0 0,9 25-1 0 0,14 62 1145 0 0,-15-43-1009 0 0,-8-28-101 0 0,4 36 0 0 0,-9-53-61 0 0,-2-5 322 0 0,-3-12-867 0 0,0-15-252 0 0,4 14 10 0 0,0 0 0 0 0,1 0 0 0 0,-1 0-1 0 0,1 0 1 0 0,0 0 0 0 0,1 0 0 0 0,-1 0 0 0 0,1 1 0 0 0,0-1 0 0 0,0 1 0 0 0,0 0 0 0 0,1 0 0 0 0,0 0 0 0 0,-1 0-1 0 0,1 1 1 0 0,0-1 0 0 0,1 1 0 0 0,-1 0 0 0 0,1 0 0 0 0,-1 1 0 0 0,1-1 0 0 0,0 1 0 0 0,9-3 0 0 0,-7 3 7 0 0,1 0 0 0 0,0 0 0 0 0,0 1 0 0 0,0 0 0 0 0,0 0 1 0 0,0 1-1 0 0,0 0 0 0 0,0 0 0 0 0,-1 1 0 0 0,1 0 1 0 0,0 0-1 0 0,0 1 0 0 0,0 0 0 0 0,-1 0 0 0 0,9 5 0 0 0,94 57 107 0 0,-62-34 8 0 0,-46-29-73 0 0,1-1-46 0 0,1-1-43 0 0,-1 1 0 0 0,0-1 0 0 0,0 0 0 0 0,0 0 0 0 0,0 0 0 0 0,-1-1 0 0 0,1 1 0 0 0,0-1 0 0 0,0 0 0 0 0,-1 1 0 0 0,1-1 0 0 0,-1 0 0 0 0,0-1 0 0 0,1 1 0 0 0,-1 0 0 0 0,0-1 0 0 0,0 1 0 0 0,-1-1 0 0 0,1 1 0 0 0,0-1 0 0 0,1-5 0 0 0,5-8-202 0 0,-1-2 1 0 0,7-31 0 0 0,3-3 1034 0 0,-17 51-762 0 0,1 1-1 0 0,-1-1 0 0 0,0 1 1 0 0,0-1-1 0 0,0 1 1 0 0,0-1-1 0 0,1 1 1 0 0,-1-1-1 0 0,0 1 1 0 0,0 0-1 0 0,1-1 1 0 0,-1 1-1 0 0,0-1 1 0 0,1 1-1 0 0,-1 0 1 0 0,1-1-1 0 0,-1 1 1 0 0,0 0-1 0 0,1-1 1 0 0,-1 1-1 0 0,1 0 0 0 0,-1-1 1 0 0,1 1-1 0 0,-1 0 1 0 0,1 0-1 0 0,-1 0 1 0 0,1 0-1 0 0,-1 0 1 0 0,1-1-1 0 0,0 2 3 0 0,0-1-1 0 0,0 1 0 0 0,-1-1 0 0 0,1 1 1 0 0,0-1-1 0 0,-1 1 0 0 0,1 0 0 0 0,0-1 1 0 0,-1 1-1 0 0,1 0 0 0 0,-1-1 0 0 0,1 1 0 0 0,-1 0 1 0 0,1 0-1 0 0,0 1 0 0 0,13 41-110 0 0,-13-38-48 0 0,11 47-2114 0 0,-6-27-756 0 0,0-1-3373 0 0</inkml:trace>
</inkml:ink>
</file>

<file path=ppt/ink/ink8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19.6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8 184 1244 0 0,'-40'-84'8919'0'0,"-6"4"-5872"0"0,35 71-3054 0 0,1-1-1773 0 0</inkml:trace>
</inkml:ink>
</file>

<file path=ppt/ink/ink8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20.0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 0 1044 0 0,'3'1'1875'0'0,"-2"-1"-1851"0"0,17 4 4565 0 0,-17-4-4495 0 0,-1 1 0 0 0,1-1 0 0 0,-1 0-1 0 0,0 1 1 0 0,1-1 0 0 0,-1 0 0 0 0,1 1 0 0 0,-1-1-1 0 0,0 0 1 0 0,1 1 0 0 0,-1-1 0 0 0,0 1 0 0 0,1-1-1 0 0,-1 1 1 0 0,0-1 0 0 0,0 1 0 0 0,1-1-1 0 0,-1 1 1 0 0,0-1 0 0 0,0 1 0 0 0,0-1 0 0 0,0 1-1 0 0,0-1 1 0 0,0 1 0 0 0,0-1 0 0 0,0 1 0 0 0,0 0-1 0 0,0-1 1 0 0,0 1 0 0 0,0-1 0 0 0,0 1 0 0 0,0-1-1 0 0,0 1 1 0 0,0-1 0 0 0,-1 1 0 0 0,1-1 0 0 0,0 1-1 0 0,0-1 1 0 0,-1 1 0 0 0,0 0 0 0 0,-4 9 221 0 0,0 0 1 0 0,1 0-1 0 0,-1 0 0 0 0,2 1 1 0 0,0 0-1 0 0,0 0 1 0 0,1 0-1 0 0,0 0 0 0 0,0 18 1 0 0,2-22-262 0 0,0-1 1 0 0,1 0 0 0 0,0 1-1 0 0,0-1 1 0 0,1 0 0 0 0,-1 0-1 0 0,1 0 1 0 0,0 0-1 0 0,1 0 1 0 0,0 0 0 0 0,0 0-1 0 0,0-1 1 0 0,0 0-1 0 0,1 1 1 0 0,0-1 0 0 0,0-1-1 0 0,1 1 1 0 0,-1 0-1 0 0,7 4 1 0 0,-5-5-89 0 0,0 1 1 0 0,1-1-1 0 0,-1 0 0 0 0,1-1 1 0 0,0 1-1 0 0,0-1 0 0 0,0-1 1 0 0,1 1-1 0 0,-1-1 0 0 0,1 0 1 0 0,-1-1-1 0 0,1 0 0 0 0,0 0 0 0 0,13-1 1 0 0,-15-1-64 0 0,0 1-1 0 0,0-1 1 0 0,0-1 0 0 0,-1 1 0 0 0,1-1-1 0 0,0 0 1 0 0,-1 0 0 0 0,0-1 0 0 0,1 0-1 0 0,-1 0 1 0 0,0 0 0 0 0,0 0 0 0 0,-1-1-1 0 0,1 0 1 0 0,-1 0 0 0 0,0 0 0 0 0,0 0-1 0 0,0-1 1 0 0,6-9 0 0 0,10-21 384 0 0,28-69 0 0 0,-38 82 213 0 0,-10 20-479 0 0,0 1 1 0 0,1 0-1 0 0,-1-1 1 0 0,1 1-1 0 0,0 0 1 0 0,-1-1-1 0 0,1 1 1 0 0,0 0-1 0 0,0 0 0 0 0,0 0 1 0 0,0-1-1 0 0,0 1 1 0 0,0 0-1 0 0,0 0 1 0 0,0 1-1 0 0,0-1 1 0 0,0 0-1 0 0,1 0 0 0 0,-1 0 1 0 0,2 0-1 0 0,-2 1 11 0 0,0 0-1 0 0,0 0 1 0 0,0 1-1 0 0,0-1 1 0 0,0 0 0 0 0,0 0-1 0 0,0 1 1 0 0,-1-1-1 0 0,1 0 1 0 0,0 1-1 0 0,0-1 1 0 0,0 1-1 0 0,0-1 1 0 0,-1 1-1 0 0,1 0 1 0 0,0-1-1 0 0,0 1 1 0 0,-1 0-1 0 0,1 0 1 0 0,-1-1 0 0 0,2 3-1 0 0,3 5 231 0 0,0 1 0 0 0,0 0 0 0 0,-1 0 0 0 0,4 12 0 0 0,1 10 627 0 0,9 60 0 0 0,0-3 3426 0 0,-14-78-2311 0 0,0-13-734 0 0,7-8-1340 0 0,-8 8-163 0 0,1 1-1 0 0,-1 0 1 0 0,1-1-1 0 0,0 2 1 0 0,-1-1-1 0 0,1 0 1 0 0,0 1 0 0 0,0-1-1 0 0,0 1 1 0 0,0 0-1 0 0,0 1 1 0 0,1-1-1 0 0,-1 1 1 0 0,0-1-1 0 0,6 2 1 0 0,-3-1-411 0 0,0 2 0 0 0,0-1 0 0 0,0 1 0 0 0,-1 0 0 0 0,1 0 0 0 0,0 1 0 0 0,-1 0 0 0 0,9 5 0 0 0,-12-5-645 0 0,0-1 0 0 0,1 1-1 0 0,-1 0 1 0 0,0 0-1 0 0,0 0 1 0 0,3 5 0 0 0,2 4-3750 0 0</inkml:trace>
</inkml:ink>
</file>

<file path=ppt/ink/ink8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21.9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74 536 0 0,'0'0'3108'0'0,"5"11"334"0"0,0 4-2347 0 0,-1 1 0 0 0,-1-1 0 0 0,0 1 0 0 0,0 26 1 0 0,4 16 697 0 0,9 60 936 0 0,-12-74 438 0 0,-4-48-3221 0 0,1 0 1 0 0,0 0 0 0 0,0 1-1 0 0,0-1 1 0 0,0 0 0 0 0,1 1-1 0 0,-1-1 1 0 0,1 1 0 0 0,0 0-1 0 0,3-5 1 0 0,25-29-381 0 0,-27 34 404 0 0,1 0 1 0 0,-1 0-1 0 0,1 0 1 0 0,0 0 0 0 0,0 1-1 0 0,0-1 1 0 0,0 1-1 0 0,1 0 1 0 0,-1 0-1 0 0,0 1 1 0 0,1-1-1 0 0,0 1 1 0 0,-1 0 0 0 0,1 0-1 0 0,0 1 1 0 0,-1-1-1 0 0,1 1 1 0 0,0 0-1 0 0,0 1 1 0 0,-1-1-1 0 0,1 1 1 0 0,0 0-1 0 0,-1 0 1 0 0,1 0 0 0 0,-1 0-1 0 0,1 1 1 0 0,-1 0-1 0 0,0 0 1 0 0,1 0-1 0 0,-1 0 1 0 0,0 1-1 0 0,0 0 1 0 0,-1 0 0 0 0,1 0-1 0 0,3 4 1 0 0,-3-3 32 0 0,30 34-42 0 0,-32-36 88 0 0,-1 0 1 0 0,0 1-1 0 0,1-1 0 0 0,-1 0 1 0 0,0 1-1 0 0,0-1 1 0 0,0 1-1 0 0,0-1 0 0 0,-1 1 1 0 0,1 0-1 0 0,-1-1 1 0 0,1 1-1 0 0,-1 0 0 0 0,0-1 1 0 0,0 1-1 0 0,-1 3 1 0 0,1-5 172 0 0,-1 0-177 0 0,1-1 0 0 0,-1 1-1 0 0,0-1 1 0 0,1 1 0 0 0,-1-1 0 0 0,0 1 0 0 0,0-1 0 0 0,1 0 0 0 0,-1 0 0 0 0,0 1-1 0 0,0-1 1 0 0,0 0 0 0 0,1 0 0 0 0,-1 0 0 0 0,-1 0 0 0 0,0 0-9 0 0,0-1 0 0 0,0 1-1 0 0,0-1 1 0 0,1 0 0 0 0,-1 0 0 0 0,0 0 0 0 0,0 0 0 0 0,1 0 0 0 0,-1 0-1 0 0,1 0 1 0 0,-1 0 0 0 0,1-1 0 0 0,-1 1 0 0 0,1 0 0 0 0,0-1-1 0 0,0 0 1 0 0,-1 1 0 0 0,1-1 0 0 0,-1-3 0 0 0,0 1 7 0 0,0-1 0 0 0,1 0 0 0 0,0 1 0 0 0,-1-1 0 0 0,2 0 1 0 0,-1 0-1 0 0,1 1 0 0 0,-1-8 0 0 0,2 5-35 0 0,-1-1-1 0 0,1 0 1 0 0,0 0 0 0 0,0 0 0 0 0,1 1 0 0 0,0-1-1 0 0,1 1 1 0 0,0-1 0 0 0,0 1 0 0 0,7-12 0 0 0,-8 16-19 0 0,0 1 1 0 0,0-1-1 0 0,0 1 1 0 0,0-1-1 0 0,0 1 1 0 0,1 0-1 0 0,-1 0 1 0 0,1 0-1 0 0,-1 0 1 0 0,1 0-1 0 0,0 1 1 0 0,0-1 0 0 0,0 1-1 0 0,0 0 1 0 0,0 0-1 0 0,0 0 1 0 0,0 0-1 0 0,0 1 1 0 0,0-1-1 0 0,1 1 1 0 0,-1 0-1 0 0,0-1 1 0 0,0 2-1 0 0,0-1 1 0 0,4 1-1 0 0,1 1-2 0 0,-1 0-1 0 0,1 1 0 0 0,-1-1 0 0 0,0 2 1 0 0,0-1-1 0 0,0 1 0 0 0,-1 0 0 0 0,1 1 0 0 0,8 7 1 0 0,-2-1 11 0 0,21 27 0 0 0,-24-26 9 0 0,1 0-1 0 0,0-1 1 0 0,17 14 0 0 0,-23-22 10 0 0,-1 0 1 0 0,1 0-1 0 0,0-1 0 0 0,0 1 1 0 0,0-1-1 0 0,0 0 1 0 0,0 0-1 0 0,1-1 1 0 0,-1 0-1 0 0,1 0 1 0 0,-1 0-1 0 0,0 0 0 0 0,12-1 1 0 0,1-2-40 0 0,0-1 0 0 0,0 0 1 0 0,0-1-1 0 0,0-1 0 0 0,-1-1 0 0 0,0 0 0 0 0,0-1 1 0 0,0-1-1 0 0,23-15 0 0 0,-20 9-84 0 0,0 0 0 0 0,0-1 1 0 0,-2-2-1 0 0,0 1 0 0 0,-1-2 0 0 0,28-36 0 0 0,-43 50 104 0 0,0 1 0 0 0,0-1 0 0 0,0 1-1 0 0,-1-1 1 0 0,1 0 0 0 0,-1 0 0 0 0,0 0 0 0 0,0 0-1 0 0,1-7 1 0 0,-2 10 0 0 0,-1 1-1 0 0,1-1 1 0 0,0 1 0 0 0,-1-1-1 0 0,1 1 1 0 0,0 0 0 0 0,-1-1-1 0 0,1 1 1 0 0,0 0 0 0 0,-1-1-1 0 0,1 1 1 0 0,-1 0 0 0 0,1 0-1 0 0,-1-1 1 0 0,1 1 0 0 0,-1 0-1 0 0,1 0 1 0 0,-1 0 0 0 0,1 0-1 0 0,-1 0 1 0 0,1 0 0 0 0,-1-1-1 0 0,1 1 1 0 0,-1 0 0 0 0,1 0-1 0 0,-1 1 1 0 0,1-1 0 0 0,-1 0-1 0 0,1 0 1 0 0,-1 0 0 0 0,1 0-1 0 0,-1 0 1 0 0,1 0 0 0 0,-1 1-1 0 0,-18 3-45 0 0,19-4 51 0 0,-7 4-16 0 0,0-1 1 0 0,-1 1-1 0 0,2 0 1 0 0,-1 1-1 0 0,0-1 1 0 0,1 1-1 0 0,0 1 1 0 0,0-1-1 0 0,0 1 1 0 0,1 0-1 0 0,-8 11 1 0 0,10-13 10 0 0,0 1 0 0 0,0-1 1 0 0,0 1-1 0 0,1 0 0 0 0,-1 0 1 0 0,1 0-1 0 0,1 0 0 0 0,-1 0 1 0 0,1 0-1 0 0,-1 0 0 0 0,2 1 1 0 0,-1-1-1 0 0,0 0 0 0 0,1 1 1 0 0,0-1-1 0 0,0 0 0 0 0,1 1 0 0 0,1 5 1 0 0,-1-8 3 0 0,1 1 0 0 0,0 0 0 0 0,0-1 0 0 0,0 1 0 0 0,0-1 0 0 0,1 0 0 0 0,-1 1 0 0 0,1-1 0 0 0,0-1 1 0 0,0 1-1 0 0,0 0 0 0 0,0-1 0 0 0,1 1 0 0 0,-1-1 0 0 0,1 0 0 0 0,-1 0 0 0 0,1 0 0 0 0,0-1 0 0 0,0 1 0 0 0,-1-1 0 0 0,1 0 0 0 0,0 0 1 0 0,5 0-1 0 0,8 2-36 0 0,1-1 1 0 0,-1-1 0 0 0,0 0-1 0 0,20-3 1 0 0,-23 1-13 0 0,1-2-1 0 0,-1 1 1 0 0,0-2-1 0 0,0 0 1 0 0,0 0-1 0 0,-1-2 1 0 0,0 0 0 0 0,0 0-1 0 0,19-12 1 0 0,-22 11 18 0 0,0 0-1 0 0,0-1 1 0 0,-1 0 0 0 0,0 0 0 0 0,0-1 0 0 0,-1 0 0 0 0,0-1 0 0 0,-1 0 0 0 0,0 0 0 0 0,0 0 0 0 0,7-17 0 0 0,-13 23 44 0 0,1 0-1 0 0,-1 1 1 0 0,0-1 0 0 0,0 0 0 0 0,-1 1-1 0 0,1-1 1 0 0,-1 0 0 0 0,0 0 0 0 0,0 0 0 0 0,0-6-1 0 0,-1 9-15 0 0,1-1 0 0 0,-1 1 0 0 0,1 0 0 0 0,-1 0 0 0 0,1-1 0 0 0,-1 1 0 0 0,0 0 0 0 0,1 0 0 0 0,-1 0 0 0 0,0 0 0 0 0,0 0 0 0 0,0 0-1 0 0,0 0 1 0 0,0 0 0 0 0,0 0 0 0 0,0 0 0 0 0,0 0 0 0 0,0 1 0 0 0,-1-1 0 0 0,1 1 0 0 0,0-1 0 0 0,0 0 0 0 0,-1 1 0 0 0,1 0-1 0 0,0-1 1 0 0,-1 1 0 0 0,1 0 0 0 0,0 0 0 0 0,-1 0 0 0 0,1 0 0 0 0,0 0 0 0 0,-1 0 0 0 0,1 0 0 0 0,0 0 0 0 0,-1 0 0 0 0,1 1 0 0 0,-3 0-1 0 0,-2 0-22 0 0,-1 0 0 0 0,1 1 0 0 0,0 0 0 0 0,0 0 0 0 0,0 1 0 0 0,0-1 0 0 0,0 1 0 0 0,0 0 0 0 0,1 1 0 0 0,0 0 0 0 0,-1 0-1 0 0,1 0 1 0 0,0 0 0 0 0,1 1 0 0 0,-1-1 0 0 0,1 1 0 0 0,-5 7 0 0 0,9-11 12 0 0,-1 0 0 0 0,1-1-1 0 0,0 1 1 0 0,-1-1 0 0 0,1 1 0 0 0,0 0 0 0 0,-1-1-1 0 0,1 1 1 0 0,0 0 0 0 0,0-1 0 0 0,0 1 0 0 0,0 0-1 0 0,-1-1 1 0 0,1 1 0 0 0,0 0 0 0 0,0 0 0 0 0,0-1-1 0 0,1 1 1 0 0,-1 0 0 0 0,0-1 0 0 0,0 1 0 0 0,0 0-1 0 0,0-1 1 0 0,1 1 0 0 0,-1 0 0 0 0,0-1 0 0 0,1 2-1 0 0,0-2-16 0 0,0 1 1 0 0,0 0-1 0 0,0 0 0 0 0,0-1 0 0 0,0 1 0 0 0,0-1 0 0 0,0 1 0 0 0,0-1 0 0 0,0 0 0 0 0,0 1 0 0 0,0-1 1 0 0,1 0-1 0 0,-1 0 0 0 0,2 1 0 0 0,4-1-118 0 0,-1 0 0 0 0,1-1 0 0 0,0 1 0 0 0,10-3 1 0 0,67-26-902 0 0,-60 20 798 0 0,33-9-1 0 0,-54 18 250 0 0,0 0 29 0 0,-1 1 0 0 0,1-1 0 0 0,-1 1 0 0 0,1 0 0 0 0,-1-1 0 0 0,1 1 0 0 0,-1 0 0 0 0,0 1 0 0 0,1-1 0 0 0,-1 0 1 0 0,0 1-1 0 0,0-1 0 0 0,0 1 0 0 0,0 0 0 0 0,0 0 0 0 0,0 0 0 0 0,-1 0 0 0 0,1 0 0 0 0,-1 0 0 0 0,1 0 0 0 0,-1 0 0 0 0,0 1 0 0 0,1-1 0 0 0,0 4 0 0 0,-1-3 11 0 0,0 0 0 0 0,1-1 1 0 0,0 1-1 0 0,-1 0 0 0 0,1 0 0 0 0,0-1 0 0 0,0 1 0 0 0,0-1 0 0 0,1 1 1 0 0,-1-1-1 0 0,1 0 0 0 0,-1 0 0 0 0,1 0 0 0 0,0-1 0 0 0,0 1 0 0 0,-1 0 1 0 0,1-1-1 0 0,6 2 0 0 0,-5-3-14 0 0,1 1 0 0 0,0-1 0 0 0,-1-1 1 0 0,1 1-1 0 0,0 0 0 0 0,-1-1 0 0 0,1 0 0 0 0,-1 0 0 0 0,1-1 1 0 0,-1 1-1 0 0,1-1 0 0 0,-1 0 0 0 0,0 0 0 0 0,0-1 0 0 0,0 1 1 0 0,0-1-1 0 0,0 0 0 0 0,-1 0 0 0 0,1 0 0 0 0,3-4 1 0 0,6-6-15 0 0,-1 0 1 0 0,-1-1 0 0 0,0-1 0 0 0,10-15-1 0 0,-19 26-15 0 0,-1 1-22 0 0,1 1 1 0 0,-1 0-1 0 0,1-1 1 0 0,-1 1-1 0 0,1 0 1 0 0,0 0-1 0 0,3-3 0 0 0,-5 5 21 0 0,1 0 1 0 0,-1 0-1 0 0,0 0 0 0 0,0-1 0 0 0,1 1 0 0 0,-1 0 0 0 0,0 0 0 0 0,1 0 0 0 0,-1 0 0 0 0,0 0 0 0 0,0 0 0 0 0,1 0 0 0 0,-1 0 0 0 0,0 0 0 0 0,1 0 0 0 0,-1 0 0 0 0,0 0 0 0 0,1 0 0 0 0,-1 0 0 0 0,0 0 0 0 0,0 0 0 0 0,1 1 0 0 0,-1-1 0 0 0,0 0 0 0 0,0 0 0 0 0,1 0 0 0 0,-1 0 0 0 0,1 1 0 0 0,7 14-45 0 0,-7-10 78 0 0,0-1 0 0 0,1 1 0 0 0,-1 0 0 0 0,1-1 1 0 0,0 0-1 0 0,1 1 0 0 0,-1-1 0 0 0,1 0 0 0 0,0 0 1 0 0,0-1-1 0 0,0 1 0 0 0,0 0 0 0 0,1-1 1 0 0,-1 0-1 0 0,9 5 0 0 0,-9-6 0 0 0,1 0 1 0 0,0-1-1 0 0,0 0 1 0 0,0 0-1 0 0,1 0 0 0 0,-1 0 1 0 0,0-1-1 0 0,0 0 1 0 0,0 1-1 0 0,1-2 0 0 0,-1 1 1 0 0,0 0-1 0 0,0-1 1 0 0,0 0-1 0 0,0 0 0 0 0,0 0 1 0 0,0 0-1 0 0,0-1 1 0 0,0 1-1 0 0,0-1 1 0 0,0 0-1 0 0,-1 0 0 0 0,1-1 1 0 0,-1 1-1 0 0,0-1 1 0 0,4-3-1 0 0,1-2-10 0 0,-1 0 1 0 0,0 0-1 0 0,0-1 0 0 0,-1 0 0 0 0,0 0 1 0 0,-1-1-1 0 0,0 1 0 0 0,0-1 0 0 0,3-12 1 0 0,-6 15-2 0 0,0 0-56 0 0,1 0 0 0 0,-1 0 1 0 0,1 1-1 0 0,1-1 1 0 0,5-9-1 0 0,-8 15 11 0 0,13 30-25 0 0,-2 10 557 0 0,-2 1 0 0 0,9 67 0 0 0,-18-104-504 0 0,0 1 0 0 0,-1 0 1 0 0,1 0-1 0 0,-1 0 0 0 0,0 0 1 0 0,0-1-1 0 0,0 1 0 0 0,-1 0 0 0 0,1 0 1 0 0,-1 0-1 0 0,0 0 0 0 0,0-1 1 0 0,-1 1-1 0 0,1 0 0 0 0,-1-1 1 0 0,1 1-1 0 0,-1-1 0 0 0,0 0 0 0 0,-1 0 1 0 0,1 1-1 0 0,0-1 0 0 0,-1-1 1 0 0,0 1-1 0 0,0 0 0 0 0,0-1 0 0 0,0 1 1 0 0,0-1-1 0 0,0 0 0 0 0,0 0 1 0 0,-1 0-1 0 0,1 0 0 0 0,-1-1 1 0 0,-4 2-1 0 0,-76 22-4575 0 0,28-12-2464 0 0,30-8 1088 0 0</inkml:trace>
</inkml:ink>
</file>

<file path=ppt/ink/ink8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25.6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109 652 0 0,'-11'-11'5098'0'0,"10"10"-4931"0"0,0 0 0 0 0,0 0 0 0 0,1 0 0 0 0,-1 0 0 0 0,0 0 0 0 0,1-1 0 0 0,-1 1 0 0 0,1 0 0 0 0,-1 0-1 0 0,1 0 1 0 0,0-1 0 0 0,-1 1 0 0 0,1 0 0 0 0,0-1 0 0 0,0 1 0 0 0,0 0 0 0 0,0-1 0 0 0,0 1 0 0 0,0 0 0 0 0,0-1 0 0 0,1-1 0 0 0,0 1-95 0 0,0 0 0 0 0,0 1 0 0 0,1-1 0 0 0,-1 0 0 0 0,0 0 0 0 0,1 1 0 0 0,-1-1 0 0 0,1 1 0 0 0,-1-1-1 0 0,1 1 1 0 0,0 0 0 0 0,0 0 0 0 0,3-2 0 0 0,5-3-104 0 0,0 2-1 0 0,1-1 1 0 0,-1 1 0 0 0,15-3-1 0 0,46-6-3656 0 0,-48 9 1382 0 0,-7 2 439 0 0</inkml:trace>
</inkml:ink>
</file>

<file path=ppt/ink/ink8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27.7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0 105 2028 0 0,'-3'0'1820'0'0,"-12"2"1097"0"0,12-2-1740 0 0,-14 2 1394 0 0,6-1-520 0 0,209-53 128 0 0,-141 39-1849 0 0,127-31-1324 0 0,-182 44 291 0 0,16 3-4159 0 0</inkml:trace>
</inkml:ink>
</file>

<file path=ppt/ink/ink8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28.04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48 0 0,'7'7'738'0'0,"-1"-1"1"0"0,0 1-1 0 0,0 0 1 0 0,-1 1-1 0 0,1-1 1 0 0,-2 1-1 0 0,1 0 1 0 0,5 16-1 0 0,4 3 459 0 0,23 39 612 0 0,3-1-1 0 0,52 64 1 0 0,-77-108-1031 0 0,-11-15-104 0 0,0 0-1 0 0,0-1 0 0 0,0 0 0 0 0,1 0 1 0 0,5 5-1 0 0,-8-8-81 0 0,3-5 46 0 0,-4 3-624 0 0,-1 0 1 0 0,0 0-1 0 0,1 0 0 0 0,-1 0 0 0 0,0 0 0 0 0,1 0 1 0 0,-1 0-1 0 0,0 0 0 0 0,0 0 0 0 0,1 0 0 0 0,-1 0 1 0 0,0 0-1 0 0,0 0 0 0 0,1 0 0 0 0,-1-1 1 0 0,0 1-1 0 0,0 0 0 0 0,1 0 0 0 0,-1 0 0 0 0,0 0 1 0 0,0-1-1 0 0,1 1 0 0 0,-1 0 0 0 0,0 0 1 0 0,0-1-1 0 0,0 1 0 0 0,0 0 0 0 0,1 0 0 0 0,-1-1 1 0 0,0 1-1 0 0,0 0 0 0 0,0 0 0 0 0,0-1 0 0 0,3-9 122 0 0,0 1-1 0 0,-1-1 0 0 0,0 0 0 0 0,0 0 0 0 0,0-16 0 0 0,-3-54-40 0 0,-2 33-588 0 0,1 20-1893 0 0,1 0 1 0 0,3-41-1 0 0,-1 64 1698 0 0,-1 0-1 0 0,1 1 1 0 0,0-1 0 0 0,0 1-1 0 0,1-1 1 0 0,-1 1 0 0 0,1-1-1 0 0,0 1 1 0 0,3-6 0 0 0,3-2-3129 0 0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7.7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20 1460 0 0,'1'-2'1881'0'0,"11"-7"-211"0"0,-1 0 0 0 0,2 0 1 0 0,14-7-1 0 0,43-19 845 0 0,-48 26-2027 0 0,-1-2 1 0 0,0 0 0 0 0,0-1-1 0 0,31-26 1 0 0,-44 31-245 0 0,-4 4-66 0 0,0-1 1 0 0,0 0 0 0 0,0 0-1 0 0,0 0 1 0 0,4-8-1 0 0,-7 12-169 0 0,-1-1-1 0 0,0 1 0 0 0,1-1 0 0 0,-1 1 0 0 0,0-1 0 0 0,0 0 0 0 0,0 1 0 0 0,0-1 1 0 0,1 1-1 0 0,-1-1 0 0 0,0 1 0 0 0,0-1 0 0 0,0 0 0 0 0,0 1 0 0 0,0-1 0 0 0,0 1 0 0 0,0-1 1 0 0,-1 1-1 0 0,1-1 0 0 0,0 0 0 0 0,0 1 0 0 0,0-1 0 0 0,-1 1 0 0 0,1-1 0 0 0,0 1 0 0 0,0-1 1 0 0,-1 1-1 0 0,1-1 0 0 0,0 1 0 0 0,-1-1 0 0 0,1 1 0 0 0,-1 0 0 0 0,1-1 0 0 0,-1 1 0 0 0,1 0 1 0 0,-1-1-1 0 0,1 1 0 0 0,-1 0 0 0 0,1-1 0 0 0,-1 1 0 0 0,1 0 0 0 0,-1 0 0 0 0,1 0 0 0 0,-1 0 1 0 0,1-1-1 0 0,-1 1 0 0 0,0 0 0 0 0,1 0 0 0 0,-1 0 0 0 0,1 0 0 0 0,-1 0 0 0 0,1 0 0 0 0,-1 1 1 0 0,0-1-1 0 0,1 0 0 0 0,-1 0 0 0 0,1 0 0 0 0,-1 1 0 0 0,-11 3 47 0 0,1 0-1 0 0,1 1 1 0 0,-1 0-1 0 0,1 1 0 0 0,0 0 1 0 0,0 1-1 0 0,1 0 1 0 0,-1 1-1 0 0,2-1 1 0 0,-15 18-1 0 0,14-16 7 0 0,2 1-1 0 0,-1 0 1 0 0,1 0 0 0 0,1 1-1 0 0,0 0 1 0 0,1 0 0 0 0,0 0-1 0 0,0 1 1 0 0,1 0 0 0 0,-4 20-1 0 0,7-26-75 0 0,1-1 0 0 0,0 1 0 0 0,-1-1 0 0 0,2 1 0 0 0,-1 0 0 0 0,1-1 0 0 0,0 1 0 0 0,0-1-1 0 0,0 1 1 0 0,1-1 0 0 0,0 1 0 0 0,0-1 0 0 0,0 0 0 0 0,1 0 0 0 0,0 0 0 0 0,0 0 0 0 0,0-1 0 0 0,0 1-1 0 0,1-1 1 0 0,0 0 0 0 0,0 0 0 0 0,0 0 0 0 0,0 0 0 0 0,1-1 0 0 0,-1 0 0 0 0,1 1 0 0 0,5 1 0 0 0,-2-1-404 0 0,0 0-1 0 0,1 0 1 0 0,-1-1 0 0 0,1 0 0 0 0,0-1 0 0 0,0 1 0 0 0,10 0 0 0 0,-10-3-492 0 0,0 1 1 0 0,-1-1-1 0 0,1 0 0 0 0,0-1 1 0 0,0 0-1 0 0,0 0 1 0 0,11-4-1 0 0,5-4-3665 0 0</inkml:trace>
</inkml:ink>
</file>

<file path=ppt/ink/ink8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28.3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85 268 0 0,'2'0'277'0'0,"67"20"5466"0"0,-64-19-5259 0 0,0 0-1 0 0,0-1 1 0 0,1 1-1 0 0,-1-1 1 0 0,0 0-1 0 0,0 0 1 0 0,1-1-1 0 0,-1 0 1 0 0,0 0 0 0 0,8-2-1 0 0,-11 2-422 0 0,-1 0 1 0 0,1-1-1 0 0,-1 1 1 0 0,1 0-1 0 0,-1-1 1 0 0,1 1-1 0 0,-1-1 0 0 0,0 0 1 0 0,1 1-1 0 0,-1-1 1 0 0,0 0-1 0 0,0 0 0 0 0,-1 0 1 0 0,1 0-1 0 0,0 0 1 0 0,-1 1-1 0 0,2-5 1 0 0,0 0 46 0 0,-2 4-61 0 0,0 0 0 0 0,1 0 1 0 0,-1-1-1 0 0,0 1 1 0 0,0 0-1 0 0,0 0 1 0 0,-1-1-1 0 0,1 1 1 0 0,0 0-1 0 0,-1 0 0 0 0,0 0 1 0 0,1 0-1 0 0,-1-1 1 0 0,0 1-1 0 0,0 0 1 0 0,-2-2-1 0 0,2 2-31 0 0,1 1 0 0 0,-1-1 0 0 0,0 1 0 0 0,0-1 0 0 0,0 1 0 0 0,-1-1 0 0 0,1 1-1 0 0,0 0 1 0 0,0 0 0 0 0,-1-1 0 0 0,1 1 0 0 0,-1 0 0 0 0,1 0 0 0 0,-1 1 0 0 0,1-1 0 0 0,-1 0 0 0 0,0 0 0 0 0,1 1-1 0 0,-1-1 1 0 0,-3 0 0 0 0,-1 1-4 0 0,0 1 0 0 0,1 0 0 0 0,-1 0 0 0 0,0 0 0 0 0,1 1 0 0 0,-1 0 0 0 0,1 0 0 0 0,-1 0-1 0 0,1 1 1 0 0,0-1 0 0 0,0 1 0 0 0,0 0 0 0 0,0 1 0 0 0,1-1 0 0 0,-1 1 0 0 0,-4 5 0 0 0,6-6 4 0 0,0 0 0 0 0,1 1 0 0 0,-1-1 0 0 0,1 1 0 0 0,0-1 0 0 0,0 1 0 0 0,0 0 0 0 0,0-1 0 0 0,1 1 0 0 0,-1 0 0 0 0,1 0 0 0 0,0 0 1 0 0,0 1-1 0 0,1-1 0 0 0,-1 0 0 0 0,1 0 0 0 0,0 0 0 0 0,0 0 0 0 0,0 1 0 0 0,1-1 0 0 0,-1 0 0 0 0,1 0 0 0 0,0 0 0 0 0,2 4 0 0 0,-1-1-138 0 0,1-1-1 0 0,1 1 1 0 0,-1-1 0 0 0,1 0-1 0 0,0 0 1 0 0,1-1-1 0 0,-1 1 1 0 0,1-1-1 0 0,0 0 1 0 0,1 0 0 0 0,6 4-1 0 0,-4-3-521 0 0,1 0-1 0 0,0-1 1 0 0,1 0-1 0 0,-1 0 1 0 0,1-1 0 0 0,0-1-1 0 0,12 4 1 0 0,-7-4-272 0 0</inkml:trace>
</inkml:ink>
</file>

<file path=ppt/ink/ink8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28.7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4 274 1748 0 0,'10'-9'2536'0'0,"24"-18"8851"0"0,-33 27-11366 0 0,-1-1 0 0 0,1 1-1 0 0,-1 0 1 0 0,0 0 0 0 0,1 0-1 0 0,-1 0 1 0 0,1 0 0 0 0,-1 0 0 0 0,1 0-1 0 0,-1 0 1 0 0,1 0 0 0 0,-1 0-1 0 0,1 0 1 0 0,-1 0 0 0 0,1 0-1 0 0,-1 0 1 0 0,1 0 0 0 0,-1 0-1 0 0,0 1 1 0 0,1-1 0 0 0,-1 0-1 0 0,1 0 1 0 0,-1 1 0 0 0,0-1-1 0 0,1 0 1 0 0,-1 1 0 0 0,1-1-1 0 0,-1 0 1 0 0,0 1 0 0 0,0-1-1 0 0,1 0 1 0 0,-1 1 0 0 0,0-1-1 0 0,0 1 1 0 0,1-1 0 0 0,-1 0-1 0 0,0 1 1 0 0,0-1 0 0 0,1 1-1 0 0,4 20 325 0 0,-4-18-334 0 0,4 21-56 0 0,18 100-714 0 0,-20-98-4163 0 0,0 30 1 0 0</inkml:trace>
  <inkml:trace contextRef="#ctx0" brushRef="#br0" timeOffset="1">54 38 328 0 0,'-8'-7'1364'0'0,"0"-2"364"0"0,-4-2-1108 0 0,2 4-756 0 0,-6 3-1364 0 0</inkml:trace>
</inkml:ink>
</file>

<file path=ppt/ink/ink8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29.0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 6 1480 0 0,'0'0'1300'0'0,"3"-1"-166"0"0,9-1-208 0 0,-9 1-125 0 0,8-1 3506 0 0,-15 6-4290 0 0,0 0-1 0 0,1 0 1 0 0,0 0-1 0 0,0 0 1 0 0,1 1-1 0 0,-1 0 1 0 0,1-1-1 0 0,0 1 1 0 0,0 0-1 0 0,0 0 1 0 0,1 0-1 0 0,-1 0 1 0 0,1 0-1 0 0,1 0 1 0 0,-1 0-1 0 0,1 1 1 0 0,0-1-1 0 0,0 0 1 0 0,1 7-1 0 0,1-3 18 0 0,0 0 0 0 0,0 0 0 0 0,1 0 0 0 0,0 0 0 0 0,1-1 0 0 0,0 0 0 0 0,0 0 0 0 0,9 13 0 0 0,52 57 242 0 0,-36-44-216 0 0,-14-16-26 0 0,-4-6 5 0 0,0 1-1 0 0,-1 0 1 0 0,-1 0 0 0 0,9 17 0 0 0,-17-28-15 0 0,0 0 1 0 0,0 0 0 0 0,0-1-1 0 0,0 1 1 0 0,-1 0 0 0 0,1 0 0 0 0,0 0-1 0 0,-1 0 1 0 0,0 0 0 0 0,1 0-1 0 0,-1 0 1 0 0,0 0 0 0 0,0 0 0 0 0,0 0-1 0 0,0 0 1 0 0,-1 2 0 0 0,1 0 23 0 0,-1-3-37 0 0,1-1 0 0 0,0 1 0 0 0,0 0 0 0 0,0-1 0 0 0,-1 1 0 0 0,1-1 0 0 0,0 1 0 0 0,0-1 0 0 0,-1 1 0 0 0,1-1 0 0 0,0 1 0 0 0,-1-1 0 0 0,1 1 0 0 0,-1-1 0 0 0,1 1 0 0 0,-1-1 0 0 0,1 0 0 0 0,0 1 0 0 0,-1-1 0 0 0,1 0 0 0 0,-1 1 0 0 0,0-1 0 0 0,1 0 0 0 0,-1 0 0 0 0,1 0 0 0 0,-1 1 0 0 0,1-1 0 0 0,-1 0 0 0 0,0 0 0 0 0,1 0 0 0 0,-2 0 0 0 0,-15-1 45 0 0,15 0-42 0 0,-2 0-60 0 0,0 0-1 0 0,0 0 1 0 0,0 0 0 0 0,0-1 0 0 0,0 0-1 0 0,0 1 1 0 0,1-2 0 0 0,-1 1 0 0 0,1 0 0 0 0,0-1-1 0 0,-1 1 1 0 0,-3-6 0 0 0,2 4-59 0 0,0 0 0 0 0,0 0 0 0 0,0 1 0 0 0,-10-6 0 0 0,13 8 28 0 0,0 0 1 0 0,0 1 0 0 0,0-1-1 0 0,0 1 1 0 0,0-1 0 0 0,0 1 0 0 0,0 0-1 0 0,0 0 1 0 0,0 0 0 0 0,0 0-1 0 0,0 0 1 0 0,0 0 0 0 0,0 1-1 0 0,0-1 1 0 0,-1 1 0 0 0,2 0 0 0 0,-1-1-1 0 0,0 1 1 0 0,0 0 0 0 0,-2 1-1 0 0,-20 16-4757 0 0</inkml:trace>
</inkml:ink>
</file>

<file path=ppt/ink/ink8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30.4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 30 1720 0 0,'-3'-13'4558'0'0,"0"-4"-786"0"0,9 28-2113 0 0,12 32-686 0 0,41 116 1323 0 0,25 82 1603 0 0,-82-230-3130 0 0,-7-14-328 0 0,-6-15-498 0 0,9 9-78 0 0,1 0 0 0 0,0 0-1 0 0,0 0 1 0 0,1 0 0 0 0,0-1 0 0 0,1 1 0 0 0,0 0 0 0 0,0 0 0 0 0,5-16-1 0 0,-4 19 51 0 0,0 0 0 0 0,0 0 0 0 0,0 1 0 0 0,0-1 0 0 0,1 1 0 0 0,0 0 0 0 0,0 0 0 0 0,1 0 0 0 0,-1 0-1 0 0,1 0 1 0 0,0 1 0 0 0,0-1 0 0 0,1 1 0 0 0,-1 0 0 0 0,8-5 0 0 0,-9 8 58 0 0,0 0 0 0 0,-1 1 0 0 0,1-1 0 0 0,-1 0 0 0 0,1 1 0 0 0,0 0 1 0 0,-1-1-1 0 0,1 1 0 0 0,0 0 0 0 0,-1 1 0 0 0,1-1 0 0 0,0 0 0 0 0,-1 1 0 0 0,1-1 0 0 0,5 3 0 0 0,-1-1-14 0 0,0 1 0 0 0,-1 0-1 0 0,1 1 1 0 0,10 6 0 0 0,59 51-93 0 0,-46-35 241 0 0,38 24 1 0 0,-65-48-97 0 0,0-1 0 0 0,-1 1 0 0 0,1-1 0 0 0,0 0 1 0 0,-1 0-1 0 0,1 0 0 0 0,0 0 0 0 0,0 0 0 0 0,0-1 0 0 0,0 1 0 0 0,0-1 0 0 0,0 0 1 0 0,0 0-1 0 0,0 0 0 0 0,0 0 0 0 0,0 0 0 0 0,3-1 0 0 0,-1-1-1 0 0,0 0 0 0 0,0 0-1 0 0,0 0 1 0 0,-1 0 0 0 0,1-1-1 0 0,-1 1 1 0 0,1-1 0 0 0,-1 0-1 0 0,5-5 1 0 0,6-8-124 0 0,-1 0 1 0 0,0-1-1 0 0,20-33 0 0 0,-24 34-114 0 0,-10 16 199 0 0,1-1 1 0 0,-1 1-1 0 0,0-1 1 0 0,1 1-1 0 0,-1-1 1 0 0,0 1-1 0 0,1 0 1 0 0,-1-1-1 0 0,0 1 1 0 0,1-1-1 0 0,-1 1 1 0 0,1 0-1 0 0,-1 0 1 0 0,1-1-1 0 0,-1 1 1 0 0,1 0-1 0 0,-1 0 1 0 0,1 0-1 0 0,-1-1 1 0 0,1 1-1 0 0,-1 0 1 0 0,1 0-1 0 0,-1 0 1 0 0,1 0-1 0 0,-1 0 0 0 0,1 0 1 0 0,-1 0-1 0 0,1 0 1 0 0,-1 0-1 0 0,1 0 1 0 0,0 0-1 0 0,-1 1 1 0 0,1-1-1 0 0,-1 0 1 0 0,1 0-1 0 0,-1 0 1 0 0,0 1-1 0 0,1-1 1 0 0,-1 0-1 0 0,1 1 1 0 0,-1-1-1 0 0,1 0 1 0 0,-1 1-1 0 0,22 24 55 0 0,-11-10-100 0 0,-6-11 106 0 0,1 1 0 0 0,-1-1-1 0 0,1-1 1 0 0,0 1 0 0 0,0-1 0 0 0,1 0 0 0 0,-1 0 0 0 0,0-1-1 0 0,1 0 1 0 0,0 0 0 0 0,-1 0 0 0 0,1-1 0 0 0,12 1-1 0 0,-13-1 59 0 0,0-1-1 0 0,0 1 0 0 0,0-1 0 0 0,-1-1 1 0 0,1 1-1 0 0,0-1 0 0 0,-1 0 1 0 0,1 0-1 0 0,0-1 0 0 0,-1 1 0 0 0,1-1 1 0 0,-1 0-1 0 0,0-1 0 0 0,0 0 0 0 0,0 1 1 0 0,0-2-1 0 0,0 1 0 0 0,6-6 1 0 0,-8 6-48 0 0,-1 1 1 0 0,1-1-1 0 0,-1-1 1 0 0,1 1 0 0 0,-1 0-1 0 0,0 0 1 0 0,-1-1 0 0 0,1 1-1 0 0,-1-1 1 0 0,1 0 0 0 0,-1 1-1 0 0,0-1 1 0 0,0 0 0 0 0,-1 0-1 0 0,1 1 1 0 0,-1-1 0 0 0,1 0-1 0 0,-1 0 1 0 0,-1 0-1 0 0,1 0 1 0 0,-1 0 0 0 0,1 1-1 0 0,-1-1 1 0 0,0 0 0 0 0,0 0-1 0 0,-3-5 1 0 0,2 4-151 0 0,-1 0-1 0 0,0 0 1 0 0,0 0 0 0 0,0 0-1 0 0,-1 1 1 0 0,1-1-1 0 0,-1 1 1 0 0,0 0 0 0 0,-1 0-1 0 0,1 1 1 0 0,0-1 0 0 0,-1 1-1 0 0,0 0 1 0 0,0 0 0 0 0,0 0-1 0 0,-8-2 1 0 0,4 2-553 0 0,0 0 0 0 0,1 0 1 0 0,-1 1-1 0 0,-10-1 0 0 0,8 2-1197 0 0,-1 1 1 0 0,1 0-1 0 0,-13 1 0 0 0,11 1-1526 0 0</inkml:trace>
</inkml:ink>
</file>

<file path=ppt/ink/ink8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30.7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 2068 0 0,'3'-1'377'0'0,"-1"1"0"0"0,0 0 0 0 0,1-1 0 0 0,-1 1 0 0 0,1 0 0 0 0,-1 0-1 0 0,1 1 1 0 0,-1-1 0 0 0,1 0 0 0 0,-1 1 0 0 0,1-1 0 0 0,-1 1 0 0 0,0 0 0 0 0,1 0 0 0 0,-1 0-1 0 0,0 0 1 0 0,0 0 0 0 0,0 1 0 0 0,4 2 0 0 0,-1 1 21 0 0,-1-1 0 0 0,1 2 0 0 0,-1-1 0 0 0,-1 0-1 0 0,1 1 1 0 0,4 9 0 0 0,75 158 1989 0 0,-39-53-4480 0 0,-40-87-79 0 0,-5-10-2225 0 0,-1-12 685 0 0</inkml:trace>
</inkml:ink>
</file>

<file path=ppt/ink/ink8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31.1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38 820 0 0,'1'-2'5265'0'0,"0"-1"-4958"0"0,0 0-1 0 0,1 1 1 0 0,0-1 0 0 0,-1 1-1 0 0,1 0 1 0 0,0-1 0 0 0,0 1-1 0 0,0 0 1 0 0,1 0-1 0 0,-1 0 1 0 0,0 0 0 0 0,1 1-1 0 0,-1-1 1 0 0,6-2 0 0 0,48-21 1481 0 0,-36 17-1340 0 0,21-7-82 0 0,63-15-1 0 0,-83 25-931 0 0,31-13-5030 0 0</inkml:trace>
</inkml:ink>
</file>

<file path=ppt/ink/ink8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32.5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4 88 1072 0 0,'-3'-6'823'0'0,"1"0"-1"0"0,-1 0 1 0 0,-1 0 0 0 0,0 0 0 0 0,1 0-1 0 0,-2 1 1 0 0,-8-10 0 0 0,9 11-633 0 0,1 1 0 0 0,-1 0 0 0 0,0 0 0 0 0,0 0 0 0 0,0 1 0 0 0,0-1 0 0 0,0 1 1 0 0,-1 0-1 0 0,1 0 0 0 0,-10-2 0 0 0,12 4-178 0 0,0-1-1 0 0,0 1 1 0 0,0 0 0 0 0,1 1 0 0 0,-1-1-1 0 0,0 0 1 0 0,0 1 0 0 0,0-1 0 0 0,0 1-1 0 0,0-1 1 0 0,1 1 0 0 0,-1 0-1 0 0,0 0 1 0 0,0 0 0 0 0,1 0 0 0 0,-1 0-1 0 0,1 0 1 0 0,-1 0 0 0 0,1 0 0 0 0,-1 1-1 0 0,-1 2 1 0 0,0 0 2 0 0,-1 0-1 0 0,1 0 1 0 0,1 0-1 0 0,-1 1 1 0 0,0-1 0 0 0,-2 7-1 0 0,4-6 2 0 0,0 1 0 0 0,0-1 0 0 0,0 0-1 0 0,1 0 1 0 0,0 0 0 0 0,-1 0 0 0 0,2 1 0 0 0,-1-1-1 0 0,1 0 1 0 0,0 0 0 0 0,0 0 0 0 0,0 0 0 0 0,1 0-1 0 0,-1 0 1 0 0,1 0 0 0 0,0 0 0 0 0,4 4-1 0 0,5 10 28 0 0,1 0-1 0 0,22 27 0 0 0,-30-41-37 0 0,25 30 44 0 0,83 114 213 0 0,-111-148-256 0 0,-1 0 0 0 0,0-1 0 0 0,1 1 0 0 0,-1 0 0 0 0,0-1 0 0 0,1 1 0 0 0,-1 0 0 0 0,0-1 0 0 0,0 1 0 0 0,0 0-1 0 0,1-1 1 0 0,-1 1 0 0 0,0 0 0 0 0,0 0 0 0 0,0-1 0 0 0,0 1 0 0 0,0 0 0 0 0,0 0 0 0 0,-1-1 0 0 0,1 1 0 0 0,0 0 0 0 0,0-1 0 0 0,0 1 0 0 0,-1 0 0 0 0,1-1 0 0 0,0 1 0 0 0,-1 0 0 0 0,1-1 0 0 0,0 1 0 0 0,-1 0 0 0 0,1-1-1 0 0,-1 1 1 0 0,1-1 0 0 0,-1 1 0 0 0,0-1 0 0 0,1 1 0 0 0,-1-1 0 0 0,1 0 0 0 0,-1 1 0 0 0,0-1 0 0 0,1 0 0 0 0,-1 1 0 0 0,0-1 0 0 0,1 0 0 0 0,-1 0 0 0 0,-1 1 0 0 0,-24 5 26 0 0,19-6-25 0 0,1 0 0 0 0,-1-1-1 0 0,0 1 1 0 0,1-1 0 0 0,-1-1 0 0 0,1 1-1 0 0,0-1 1 0 0,-10-4 0 0 0,-43-24-211 0 0,53 27 143 0 0,0-1-30 0 0,-14-7-825 0 0,1 0 0 0 0,-36-29 0 0 0,47 29-2455 0 0,1-1 1141 0 0</inkml:trace>
</inkml:ink>
</file>

<file path=ppt/ink/ink8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33.1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61 2008 0 0,'1'-1'336'0'0,"0"1"-1"0"0,0-1 0 0 0,0 1 1 0 0,-1 0-1 0 0,1-1 1 0 0,0 1-1 0 0,0 0 0 0 0,0 0 1 0 0,0 0-1 0 0,0 0 1 0 0,0 0-1 0 0,0 0 1 0 0,1 0-1 0 0,0 2-141 0 0,0 0 0 0 0,0-1 1 0 0,-1 1-1 0 0,1 0 0 0 0,0 0 0 0 0,-1 0 0 0 0,0 1 1 0 0,1-1-1 0 0,-1 0 0 0 0,0 0 0 0 0,0 1 1 0 0,0-1-1 0 0,-1 1 0 0 0,1-1 0 0 0,0 0 0 0 0,-1 4 1 0 0,6 49 1052 0 0,-4-33-804 0 0,1 1-124 0 0,0 0 1 0 0,2 0-1 0 0,8 23 0 0 0,-10-36-238 0 0,2 1 1 0 0,-1-1-1 0 0,1 1 1 0 0,0-2-1 0 0,1 1 1 0 0,0 0-1 0 0,1-1 0 0 0,10 11 1 0 0,-15-18-83 0 0,0 0 0 0 0,0 0 0 0 0,0-1 0 0 0,0 1-1 0 0,1-1 1 0 0,-1 1 0 0 0,1-1 0 0 0,-1 0 0 0 0,1 0 0 0 0,-1 0 0 0 0,1 0 0 0 0,-1 0 0 0 0,1-1 0 0 0,0 1 0 0 0,-1-1-1 0 0,1 1 1 0 0,0-1 0 0 0,0 0 0 0 0,-1 0 0 0 0,1-1 0 0 0,0 1 0 0 0,0 0 0 0 0,-1-1 0 0 0,5-1 0 0 0,-2-1-86 0 0,0 0 0 0 0,1 0 0 0 0,-1-1 1 0 0,-1 0-1 0 0,1 0 0 0 0,0 0 1 0 0,-1-1-1 0 0,5-5 0 0 0,27-45-517 0 0,-27 39 468 0 0,0 1 0 0 0,16-18 0 0 0,-24 32 108 0 0,2 2 18 0 0,2 2 11 0 0,0 0-1 0 0,-1 0 1 0 0,1 0-1 0 0,-1 0 0 0 0,5 5 1 0 0,-5-4 17 0 0,0-1 0 0 0,0 1-1 0 0,0-1 1 0 0,0 0 0 0 0,0 0 0 0 0,0-1 0 0 0,1 1 0 0 0,0-1 0 0 0,-1 0 0 0 0,1 0 0 0 0,0 0 0 0 0,7 1 0 0 0,-7-3-10 0 0,0 0 0 0 0,-1 1 1 0 0,1-2-1 0 0,0 1 0 0 0,-1 0 1 0 0,1-1-1 0 0,-1 0 0 0 0,1 0 1 0 0,-1 0-1 0 0,1-1 0 0 0,-1 0 1 0 0,0 1-1 0 0,0-1 0 0 0,0-1 1 0 0,0 1-1 0 0,0-1 0 0 0,0 1 1 0 0,0-1-1 0 0,-1 0 0 0 0,0-1 1 0 0,1 1-1 0 0,-1 0 0 0 0,0-1 0 0 0,4-6 1 0 0,15-26-57 0 0,16-20-196 0 0,-37 55 243 0 0,-1 0 0 0 0,1 1 0 0 0,-1-1 0 0 0,1 1 0 0 0,0-1-1 0 0,-1 1 1 0 0,1 0 0 0 0,0-1 0 0 0,-1 1 0 0 0,1-1 0 0 0,0 1-1 0 0,0 0 1 0 0,-1 0 0 0 0,1 0 0 0 0,0-1 0 0 0,0 1 0 0 0,-1 0-1 0 0,1 0 1 0 0,0 0 0 0 0,0 0 0 0 0,0 0 0 0 0,-1 0 0 0 0,1 0 0 0 0,0 1-1 0 0,0-1 1 0 0,-1 0 0 0 0,1 0 0 0 0,0 1 0 0 0,0-1 0 0 0,-1 0-1 0 0,1 1 1 0 0,0-1 0 0 0,-1 1 0 0 0,1-1 0 0 0,1 1 0 0 0,0 1 25 0 0,1 1 1 0 0,0-1 0 0 0,-1 1-1 0 0,1-1 1 0 0,-1 1-1 0 0,3 5 1 0 0,6 12 106 0 0,-1 1 0 0 0,-2 1 0 0 0,0 0-1 0 0,9 40 1 0 0,-3-8 277 0 0,7 31 575 0 0,-12-26 4049 0 0,-12-60-4778 0 0,1-1-228 0 0,0 1 1 0 0,-1-1 0 0 0,1 0-1 0 0,0 0 1 0 0,0 1 0 0 0,0-2 0 0 0,0 1-1 0 0,0 0 1 0 0,0 0 0 0 0,1 0-1 0 0,-1-1 1 0 0,1 1 0 0 0,0-1-1 0 0,0 1 1 0 0,-1-1 0 0 0,2 0-1 0 0,-1 1 1 0 0,0-1 0 0 0,0-5-1 0 0,-3-11-108 0 0,-2-34-1 0 0,5 45 61 0 0,-2-38-121 0 0,2 0 0 0 0,2 1 0 0 0,9-60 0 0 0,-6 77-181 0 0,2 1-1 0 0,1 0 0 0 0,1 0 1 0 0,1 1-1 0 0,1 0 0 0 0,23-41 1 0 0,-25 55-137 0 0,0 0 0 0 0,0 0 0 0 0,2 1 0 0 0,19-20 0 0 0,-22 25-59 0 0,0 0 0 0 0,0 1 1 0 0,1 0-1 0 0,-1 0 1 0 0,1 0-1 0 0,0 1 0 0 0,0 1 1 0 0,17-6-1 0 0,-23 8 157 0 0,1 1 0 0 0,0 0-1 0 0,0 0 1 0 0,0 0 0 0 0,-1 0-1 0 0,1 0 1 0 0,0 1 0 0 0,0-1-1 0 0,-1 1 1 0 0,1-1 0 0 0,0 1-1 0 0,-1 0 1 0 0,1 0 0 0 0,2 2-1 0 0</inkml:trace>
</inkml:ink>
</file>

<file path=ppt/ink/ink8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33.5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 295 772 0 0,'-9'8'1581'0'0,"8"-7"-1266"0"0,-1 0 0 0 0,1 0 0 0 0,-1 0 0 0 0,1 1 0 0 0,-1-1 0 0 0,1 1 0 0 0,0-1 0 0 0,0 1 0 0 0,0-1 0 0 0,0 1 0 0 0,0-1 0 0 0,0 1 0 0 0,0 0 0 0 0,0 0 0 0 0,0 2 0 0 0,6-5 12 0 0,41-4 406 0 0,-29 3-350 0 0,1 0 0 0 0,-1 1 0 0 0,34 2 1 0 0,-46 0-298 0 0,1 0 1 0 0,0 0 0 0 0,0 1 0 0 0,-1 0 0 0 0,1 0 0 0 0,-1 0-1 0 0,1 0 1 0 0,-1 1 0 0 0,0 0 0 0 0,0 0 0 0 0,0 1 0 0 0,0-1-1 0 0,-1 1 1 0 0,1 0 0 0 0,-1 0 0 0 0,4 5 0 0 0,5 9 231 0 0,-1 0 0 0 0,-1 1 1 0 0,0 0-1 0 0,-1 0 0 0 0,-1 1 1 0 0,7 25-1 0 0,-1 4 1073 0 0,12 78 0 0 0,-26-126-1322 0 0,-1 0 1 0 0,1 0 0 0 0,-1 1 0 0 0,0-1-1 0 0,0 0 1 0 0,0 0 0 0 0,0 1 0 0 0,0-1-1 0 0,0 0 1 0 0,0 0 0 0 0,0 1 0 0 0,0-1-1 0 0,0 0 1 0 0,-1 0 0 0 0,1 0 0 0 0,0 1-1 0 0,-1-1 1 0 0,1 0 0 0 0,-1 0 0 0 0,1 0 0 0 0,-1 0-1 0 0,0 0 1 0 0,0 0 0 0 0,1 0 0 0 0,-1 0-1 0 0,0 0 1 0 0,0 0 0 0 0,0 0 0 0 0,0-1-1 0 0,0 1 1 0 0,0 0 0 0 0,0-1 0 0 0,0 1-1 0 0,0 0 1 0 0,-2 0 0 0 0,1-1-40 0 0,0 0 0 0 0,0 0 0 0 0,0 0 0 0 0,0 0 0 0 0,0 0 0 0 0,0-1-1 0 0,0 1 1 0 0,0-1 0 0 0,1 1 0 0 0,-1-1 0 0 0,0 0 0 0 0,0 1 0 0 0,0-1 0 0 0,1 0 0 0 0,-1 0 0 0 0,1 0 0 0 0,-1-1 0 0 0,1 1-1 0 0,-1 0 1 0 0,1-1 0 0 0,-1 1 0 0 0,-1-3 0 0 0,-6-9-74 0 0,1-1-1 0 0,0 1 1 0 0,1-1-1 0 0,0 0 0 0 0,1-1 1 0 0,1 0-1 0 0,0 0 1 0 0,-4-25-1 0 0,3-2-75 0 0,-4-83 0 0 0,10 97 83 0 0,1 0 0 0 0,1 0-1 0 0,1 0 1 0 0,2 0 0 0 0,9-32-1 0 0,-10 46-85 0 0,1 0 1 0 0,0 1-1 0 0,1 0 0 0 0,1 0 1 0 0,0 0-1 0 0,0 1 0 0 0,1 0 0 0 0,1 0 1 0 0,0 1-1 0 0,0 0 0 0 0,22-17 1 0 0,-26 23-166 0 0,1 1 0 0 0,-1 1 0 0 0,1-1 0 0 0,0 1 0 0 0,1 0 0 0 0,-1 0 0 0 0,0 1 0 0 0,1 0 0 0 0,0 0 0 0 0,-1 0 0 0 0,8 0 0 0 0,-11 2 109 0 0,-1 0-1 0 0,0 0 1 0 0,0 0-1 0 0,0 0 1 0 0,0 0-1 0 0,1 0 1 0 0,-1 1-1 0 0,0-1 1 0 0,0 1-1 0 0,0 0 1 0 0,0 0-1 0 0,0-1 1 0 0,0 1-1 0 0,0 0 1 0 0,0 1-1 0 0,0-1 1 0 0,-1 0-1 0 0,1 0 1 0 0,0 1-1 0 0,-1-1 1 0 0,1 1 0 0 0,-1 0-1 0 0,1-1 1 0 0,-1 1-1 0 0,0 0 1 0 0,0 0-1 0 0,0 0 1 0 0,0-1-1 0 0,0 1 1 0 0,0 1-1 0 0,0-1 1 0 0,-1 0-1 0 0,1 0 1 0 0,-1 0-1 0 0,1 0 1 0 0,-1 3-1 0 0,2 9-2027 0 0,-2 2-419 0 0</inkml:trace>
</inkml:ink>
</file>

<file path=ppt/ink/ink8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33.9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1 584 0 0,'-8'9'1508'0'0,"2"-2"732"0"0,-4 5-723 0 0,2-3 27 0 0,12 8-848 0 0,8-10-508 0 0,10 0-488 0 0,-8-3-172 0 0,4-1-340 0 0,-2 1-1281 0 0,0-2-103 0 0</inkml:trace>
  <inkml:trace contextRef="#ctx0" brushRef="#br0" timeOffset="1">360 130 2124 0 0,'14'8'5609'0'0,"18"8"3952"0"0,-20-10-10721 0 0,-2 2-598 0 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8.0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7 1920 0 0,'48'-46'8336'0'0,"-48"46"-8288"0"0,1 0 0 0 0,-1 0 0 0 0,1 0 0 0 0,-1 0 0 0 0,1 0 0 0 0,-1 1 0 0 0,1-1 0 0 0,-1 0 0 0 0,1 0 0 0 0,-1 1 0 0 0,1-1 0 0 0,-1 0 0 0 0,1 1 0 0 0,-1-1 0 0 0,0 0 0 0 0,1 1 0 0 0,-1-1 0 0 0,0 0 0 0 0,1 1 0 0 0,-1-1 0 0 0,0 1 0 0 0,0-1 0 0 0,1 1 0 0 0,-1-1 0 0 0,0 2 0 0 0,10 14 562 0 0,-9-15-555 0 0,6 21 489 0 0,-1 1-1 0 0,0 0 1 0 0,-2 0 0 0 0,0 0 0 0 0,-2 0-1 0 0,-1 0 1 0 0,0 1 0 0 0,-4 27-1 0 0,2-45-182 0 0,0 1 0 0 0,0-1-1 0 0,-1 0 1 0 0,0-1 0 0 0,0 1-1 0 0,-4 9 1 0 0,4-13 141 0 0,-16-7-112 0 0,17 5-386 0 0,1-1 1 0 0,-1 1 0 0 0,0-1 0 0 0,1 1 0 0 0,-1-1 0 0 0,0 1 0 0 0,1-1 0 0 0,-1 0 0 0 0,1 1-1 0 0,-1-1 1 0 0,1 0 0 0 0,-1 0 0 0 0,1 1 0 0 0,0-1 0 0 0,-1 0 0 0 0,1 0 0 0 0,0 0 0 0 0,-1 1-1 0 0,1-1 1 0 0,0 0 0 0 0,0 0 0 0 0,0-1 0 0 0,-1-19-70 0 0,1 20 61 0 0,0-6-40 0 0,1 0 0 0 0,0 0 0 0 0,1 1 0 0 0,-1-1-1 0 0,1 1 1 0 0,1-1 0 0 0,-1 1 0 0 0,1 0 0 0 0,0-1 0 0 0,1 2 0 0 0,-1-1 0 0 0,1 0 0 0 0,0 1 0 0 0,1-1 0 0 0,-1 1 0 0 0,1 0 0 0 0,0 1-1 0 0,0-1 1 0 0,1 1 0 0 0,-1 0 0 0 0,1 0 0 0 0,0 1 0 0 0,0 0 0 0 0,0 0 0 0 0,0 0 0 0 0,9-2 0 0 0,-11 4 31 0 0,-1 1 0 0 0,1-1 0 0 0,0 1 0 0 0,0-1 0 0 0,0 1 0 0 0,0 0 0 0 0,-1 0 1 0 0,1 1-1 0 0,0-1 0 0 0,0 1 0 0 0,0 0 0 0 0,-1 0 0 0 0,1 0 0 0 0,0 1 0 0 0,-1-1 0 0 0,1 1 0 0 0,3 2 1 0 0,-1 0 48 0 0,-1 0 0 0 0,0 0 0 0 0,0 1 0 0 0,0 0 0 0 0,-1 0 0 0 0,1 0 0 0 0,-1 0 0 0 0,3 7 0 0 0,-6-12 49 0 0,-1 0 0 0 0,0 0 0 0 0,1 0 0 0 0,-1 1 0 0 0,0-1 0 0 0,0 0 0 0 0,1 1 0 0 0,-1-1 0 0 0,0 0 0 0 0,0 1 0 0 0,0-1 0 0 0,0 0 0 0 0,1 1 0 0 0,-1-1 0 0 0,0 0 0 0 0,0 1 0 0 0,0-1 0 0 0,0 0 0 0 0,0 1 0 0 0,0-1 0 0 0,0 0 0 0 0,0 1 1 0 0,0-1-1 0 0,0 1 0 0 0,0-1 0 0 0,0 0 0 0 0,0 1 0 0 0,0-1 0 0 0,0 0 0 0 0,0 1 0 0 0,-1-1 0 0 0,1 1 0 0 0,0-2-40 0 0,-1 1 0 0 0,1 0 1 0 0,0 0-1 0 0,-1-1 0 0 0,1 1 0 0 0,0-1 1 0 0,0 1-1 0 0,-1 0 0 0 0,1-1 0 0 0,0 1 1 0 0,0-1-1 0 0,0 1 0 0 0,0 0 0 0 0,0-1 1 0 0,-1 1-1 0 0,1-1 0 0 0,0 1 0 0 0,0-1 1 0 0,0 1-1 0 0,0-1 0 0 0,0 1 0 0 0,0 0 1 0 0,0-1-1 0 0,1 1 0 0 0,-1-1 0 0 0,0 0 0 0 0,1-3-23 0 0,0 0-1 0 0,0 0 1 0 0,0 0-1 0 0,1 1 0 0 0,0-1 1 0 0,-1 0-1 0 0,1 1 1 0 0,1-1-1 0 0,-1 1 0 0 0,0 0 1 0 0,1 0-1 0 0,0-1 1 0 0,-1 2-1 0 0,1-1 0 0 0,1 0 1 0 0,-1 1-1 0 0,0-1 0 0 0,0 1 1 0 0,1 0-1 0 0,3-2 1 0 0,3 0-57 0 0,-1-1 1 0 0,1 1 0 0 0,0 1-1 0 0,0 0 1 0 0,1 0 0 0 0,15-1-1 0 0,-20 4-167 0 0,0 0 0 0 0,0 0-1 0 0,0 1 1 0 0,0 0 0 0 0,0 0-1 0 0,0 0 1 0 0,-1 1 0 0 0,1 0-1 0 0,0 0 1 0 0,-1 1 0 0 0,0-1-1 0 0,1 1 1 0 0,-1 0 0 0 0,0 0-1 0 0,0 1 1 0 0,-1 0 0 0 0,1 0-1 0 0,-1 0 1 0 0,0 0 0 0 0,0 0-1 0 0,0 1 1 0 0,0 0 0 0 0,-1 0-1 0 0,0 0 1 0 0,4 8 0 0 0,-5-8-250 0 0,-1 0 1 0 0,1 0 0 0 0,-1 0-1 0 0,0 1 1 0 0,-1-1 0 0 0,1 0-1 0 0,-1 0 1 0 0,-1 10 0 0 0,-5 23-6166 0 0,1-21 1300 0 0</inkml:trace>
</inkml:ink>
</file>

<file path=ppt/ink/ink8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6:37.04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4 132 1920 0 0,'0'0'2936'0'0,"-3"1"-1950"0"0,1 0-832 0 0,0 0 1 0 0,-1 1-1 0 0,1-1 0 0 0,0 1 1 0 0,0-1-1 0 0,1 1 1 0 0,-1 0-1 0 0,0 0 0 0 0,0 0 1 0 0,1 0-1 0 0,0 0 0 0 0,-1 0 1 0 0,1 0-1 0 0,0 0 1 0 0,0 1-1 0 0,0-1 0 0 0,0 0 1 0 0,0 1-1 0 0,0 3 1 0 0,-4 11 671 0 0,-3 30 1 0 0,7-37-582 0 0,-2 26 209 0 0,1 0 1 0 0,1 0 0 0 0,2 0 0 0 0,2-1 0 0 0,2 1-1 0 0,1-1 1 0 0,1 1 0 0 0,2-2 0 0 0,24 61-1 0 0,-29-86-360 0 0,0 0 0 0 0,0 0-1 0 0,1-1 1 0 0,0 1 0 0 0,0-1-1 0 0,1 0 1 0 0,0-1 0 0 0,1 1-1 0 0,-1-1 1 0 0,14 10 0 0 0,-14-13-67 0 0,0 0 0 0 0,0 0 0 0 0,0-1 1 0 0,1 0-1 0 0,-1 0 0 0 0,1-1 0 0 0,0 0 1 0 0,0 0-1 0 0,0 0 0 0 0,0-1 0 0 0,0 0 1 0 0,0 0-1 0 0,0-1 0 0 0,0 0 0 0 0,9-1 1 0 0,8-2-14 0 0,0-1 0 0 0,-1-1 0 0 0,0-1 0 0 0,0-1 0 0 0,-1-1 0 0 0,1-1 0 0 0,-2-1 0 0 0,27-17 0 0 0,-34 19-8 0 0,-1-1 0 0 0,0 0 0 0 0,-1-1 0 0 0,0-1 0 0 0,-1 0 0 0 0,0-1 0 0 0,0 0 0 0 0,-1 0 0 0 0,-1-1 0 0 0,0 0 0 0 0,-1-1 0 0 0,-1 0 0 0 0,9-21 0 0 0,-15 33 4 0 0,0-1-1 0 0,0 1 0 0 0,0-1 0 0 0,-1 1 1 0 0,1 0-1 0 0,-1-1 0 0 0,1 1 1 0 0,-1-1-1 0 0,0 1 0 0 0,0-1 0 0 0,0 1 1 0 0,-1-1-1 0 0,1 1 0 0 0,0-1 1 0 0,-1 1-1 0 0,0-1 0 0 0,0 1 0 0 0,1 0 1 0 0,-1-1-1 0 0,-1 1 0 0 0,0-3 1 0 0,0 4-10 0 0,0-1 1 0 0,0 0-1 0 0,0 1 1 0 0,0-1-1 0 0,0 1 1 0 0,0-1-1 0 0,-1 1 1 0 0,1 0-1 0 0,0 0 1 0 0,-1 0-1 0 0,1 0 1 0 0,-1 0-1 0 0,1 1 0 0 0,-1-1 1 0 0,1 1-1 0 0,-1 0 1 0 0,1-1-1 0 0,-1 1 1 0 0,0 0-1 0 0,-2 1 1 0 0,-14 1-63 0 0,1 1 1 0 0,0 1-1 0 0,0 0 1 0 0,1 1-1 0 0,0 1 1 0 0,-1 1-1 0 0,2 1 1 0 0,-1 0-1 0 0,1 1 1 0 0,1 0-1 0 0,-1 2 1 0 0,2 0-1 0 0,-25 22 1 0 0,25-14-210 0 0,13-18 256 0 0,1 0 0 0 0,0 0 0 0 0,-1-1 0 0 0,1 1 0 0 0,0 0 0 0 0,0 0-1 0 0,0-1 1 0 0,0 1 0 0 0,0 0 0 0 0,0 0 0 0 0,0 0 0 0 0,0 0 0 0 0,0-1 0 0 0,0 1-1 0 0,0 0 1 0 0,0 0 0 0 0,0-1 0 0 0,1 1 0 0 0,-1 0 0 0 0,0 0 0 0 0,1-1 0 0 0,0 2-1 0 0,0 0-208 0 0,9-3 14 0 0,0-1 0 0 0,-1 0 0 0 0,1 0 0 0 0,0-1-1 0 0,-1-1 1 0 0,0 1 0 0 0,0-1 0 0 0,0-1 0 0 0,0 0-1 0 0,10-8 1 0 0,-6 5-31 0 0,0 1-1 0 0,25-11 0 0 0,-35 18 182 0 0,12 4-20 0 0,-13-3 80 0 0,0 0-1 0 0,0 1 0 0 0,-1-1 0 0 0,1 0 0 0 0,0 1 0 0 0,-1-1 0 0 0,1 1 0 0 0,-1 0 0 0 0,0-1 0 0 0,1 1 0 0 0,-1 0 0 0 0,0 0 0 0 0,0 0 0 0 0,0 0 0 0 0,1 3 0 0 0,3 4 76 0 0,-2-2-37 0 0,1-1-1 0 0,1 1 0 0 0,-1-1 0 0 0,1 0 0 0 0,1 0 0 0 0,-1-1 0 0 0,1 1 0 0 0,-1-1 0 0 0,2-1 0 0 0,12 9 0 0 0,-16-12-28 0 0,0 0 1 0 0,0 0-1 0 0,1 0 0 0 0,-1 0 1 0 0,0 0-1 0 0,1-1 0 0 0,-1 0 0 0 0,0 1 1 0 0,1-1-1 0 0,-1-1 0 0 0,1 1 1 0 0,4-1-1 0 0,0-1 22 0 0,0 0 0 0 0,1 0 0 0 0,13-6 0 0 0,-16 5-25 0 0,-1 0 0 0 0,1 0 0 0 0,-1-1 0 0 0,0 1 0 0 0,1-1 1 0 0,-2 0-1 0 0,1 0 0 0 0,0-1 0 0 0,-1 0 0 0 0,0 1 0 0 0,0-1 0 0 0,0-1 0 0 0,-1 1 0 0 0,0 0 0 0 0,0-1 0 0 0,0 0 0 0 0,-1 0 0 0 0,0 0 0 0 0,0 0 0 0 0,0 0 0 0 0,-1 0 1 0 0,1-7-1 0 0,0-11-26 0 0,-1 0 1 0 0,-1 1-1 0 0,-1-1 1 0 0,-6-34 0 0 0,4 36 9 0 0,3 19-7 0 0,0 0-1 0 0,0 0 1 0 0,0 0 0 0 0,0 0-1 0 0,1 0 1 0 0,-1 0 0 0 0,1 0-1 0 0,0 0 1 0 0,1-2 0 0 0,-2 4 11 0 0,0 0 1 0 0,1 0-1 0 0,-1 0 1 0 0,0 0-1 0 0,1 0 1 0 0,-1 0-1 0 0,1 1 1 0 0,0-1-1 0 0,-1 0 1 0 0,1 0-1 0 0,-1 1 1 0 0,1-1-1 0 0,0 0 1 0 0,0 1-1 0 0,-1-1 1 0 0,1 1-1 0 0,0-1 1 0 0,0 1-1 0 0,0-1 1 0 0,0 1-1 0 0,-1 0 1 0 0,1-1-1 0 0,0 1 1 0 0,0 0-1 0 0,0 0 1 0 0,0-1-1 0 0,0 1 1 0 0,0 0-1 0 0,0 0 1 0 0,0 0-1 0 0,1 1 1 0 0,3 0-1 0 0,0 0 1 0 0,0 1 0 0 0,0 0-1 0 0,0 0 1 0 0,-1 1 0 0 0,1-1 0 0 0,-1 1-1 0 0,0 0 1 0 0,0 0 0 0 0,0 1 0 0 0,0-1-1 0 0,0 1 1 0 0,-1 0 0 0 0,6 7 0 0 0,5 9 22 0 0,22 42 1 0 0,-11-18 174 0 0,-10-20 28 0 0,2-1 0 0 0,19 23 0 0 0,-31-40-75 0 0,1 0 1 0 0,0 0-1 0 0,1 0 0 0 0,-1-1 0 0 0,1 0 1 0 0,0 0-1 0 0,0 0 0 0 0,1-1 1 0 0,-1 0-1 0 0,1-1 0 0 0,12 5 1 0 0,-15-7-81 0 0,0 0 0 0 0,1 0-1 0 0,-1-1 1 0 0,0 1 0 0 0,0-1 0 0 0,1 0 0 0 0,-1 0 0 0 0,0-1 0 0 0,0 0 0 0 0,0 0 0 0 0,0 0 0 0 0,1 0-1 0 0,-2-1 1 0 0,8-3 0 0 0,-6 2-27 0 0,0-1-1 0 0,-1 1 1 0 0,1-2-1 0 0,-1 1 0 0 0,0 0 1 0 0,0-1-1 0 0,0 0 1 0 0,-1 0-1 0 0,7-11 1 0 0,3-7-39 0 0,-2-1 0 0 0,-1-1 0 0 0,-1 0 0 0 0,11-40 0 0 0,-11 35 23 0 0,5-9-590 0 0,-14 37 453 0 0,0 2 105 0 0,0 0 0 0 0,0 1 0 0 0,0-1 0 0 0,0 1-1 0 0,0-1 1 0 0,0 1 0 0 0,0-1 0 0 0,0 1-1 0 0,0-1 1 0 0,0 1 0 0 0,-1 0 0 0 0,1-1 0 0 0,0 1-1 0 0,0 0 1 0 0,-1 0 0 0 0,1 0 0 0 0,0-1-1 0 0,-1 1 1 0 0,1 0 0 0 0,-1 0 0 0 0,1 0 0 0 0,-1 0-1 0 0,0 0 1 0 0,1 0 0 0 0,-1 0 0 0 0,0 0-1 0 0,1 2 1 0 0,4 34-26 0 0,-5-33 25 0 0,4 46 37 0 0,-3-1-1 0 0,-2 1 1 0 0,-2-1-1 0 0,-15 82 0 0 0,16-121 18 0 0,-1-1 0 0 0,0 1-1 0 0,0-1 1 0 0,-1 0-1 0 0,0 0 1 0 0,-10 17-1 0 0,11-22-26 0 0,1-1-1 0 0,0 0 0 0 0,-1 0 0 0 0,0 0 1 0 0,0 0-1 0 0,0 0 0 0 0,0 0 0 0 0,0-1 1 0 0,-1 0-1 0 0,1 1 0 0 0,-1-1 1 0 0,1-1-1 0 0,-1 1 0 0 0,0 0 0 0 0,0-1 1 0 0,0 0-1 0 0,0 0 0 0 0,-5 1 1 0 0,8-2-24 0 0,0 0 0 0 0,0 0 0 0 0,0 0 0 0 0,0-1 0 0 0,0 1 0 0 0,0 0 0 0 0,0-1 1 0 0,0 1-1 0 0,0 0 0 0 0,0-1 0 0 0,0 1 0 0 0,0-1 0 0 0,0 0 0 0 0,0 1 0 0 0,1-1 1 0 0,-1 0-1 0 0,0 1 0 0 0,0-1 0 0 0,1 0 0 0 0,-2-1 0 0 0,1 1-23 0 0,-1-2-34 0 0,0 0 0 0 0,-1 0-1 0 0,1-1 1 0 0,1 1 0 0 0,-1-1 0 0 0,0 1 0 0 0,1-1 0 0 0,0 1 0 0 0,-1-1 0 0 0,2 0-1 0 0,-1 0 1 0 0,0 0 0 0 0,1 1 0 0 0,-1-6 0 0 0,0-4-145 0 0,-6-58-435 0 0,3-1 1 0 0,7-80-1 0 0,-2 123 562 0 0,2-105-138 0 0,-4 111 215 0 0,-1 1-1 0 0,-1-1 1 0 0,-9-38 0 0 0,11 59 5 0 0,0-1 0 0 0,0 1 0 0 0,0 0 0 0 0,0 0-1 0 0,0 0 1 0 0,-1 0 0 0 0,1 0 0 0 0,-1 0 0 0 0,1 0 0 0 0,-1 0 0 0 0,1 1 0 0 0,-1-1-1 0 0,0 0 1 0 0,0 1 0 0 0,0 0 0 0 0,0-1 0 0 0,0 1 0 0 0,0 0 0 0 0,0 0-1 0 0,-1 0 1 0 0,1 0 0 0 0,0 1 0 0 0,-1-1 0 0 0,1 1 0 0 0,0-1 0 0 0,-1 1 0 0 0,1 0-1 0 0,0 0 1 0 0,-1 0 0 0 0,1 0 0 0 0,-1 0 0 0 0,1 0 0 0 0,0 1 0 0 0,-1-1-1 0 0,1 1 1 0 0,0 0 0 0 0,-1 0 0 0 0,1 0 0 0 0,0 0 0 0 0,0 0 0 0 0,0 0 0 0 0,0 0-1 0 0,0 1 1 0 0,0-1 0 0 0,0 1 0 0 0,0-1 0 0 0,1 1 0 0 0,-1 0 0 0 0,1 0-1 0 0,-1 0 1 0 0,1 0 0 0 0,0 0 0 0 0,-1 0 0 0 0,1 0 0 0 0,0 0 0 0 0,-1 4-1 0 0,2-4-13 0 0,-1 0 0 0 0,1 0 0 0 0,0 1-1 0 0,0-1 1 0 0,0 0 0 0 0,0 0-1 0 0,1 1 1 0 0,-1-1 0 0 0,0 0 0 0 0,1 0-1 0 0,0 1 1 0 0,-1-1 0 0 0,1 0-1 0 0,0 0 1 0 0,0 0 0 0 0,0 0 0 0 0,0 0-1 0 0,1 0 1 0 0,-1 0 0 0 0,0 0-1 0 0,1-1 1 0 0,-1 1 0 0 0,1-1 0 0 0,0 1-1 0 0,0-1 1 0 0,0 1 0 0 0,-1-1-1 0 0,1 0 1 0 0,0 0 0 0 0,4 2 0 0 0,1 0-57 0 0,1 1 0 0 0,-1-1 0 0 0,1 0 0 0 0,0-1 0 0 0,0 0 0 0 0,0 0 0 0 0,10 0 0 0 0,13 0 54 0 0,-1-2-1 0 0,1-1 0 0 0,-1-1 1 0 0,0-2-1 0 0,50-12 1 0 0,-60 11 195 0 0,-1-2-1 0 0,0 0 1 0 0,-1 0 0 0 0,1-2 0 0 0,-1 0-1 0 0,-1-2 1 0 0,0 0 0 0 0,0 0-1 0 0,24-23 1 0 0,-32 24-82 0 0,0 0-1 0 0,10-14 0 0 0,-16 21-75 0 0,-1-1 0 0 0,1 1 0 0 0,-1-1 0 0 0,0 0 0 0 0,-1 0 0 0 0,1 0 0 0 0,-1 0 0 0 0,1 0-1 0 0,-1-1 1 0 0,0 1 0 0 0,0-8 0 0 0,-1 11-20 0 0,0 0-1 0 0,1 0 1 0 0,-1-1 0 0 0,0 1-1 0 0,0 0 1 0 0,0 0-1 0 0,0 0 1 0 0,0 0-1 0 0,0-1 1 0 0,-1 1 0 0 0,1 0-1 0 0,0 0 1 0 0,-1 0-1 0 0,1 0 1 0 0,-1 0-1 0 0,1-1 1 0 0,-1 1 0 0 0,1 0-1 0 0,-1 0 1 0 0,0 0-1 0 0,1 1 1 0 0,-1-1-1 0 0,0 0 1 0 0,0 0-1 0 0,-1-1 1 0 0,2 2-1 0 0,0 0-1 0 0,-1 0 1 0 0,1 0 0 0 0,0-1-1 0 0,0 1 1 0 0,-1 0 0 0 0,1 0-1 0 0,0 0 1 0 0,0-1 0 0 0,-1 1-1 0 0,1 0 1 0 0,0-1 0 0 0,0 1-1 0 0,0 0 1 0 0,0 0 0 0 0,-1-1 0 0 0,1 1-1 0 0,0 0 1 0 0,0-1 0 0 0,0 1-1 0 0,0 0 1 0 0,0-1 0 0 0,0 1-1 0 0,0 0 1 0 0,0-1 0 0 0,0 1-1 0 0,-4 0-21 0 0,1 0 24 0 0,-1 1-1 0 0,1-1 0 0 0,0 1 0 0 0,-1 0 1 0 0,1 0-1 0 0,0 0 0 0 0,0 1 0 0 0,0-1 1 0 0,0 1-1 0 0,0-1 0 0 0,0 1 0 0 0,0 0 1 0 0,1 0-1 0 0,-1 1 0 0 0,-4 4 0 0 0,3-2 1 0 0,0 0 0 0 0,1 1-1 0 0,-1-1 1 0 0,1 1-1 0 0,0 0 1 0 0,0 0 0 0 0,-3 12-1 0 0,3-7 71 0 0,0 0-1 0 0,1 0 0 0 0,1 0 1 0 0,0 0-1 0 0,0 0 1 0 0,1 0-1 0 0,0 0 0 0 0,1 0 1 0 0,0 0-1 0 0,4 13 0 0 0,0-11-23 0 0,0 1-1 0 0,1-1 0 0 0,1-1 1 0 0,0 1-1 0 0,1-1 0 0 0,0 0 1 0 0,1-1-1 0 0,0 0 0 0 0,1 0 0 0 0,0-1 1 0 0,0 0-1 0 0,1-1 0 0 0,14 10 1 0 0,-13-11-708 0 0,1-1 0 0 0,0 0 0 0 0,14 6 1 0 0,-17-9-576 0 0,1-1 1 0 0,0 0 0 0 0,-1 0 0 0 0,16 1-1 0 0,-2-2-2594 0 0</inkml:trace>
</inkml:ink>
</file>

<file path=ppt/ink/ink8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1.1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28 116 392 0 0,'-1'-15'2326'0'0,"-14"-44"2098"0"0,15 58-4378 0 0,-1-1-1 0 0,1 0 1 0 0,-1 1 0 0 0,0-1 0 0 0,1 0-1 0 0,-1 1 1 0 0,0-1 0 0 0,0 1 0 0 0,0-1-1 0 0,0 1 1 0 0,-1 0 0 0 0,1-1 0 0 0,0 1-1 0 0,-1 0 1 0 0,1 0 0 0 0,0 0 0 0 0,-1 0-1 0 0,1 0 1 0 0,-3-1 0 0 0,-22-7 164 0 0,16 7-144 0 0,-1 1 1 0 0,0 0 0 0 0,0 1 0 0 0,0 0-1 0 0,0 1 1 0 0,0 0 0 0 0,0 0 0 0 0,-19 7-1 0 0,24-6 22 0 0,0 0 0 0 0,0 0 0 0 0,0 1 0 0 0,0-1-1 0 0,1 1 1 0 0,0 1 0 0 0,-1-1 0 0 0,1 1 0 0 0,0 0-1 0 0,1 0 1 0 0,-1 0 0 0 0,1 1 0 0 0,0 0 0 0 0,0 0-1 0 0,-7 10 1 0 0,10-11-25 0 0,-1 1-1 0 0,1-1 1 0 0,0 0-1 0 0,1 0 0 0 0,-1 1 1 0 0,1-1-1 0 0,-1 1 1 0 0,1-1-1 0 0,1 0 0 0 0,-1 1 1 0 0,0-1-1 0 0,1 1 1 0 0,0-1-1 0 0,0 0 1 0 0,1 0-1 0 0,-1 0 0 0 0,1 1 1 0 0,0-1-1 0 0,2 4 1 0 0,7 11 106 0 0,0 0 0 0 0,21 25-1 0 0,-28-39-132 0 0,26 35 220 0 0,30 54-1 0 0,-59-92-219 0 0,0-1 0 0 0,0 1 0 0 0,0-1 0 0 0,-1 1 0 0 0,1-1 0 0 0,0 1 0 0 0,-1 0 0 0 0,1-1 0 0 0,-1 1 0 0 0,1 0 0 0 0,-1-1 0 0 0,0 1 0 0 0,1 0 0 0 0,-1 0 0 0 0,0 0 0 0 0,0-1 0 0 0,-1 1 0 0 0,1 0 0 0 0,0 0 0 0 0,0-1 0 0 0,-1 1 0 0 0,1 0 0 0 0,-1-1 0 0 0,0 1 0 0 0,1 0 0 0 0,-1-1 0 0 0,0 1 0 0 0,0-1 0 0 0,0 1 0 0 0,0-1 0 0 0,0 0 0 0 0,-1 1 0 0 0,-1 1 0 0 0,0-1 27 0 0,0 0 1 0 0,-1 0-1 0 0,0 0 1 0 0,1-1-1 0 0,-1 1 1 0 0,0-1 0 0 0,1 0-1 0 0,-1 0 1 0 0,0 0-1 0 0,0-1 1 0 0,0 1-1 0 0,0-1 1 0 0,-6 0-1 0 0,3-1-112 0 0,1 0 0 0 0,0 0-1 0 0,0 0 1 0 0,-1-1 0 0 0,1 0-1 0 0,0 0 1 0 0,1-1 0 0 0,-1 0-1 0 0,0 1 1 0 0,1-2-1 0 0,-1 1 1 0 0,1-1 0 0 0,0 0-1 0 0,0 0 1 0 0,1 0 0 0 0,-1-1-1 0 0,1 1 1 0 0,0-1 0 0 0,-6-9-1 0 0,4 4-132 0 0,0-1-1 0 0,0 0 0 0 0,1 0 1 0 0,0 0-1 0 0,1 0 0 0 0,0-1 1 0 0,1 0-1 0 0,0 0 0 0 0,-1-14 1 0 0,0 9-152 0 0,0 31 502 0 0,-4 11 74 0 0,-16 30-271 0 0,-2-1-1 0 0,-2-1 0 0 0,-40 54 1 0 0,50-76-1960 0 0,9-11-2996 0 0</inkml:trace>
</inkml:ink>
</file>

<file path=ppt/ink/ink8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1.7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 1012 0 0,'3'-1'307'0'0,"0"1"1"0"0,1-1-1 0 0,-1 1 0 0 0,0-1 1 0 0,1 1-1 0 0,-1 0 0 0 0,0 1 1 0 0,0-1-1 0 0,1 0 0 0 0,-1 1 1 0 0,0 0-1 0 0,0 0 0 0 0,0 0 1 0 0,0 0-1 0 0,1 0 0 0 0,-2 1 0 0 0,1-1 1 0 0,5 4-1 0 0,-1 1 170 0 0,-1-1-1 0 0,0 1 1 0 0,0 0-1 0 0,-1 0 1 0 0,0 1-1 0 0,7 10 1 0 0,8 19 670 0 0,-1 0 1 0 0,-2 2-1 0 0,14 44 1 0 0,-22-58 2732 0 0,-9-24-3872 0 0,-1 0 0 0 0,1-1 0 0 0,-1 1 0 0 0,1 0 0 0 0,-1 0 0 0 0,1-1 0 0 0,-1 1 0 0 0,1 0 0 0 0,0 0 0 0 0,-1-1 0 0 0,1 1 0 0 0,0 0 0 0 0,-1-1 0 0 0,1 1 1 0 0,0-1-1 0 0,-1 1 0 0 0,1-1 0 0 0,0 1 0 0 0,0 0 0 0 0,-1-1 0 0 0,1 0 0 0 0,0-6-106 0 0,1 0 0 0 0,-1 0 0 0 0,1 0 0 0 0,1 0 0 0 0,2-10 0 0 0,-3 15 54 0 0,-1 0 1 0 0,1 0-1 0 0,0 0 0 0 0,0 0 1 0 0,0 0-1 0 0,0 0 0 0 0,0 0 1 0 0,0 0-1 0 0,1 0 0 0 0,-1 1 0 0 0,1-1 1 0 0,-1 1-1 0 0,1-1 0 0 0,-1 1 1 0 0,1-1-1 0 0,0 1 0 0 0,0 0 1 0 0,0 0-1 0 0,0 0 0 0 0,0 0 0 0 0,0 0 1 0 0,0 0-1 0 0,0 1 0 0 0,4-2 1 0 0,-4 2 25 0 0,1 0 1 0 0,-1 0 0 0 0,1 0-1 0 0,-1 0 1 0 0,1 1 0 0 0,-1-1-1 0 0,1 1 1 0 0,-1-1 0 0 0,0 1-1 0 0,1 0 1 0 0,-1 0 0 0 0,0 0-1 0 0,0 0 1 0 0,1 0 0 0 0,-1 1-1 0 0,2 1 1 0 0,0 1-3 0 0,0-1 0 0 0,0 1 0 0 0,-1 0 0 0 0,0 0 0 0 0,0 0 0 0 0,0 0 0 0 0,4 8 0 0 0,-3-3 5 0 0,0 0 0 0 0,-1 1-1 0 0,0-1 1 0 0,0 1 0 0 0,-1-1-1 0 0,0 1 1 0 0,1 19 0 0 0,-3-28 18 0 0,0-1 1 0 0,1 1-1 0 0,-1 0 0 0 0,0-1 1 0 0,0 1-1 0 0,0 0 1 0 0,0 0-1 0 0,0-1 0 0 0,0 1 1 0 0,0 0-1 0 0,-1-1 1 0 0,1 1-1 0 0,0 0 0 0 0,0-1 1 0 0,0 1-1 0 0,-1 0 0 0 0,1-1 1 0 0,0 1-1 0 0,-1-1 1 0 0,1 1-1 0 0,0 0 0 0 0,-1-1 1 0 0,1 1-1 0 0,-1-1 1 0 0,1 1-1 0 0,-1-1 0 0 0,1 1 1 0 0,-1-1-1 0 0,0 0 1 0 0,1 1-1 0 0,-1-1 0 0 0,1 0 1 0 0,-1 1-1 0 0,0-1 0 0 0,1 0 1 0 0,-2 1-1 0 0,1-2-5 0 0,1 1-1 0 0,-1 0 0 0 0,0 0 1 0 0,1-1-1 0 0,-1 1 0 0 0,0-1 1 0 0,1 1-1 0 0,-1 0 0 0 0,1-1 1 0 0,-1 1-1 0 0,1-1 0 0 0,-1 1 1 0 0,1-1-1 0 0,-1 0 0 0 0,1 1 1 0 0,-1-1-1 0 0,1 0 0 0 0,0 1 1 0 0,-1-1-1 0 0,1 0 0 0 0,0 1 1 0 0,-1-1-1 0 0,1 0 0 0 0,0 1 1 0 0,0-1-1 0 0,0 0 0 0 0,0 0 1 0 0,0 1-1 0 0,0-1 0 0 0,0 0 1 0 0,0 0-1 0 0,0-6-14 0 0,1 0 1 0 0,0 1-1 0 0,0-1 1 0 0,1 0-1 0 0,-1 1 1 0 0,1-1-1 0 0,1 1 1 0 0,-1 0-1 0 0,1 0 0 0 0,0 0 1 0 0,1 0-1 0 0,-1 0 1 0 0,1 1-1 0 0,9-10 1 0 0,-7 8-7 0 0,0 1 0 0 0,1 1-1 0 0,0-1 1 0 0,0 1 0 0 0,0 0 0 0 0,1 0 0 0 0,-1 1 0 0 0,1 0 0 0 0,0 1 0 0 0,1-1 0 0 0,8-1-1 0 0,-13 4 10 0 0,0 1-1 0 0,0-1 0 0 0,0 1 0 0 0,1 0 0 0 0,-1 0 0 0 0,0 0 0 0 0,0 1 0 0 0,0 0 0 0 0,1 0 0 0 0,-1 0 0 0 0,0 0 1 0 0,0 0-1 0 0,0 1 0 0 0,-1 0 0 0 0,1 0 0 0 0,0 0 0 0 0,-1 0 0 0 0,1 0 0 0 0,-1 1 0 0 0,0 0 0 0 0,1 0 0 0 0,-1 0 1 0 0,-1 0-1 0 0,5 4 0 0 0,3 6-634 0 0,-1 0 1 0 0,0 1 0 0 0,-1-1-1 0 0,12 28 1 0 0,-18-36 153 0 0,0 0 0 0 0,0 0 0 0 0,1 0 0 0 0,-1 0-1 0 0,1 0 1 0 0,0-1 0 0 0,1 1 0 0 0,-1-1 0 0 0,1 0 0 0 0,0 0 0 0 0,0 0 0 0 0,0-1-1 0 0,0 1 1 0 0,1-1 0 0 0,0 0 0 0 0,-1 0 0 0 0,1-1 0 0 0,7 3 0 0 0,-9-3-171 0 0</inkml:trace>
</inkml:ink>
</file>

<file path=ppt/ink/ink8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2.5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5 469 288 0 0,'9'-6'593'0'0,"-1"-1"0"0"0,0-1 0 0 0,0 1 1 0 0,-1-1-1 0 0,1-1 0 0 0,-2 1 0 0 0,1-1 0 0 0,-1 0 0 0 0,-1-1 1 0 0,0 1-1 0 0,0-1 0 0 0,-1 0 0 0 0,4-12 0 0 0,-8 22-566 0 0,0-1-1 0 0,0 0 1 0 0,0 0-1 0 0,0 1 1 0 0,0-1 0 0 0,0 0-1 0 0,0 0 1 0 0,-1 0-1 0 0,1 1 1 0 0,0-1-1 0 0,0 0 1 0 0,-1 0 0 0 0,1 1-1 0 0,0-1 1 0 0,-1 0-1 0 0,1 1 1 0 0,0-1-1 0 0,-1 0 1 0 0,1 1 0 0 0,-1-1-1 0 0,1 1 1 0 0,-1-1-1 0 0,0 1 1 0 0,1-1 0 0 0,-1 1-1 0 0,1-1 1 0 0,-1 1-1 0 0,0 0 1 0 0,0-1-1 0 0,1 1 1 0 0,-1 0 0 0 0,0-1-1 0 0,1 1 1 0 0,-1 0-1 0 0,-1 0 1 0 0,-27-4 231 0 0,20 5-239 0 0,1 0 0 0 0,-1 1 0 0 0,0 0 1 0 0,0 0-1 0 0,1 1 0 0 0,0 0 0 0 0,-1 0 0 0 0,1 1 0 0 0,-14 9 1 0 0,9-4-8 0 0,2-1 1 0 0,-1 2 0 0 0,1 0 0 0 0,1 0 0 0 0,-10 12 0 0 0,19-21-9 0 0,0 0 1 0 0,1 0 0 0 0,-1 0 0 0 0,0 0 0 0 0,1 1 0 0 0,-1-1 0 0 0,1 0 0 0 0,-1 0-1 0 0,1 1 1 0 0,-1-1 0 0 0,1 0 0 0 0,0 1 0 0 0,0-1 0 0 0,0 0 0 0 0,0 3-1 0 0,0-3 0 0 0,0-1-1 0 0,0 1 0 0 0,1 0 0 0 0,-1-1 0 0 0,0 1 0 0 0,0 0 0 0 0,1-1 0 0 0,-1 1 0 0 0,1 0 0 0 0,-1-1 0 0 0,1 1 0 0 0,-1-1 0 0 0,1 1 0 0 0,-1-1 0 0 0,1 1 0 0 0,-1-1 1 0 0,1 1-1 0 0,0-1 0 0 0,0 1 0 0 0,2 0 7 0 0,0 0 0 0 0,0 0 1 0 0,-1 0-1 0 0,1-1 0 0 0,0 1 1 0 0,0-1-1 0 0,0 0 0 0 0,4 0 1 0 0,3 0-52 0 0,0-1 1 0 0,0 0 0 0 0,-1-1 0 0 0,1 0 0 0 0,-1-1-1 0 0,1 0 1 0 0,-1-1 0 0 0,0 1 0 0 0,10-7 0 0 0,8-6 145 0 0,38-30 0 0 0,-63 45-46 0 0,-1 1-51 0 0,0 0-1 0 0,0 1 1 0 0,0-1-1 0 0,-1 1 1 0 0,1-1 0 0 0,0 1-1 0 0,0-1 1 0 0,0 1 0 0 0,0-1-1 0 0,-1 1 1 0 0,1 0-1 0 0,0-1 1 0 0,-1 1 0 0 0,1 0-1 0 0,-1-1 1 0 0,1 1 0 0 0,0 0-1 0 0,-1 0 1 0 0,0 0-1 0 0,1 1 1 0 0,12 27 157 0 0,-1-3 150 0 0,-9-22-275 0 0,0-1 0 0 0,0 1-1 0 0,0-1 1 0 0,0 0 0 0 0,1-1 0 0 0,-1 1-1 0 0,1 0 1 0 0,-1-1 0 0 0,1 0 0 0 0,0 0-1 0 0,0 0 1 0 0,0 0 0 0 0,0-1 0 0 0,1 1-1 0 0,-1-1 1 0 0,0 0 0 0 0,0-1 0 0 0,1 1-1 0 0,-1-1 1 0 0,1 0 0 0 0,-1 0 0 0 0,0 0-1 0 0,1 0 1 0 0,-1-1 0 0 0,0 0 0 0 0,8-2-1 0 0,-2 1-1 0 0,-1-1-1 0 0,0-1 0 0 0,0 0 0 0 0,-1 0 1 0 0,1 0-1 0 0,-1-1 0 0 0,0-1 0 0 0,0 1 0 0 0,-1-1 1 0 0,1-1-1 0 0,8-9 0 0 0,-7 4-9 0 0,0 0-1 0 0,-1-1 0 0 0,0 0 1 0 0,-1-1-1 0 0,-1 1 1 0 0,0-1-1 0 0,5-19 1 0 0,0-10 82 0 0,8-52 0 0 0,-15 69 39 0 0,2-34 0 0 0,-6 59-144 0 0,0-1 1 0 0,0 1-1 0 0,0 0 0 0 0,0 0 1 0 0,0 0-1 0 0,0 0 0 0 0,-1 0 1 0 0,1 0-1 0 0,0 0 0 0 0,-1 0 0 0 0,1 0 1 0 0,0 0-1 0 0,-1 0 0 0 0,1 0 1 0 0,-1 0-1 0 0,-1-1 0 0 0,2 1-3 0 0,-1 1-1 0 0,1 0 1 0 0,-1-1-1 0 0,1 1 1 0 0,-1 0-1 0 0,1 0 1 0 0,-1-1-1 0 0,1 1 1 0 0,-1 0 0 0 0,1 0-1 0 0,-1 0 1 0 0,1 0-1 0 0,-1 0 1 0 0,0 0-1 0 0,1 0 1 0 0,-1 0-1 0 0,1 0 1 0 0,-1 0-1 0 0,0 0 1 0 0,1 0-1 0 0,-2 0 1 0 0,0 1 14 0 0,0 0 1 0 0,0 0 0 0 0,0 0-1 0 0,-1 0 1 0 0,1 1 0 0 0,0-1-1 0 0,0 0 1 0 0,1 1 0 0 0,-1 0-1 0 0,0-1 1 0 0,-1 3 0 0 0,-3 4 55 0 0,1 0 1 0 0,0 1 0 0 0,1 0 0 0 0,0 0 0 0 0,0 0 0 0 0,1 0 0 0 0,0 0 0 0 0,1 1 0 0 0,0 0-1 0 0,1-1 1 0 0,0 1 0 0 0,0 0 0 0 0,1-1 0 0 0,1 19 0 0 0,1-11 8 0 0,1 0-1 0 0,0 0 1 0 0,1 0 0 0 0,1 0-1 0 0,1-1 1 0 0,0 0 0 0 0,13 24-1 0 0,-13-29-34 0 0,0-1-1 0 0,1 0 1 0 0,1 0-1 0 0,-1-1 1 0 0,1 0-1 0 0,1 0 1 0 0,0-1-1 0 0,0 0 1 0 0,1 0-1 0 0,20 12 1 0 0,-25-18-32 0 0,1 1 0 0 0,-1-1 0 0 0,1 0 0 0 0,-1 0 0 0 0,1 0 0 0 0,0-1 0 0 0,0 0 0 0 0,-1 0 0 0 0,1 0-1 0 0,0-1 1 0 0,0 0 0 0 0,0 0 0 0 0,0-1 0 0 0,0 1 0 0 0,0-1 0 0 0,0 0 0 0 0,-1-1 0 0 0,1 0 0 0 0,0 0 0 0 0,-1 0 0 0 0,0 0 0 0 0,1-1 0 0 0,-1 0 0 0 0,8-5 0 0 0,-4 0-66 0 0,-1 1 0 0 0,0-1-1 0 0,0-1 1 0 0,0 1 0 0 0,-1-1 0 0 0,0-1 0 0 0,-1 1 0 0 0,0-1 0 0 0,-1 0-1 0 0,0-1 1 0 0,5-14 0 0 0,3-15-288 0 0,14-70 0 0 0,-26 106 334 0 0,1-5-27 0 0,3-11-60 0 0,-2-1 1 0 0,2-31 0 0 0,-4 48 74 0 0,-1-1 0 0 0,0 1 1 0 0,0-1-1 0 0,-1 1 1 0 0,1-1-1 0 0,-1 1 0 0 0,0 0 1 0 0,-1-1-1 0 0,1 1 0 0 0,-1 0 1 0 0,1 0-1 0 0,-1 0 0 0 0,0 0 1 0 0,-1 0-1 0 0,1 0 1 0 0,-1 0-1 0 0,-4-5 0 0 0,6 9 16 0 0,0-1 1 0 0,0 1-1 0 0,0-1 0 0 0,0 1 0 0 0,-1 0 0 0 0,1-1 0 0 0,0 1 1 0 0,0 0-1 0 0,0 0 0 0 0,0 0 0 0 0,0-1 0 0 0,0 1 1 0 0,0 0-1 0 0,-1 1 0 0 0,1-1 0 0 0,0 0 0 0 0,-2 1 0 0 0,1-1 2 0 0,-2 1 14 0 0,1-1 1 0 0,-1 1-1 0 0,1 0 1 0 0,0 0 0 0 0,-1 0-1 0 0,1 1 1 0 0,0-1-1 0 0,0 1 1 0 0,0 0-1 0 0,0 0 1 0 0,0 0-1 0 0,1 0 1 0 0,-1 0-1 0 0,0 0 1 0 0,1 1-1 0 0,0 0 1 0 0,0-1-1 0 0,-1 1 1 0 0,-1 4-1 0 0,-3 5 67 0 0,1-1 0 0 0,0 1 1 0 0,-7 20-1 0 0,8-14-25 0 0,1-1-1 0 0,0 1 1 0 0,2 0 0 0 0,0 0 0 0 0,1-1 0 0 0,0 1-1 0 0,2 0 1 0 0,0 0 0 0 0,1 0 0 0 0,1 0 0 0 0,1 0 0 0 0,7 22-1 0 0,1-4-678 0 0,1 0 0 0 0,2-1 0 0 0,2-1 0 0 0,38 58-1 0 0,-50-84-510 0 0,1 0-1 0 0,0-1 0 0 0,1 0 0 0 0,0 0 1 0 0,9 7-1 0 0,-6-7-1889 0 0</inkml:trace>
</inkml:ink>
</file>

<file path=ppt/ink/ink8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2.8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9 37 608 0 0,'-16'-2'3584'0'0,"-8"0"-1279"0"0,6 1 339 0 0,22-10-2480 0 0,10 7-144 0 0,2 1-164 0 0,4 1-204 0 0,0 0-232 0 0,4 0-252 0 0,0 0-276 0 0,4 1-873 0 0,-6-3 53 0 0</inkml:trace>
</inkml:ink>
</file>

<file path=ppt/ink/ink8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4.4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51 92 0 0,'3'-15'5516'0'0,"-3"15"-5451"0"0,0 0 1 0 0,-1 0-1 0 0,1-1 1 0 0,0 1-1 0 0,0 0 1 0 0,0 0 0 0 0,1 0-1 0 0,-1-1 1 0 0,0 1-1 0 0,0 0 1 0 0,0 0-1 0 0,0 0 1 0 0,0-1-1 0 0,0 1 1 0 0,0 0-1 0 0,0 0 1 0 0,0 0-1 0 0,0-1 1 0 0,0 1-1 0 0,1 0 198 0 0,-1 0-198 0 0,0-1 1 0 0,0 1-1 0 0,1 0 1 0 0,-1 0-1 0 0,0 0 1 0 0,0 0-1 0 0,0 0 1 0 0,1 0-1 0 0,-1 0 1 0 0,0 0-1 0 0,0 0 1 0 0,0 0-1 0 0,1-1 1 0 0,-1 1-1 0 0,0 0 1 0 0,0 0 0 0 0,0 0-1 0 0,1 0 1 0 0,-1 0-1 0 0,0 1 1 0 0,0-1-1 0 0,0 0 1 0 0,1 0-1 0 0,-1 0 1 0 0,0 0-1 0 0,0 0 1 0 0,0 0-1 0 0,1 0 1 0 0,-1 0-1 0 0,0 1 1 0 0,9 14 1084 0 0,5 25-454 0 0,1 17 580 0 0,11 88 0 0 0,-22-120 476 0 0,-3-19-502 0 0,-2-14-979 0 0,2 2-382 0 0,0-1 1 0 0,0 0-1 0 0,1 0 0 0 0,-1 1 0 0 0,1-1 1 0 0,1 1-1 0 0,-1 0 0 0 0,1-1 1 0 0,1 1-1 0 0,6-9 0 0 0,-8 9 55 0 0,2 2 0 0 0,-1-1 0 0 0,0 0-1 0 0,1 1 1 0 0,0-1 0 0 0,0 1 0 0 0,0 0 0 0 0,1 1-1 0 0,-1-1 1 0 0,1 1 0 0 0,0-1 0 0 0,0 1-1 0 0,0 1 1 0 0,0-1 0 0 0,0 1 0 0 0,1 0-1 0 0,-1 0 1 0 0,1 1 0 0 0,8-2 0 0 0,-11 3 41 0 0,1 0 1 0 0,-1 0 0 0 0,0 1-1 0 0,0-1 1 0 0,0 1-1 0 0,0 0 1 0 0,1 0 0 0 0,-1 0-1 0 0,0 0 1 0 0,-1 1 0 0 0,1-1-1 0 0,0 1 1 0 0,0-1-1 0 0,-1 1 1 0 0,1 0 0 0 0,-1 0-1 0 0,1 0 1 0 0,2 5 0 0 0,4 2-12 0 0,-1 1 0 0 0,-1 0 0 0 0,7 13 0 0 0,-12-20 19 0 0,34 58 2648 0 0,-37-61-2622 0 0,0-1 0 0 0,1 0 0 0 0,-1 0 1 0 0,0 0-1 0 0,1 0 0 0 0,-1 0 0 0 0,1 1 1 0 0,-1-1-1 0 0,1 0 0 0 0,0 0 0 0 0,-1-1 1 0 0,1 1-1 0 0,0 0 0 0 0,0 0 0 0 0,0 0 1 0 0,-1 0-1 0 0,1 0 0 0 0,0 0 0 0 0,1-2 1 0 0,-2-28 5 0 0,1 29-35 0 0,0-10-53 0 0,1 1 1 0 0,0-1 0 0 0,1 0-1 0 0,0 1 1 0 0,5-14 0 0 0,-6 20 13 0 0,1 0 0 0 0,0-1 0 0 0,1 1 0 0 0,-1 0 0 0 0,1 1 0 0 0,0-1 0 0 0,0 0 0 0 0,0 1 0 0 0,1 0 0 0 0,0-1 0 0 0,0 1 0 0 0,8-6 0 0 0,-10 9 32 0 0,1 0 0 0 0,0 0 0 0 0,0 0 0 0 0,1 0 0 0 0,-1 0 0 0 0,0 1-1 0 0,0-1 1 0 0,0 1 0 0 0,0 0 0 0 0,0 0 0 0 0,1 0 0 0 0,-1 1-1 0 0,0-1 1 0 0,0 1 0 0 0,0-1 0 0 0,0 1 0 0 0,0 0 0 0 0,0 0-1 0 0,0 1 1 0 0,0-1 0 0 0,5 4 0 0 0,8 4-19 0 0,0 1 1 0 0,20 16-1 0 0,-31-22 31 0 0,9 7 5 0 0,1 0 0 0 0,1-1 0 0 0,-1-1 0 0 0,2-1 0 0 0,-1 0-1 0 0,1-1 1 0 0,28 8 0 0 0,-31-12 0 0 0,-1-1-1 0 0,1 0 1 0 0,0-1-1 0 0,-1 0 1 0 0,1-1-1 0 0,0-1 1 0 0,0 0-1 0 0,0-1 1 0 0,-1 0 0 0 0,23-8-1 0 0,-16 3-13 0 0,0-1 1 0 0,0-1-1 0 0,-1-1 0 0 0,-1 0 0 0 0,0-2 1 0 0,0 0-1 0 0,-1-1 0 0 0,-1 0 0 0 0,0-2 1 0 0,-1 0-1 0 0,0 0 0 0 0,-1-2 1 0 0,-1 1-1 0 0,13-23 0 0 0,-22 32 4 0 0,0-1 1 0 0,-1 0-1 0 0,0 0 1 0 0,4-13-1 0 0,-7 20 7 0 0,0 1 1 0 0,-1-1-1 0 0,1 0 0 0 0,0 0 1 0 0,0 1-1 0 0,0-1 0 0 0,0 0 0 0 0,0 1 1 0 0,-1-1-1 0 0,1 0 0 0 0,0 1 1 0 0,-1-1-1 0 0,1 0 0 0 0,-1 1 0 0 0,1-1 1 0 0,0 1-1 0 0,-1-1 0 0 0,1 1 1 0 0,-1-1-1 0 0,1 1 0 0 0,-1-1 0 0 0,0 1 1 0 0,1-1-1 0 0,-1 1 0 0 0,1 0 1 0 0,-1-1-1 0 0,0 1 0 0 0,1 0 1 0 0,-1 0-1 0 0,0-1 0 0 0,0 1 0 0 0,1 0 1 0 0,-1 0-1 0 0,0 0 0 0 0,1 0 1 0 0,-1 0-1 0 0,-1 0 0 0 0,-27 0-35 0 0,21 2 30 0 0,-1 0-1 0 0,1 1 0 0 0,-1 0 1 0 0,1 1-1 0 0,0 0 0 0 0,1 0 1 0 0,-1 1-1 0 0,1-1 0 0 0,-1 2 0 0 0,2-1 1 0 0,-1 1-1 0 0,0 0 0 0 0,1 1 1 0 0,0-1-1 0 0,1 1 0 0 0,0 0 1 0 0,0 1-1 0 0,0-1 0 0 0,1 1 0 0 0,0 0 1 0 0,-5 16-1 0 0,8-22 14 0 0,0 1-1 0 0,1 0 1 0 0,-1 0 0 0 0,1-1-1 0 0,0 1 1 0 0,0 0-1 0 0,0-1 1 0 0,0 1 0 0 0,0 0-1 0 0,1 0 1 0 0,-1-1-1 0 0,1 1 1 0 0,0 0 0 0 0,0-1-1 0 0,0 1 1 0 0,0-1-1 0 0,2 4 1 0 0,0-3 3 0 0,-1 1 0 0 0,1-1-1 0 0,0 0 1 0 0,0 0 0 0 0,0 0 0 0 0,0 0-1 0 0,1-1 1 0 0,-1 1 0 0 0,1-1 0 0 0,4 2-1 0 0,3 1 12 0 0,0-1 0 0 0,0 0 0 0 0,0-1-1 0 0,1 0 1 0 0,-1 0 0 0 0,1-2-1 0 0,13 2 1 0 0,-16-3-19 0 0,-1 0 0 0 0,1 0-1 0 0,0-1 1 0 0,-1 1 0 0 0,1-2-1 0 0,-1 0 1 0 0,1 0 0 0 0,-1 0 0 0 0,0-1-1 0 0,0 0 1 0 0,0-1 0 0 0,0 0-1 0 0,0 0 1 0 0,-1 0 0 0 0,0-1 0 0 0,0 0-1 0 0,0-1 1 0 0,0 1 0 0 0,-1-2-1 0 0,0 1 1 0 0,0 0 0 0 0,-1-1 0 0 0,0 0-1 0 0,0 0 1 0 0,0-1 0 0 0,-1 0 0 0 0,0 1-1 0 0,-1-1 1 0 0,0 0 0 0 0,3-13-1 0 0,3-23-54 0 0,-9 41 45 0 0,0 0 0 0 0,1 1 0 0 0,-2-1 0 0 0,1 1 0 0 0,0-1 0 0 0,0 1 0 0 0,-1-1 0 0 0,1 1 1 0 0,-1-1-1 0 0,0 1 0 0 0,0-1 0 0 0,0 1 0 0 0,0 0 0 0 0,0-1 0 0 0,-2-1 0 0 0,2 3 5 0 0,-1 0-1 0 0,1 0 0 0 0,0 0 0 0 0,-1 0 0 0 0,1 0 0 0 0,-1 0 1 0 0,1 1-1 0 0,-1-1 0 0 0,0 0 0 0 0,1 1 0 0 0,-1 0 0 0 0,1-1 0 0 0,-1 1 1 0 0,0 0-1 0 0,1 0 0 0 0,-1 0 0 0 0,0 0 0 0 0,1 0 0 0 0,-1 0 1 0 0,-2 1-1 0 0,2-1 10 0 0,0 1-9 0 0,0-1 1 0 0,0 1-1 0 0,0 0 1 0 0,-1 0-1 0 0,1 0 1 0 0,1 0-1 0 0,-1 1 1 0 0,0-1-1 0 0,0 0 1 0 0,0 1-1 0 0,1-1 1 0 0,-1 1-1 0 0,0 0 1 0 0,1-1-1 0 0,0 1 1 0 0,-1 0-1 0 0,1 0 1 0 0,0 0-1 0 0,0 0 1 0 0,-1 3-1 0 0,1-3 5 0 0,0 0 0 0 0,0 0-1 0 0,0 0 1 0 0,1-1 0 0 0,-1 1 0 0 0,1 0-1 0 0,-1 1 1 0 0,1-1 0 0 0,0 0-1 0 0,0 0 1 0 0,0 0 0 0 0,0 0 0 0 0,0 0-1 0 0,0 0 1 0 0,1 0 0 0 0,-1 0 0 0 0,2 4-1 0 0,-1-4 4 0 0,-1-1 1 0 0,0 1 0 0 0,1-1 0 0 0,-1 0 0 0 0,1 1-1 0 0,-1-1 1 0 0,1 1 0 0 0,-1-1 0 0 0,1 0 0 0 0,0 0 0 0 0,0 1 0 0 0,0-1 0 0 0,0 0-1 0 0,0 0 1 0 0,0 0 0 0 0,0 0 0 0 0,0 0 0 0 0,0 0 0 0 0,0 0 0 0 0,1-1 0 0 0,-1 1-1 0 0,0 0 1 0 0,1-1 0 0 0,-1 1 0 0 0,0-1 0 0 0,1 1 0 0 0,-1-1 0 0 0,3 1-1 0 0,1 0 7 0 0,-1-1-1 0 0,1 1 1 0 0,-1-1-1 0 0,1 0 1 0 0,8-1-1 0 0,-2-1 20 0 0,0-1-1 0 0,-1 0 0 0 0,1-1 0 0 0,0 0 0 0 0,12-7 0 0 0,19-7 47 0 0,-40 17-85 0 0,3 0-13 0 0,-5 1 21 0 0,1 0 1 0 0,-1 0-1 0 0,1 0 1 0 0,-1 0 0 0 0,1 0-1 0 0,-1 0 1 0 0,0 0-1 0 0,1 0 1 0 0,-1 0-1 0 0,1 0 1 0 0,-1 0-1 0 0,1 0 1 0 0,-1 0 0 0 0,1 0-1 0 0,-1 0 1 0 0,1 0-1 0 0,-1 1 1 0 0,0-1-1 0 0,1 0 1 0 0,-1 0 0 0 0,1 1-1 0 0,1 1 0 0 0,-1 0 0 0 0,0 0 0 0 0,0 0 0 0 0,0 0 0 0 0,0 0 0 0 0,0 0 0 0 0,0 0 0 0 0,-1 0 0 0 0,1 0-1 0 0,0 3 1 0 0,3 16-700 0 0,-1-1 0 0 0,0 26 0 0 0,1 2-3954 0 0,0-36 2728 0 0,4-13-128 0 0,-6 0 1973 0 0,-1 1 0 0 0,0-1 1 0 0,0 0-1 0 0,0 0 0 0 0,0 0 1 0 0,0-1-1 0 0,0 1 0 0 0,0 0 1 0 0,0 0-1 0 0,0 0 1 0 0,-1-1-1 0 0,2 0 0 0 0,10-38 714 0 0,-6 19 626 0 0,1 1 0 0 0,1 1 0 0 0,15-31 0 0 0,-22 49-1194 0 0,-1 0 0 0 0,1 0 0 0 0,-1 0 0 0 0,1 0-1 0 0,0 0 1 0 0,0 0 0 0 0,-1 0 0 0 0,1 0 0 0 0,0 0 0 0 0,0 1 0 0 0,0-1 0 0 0,0 0 0 0 0,0 0 0 0 0,0 1 0 0 0,0-1 0 0 0,0 1 0 0 0,0-1-1 0 0,1 1 1 0 0,-1-1 0 0 0,0 1 0 0 0,0 0 0 0 0,0-1 0 0 0,0 1 0 0 0,1 0 0 0 0,-1 0 0 0 0,0 0 0 0 0,0 0 0 0 0,2 0 0 0 0,0 1 46 0 0,-1 0 0 0 0,1 0 0 0 0,-1 0 0 0 0,1 1 0 0 0,-1-1 0 0 0,0 1 1 0 0,1 0-1 0 0,-1-1 0 0 0,0 1 0 0 0,0 0 0 0 0,0 0 0 0 0,2 3 0 0 0,14 18 452 0 0,-14-17-472 0 0,0 0-1 0 0,1 0 1 0 0,0-1 0 0 0,0 0 0 0 0,0 0-1 0 0,0 0 1 0 0,1-1 0 0 0,0 1-1 0 0,6 3 1 0 0,-8-8-72 0 0,0 1-1 0 0,1-1 1 0 0,-1 1 0 0 0,0-1-1 0 0,0 0 1 0 0,0-1-1 0 0,1 1 1 0 0,-1-1 0 0 0,0 0-1 0 0,0 0 1 0 0,0 0 0 0 0,7-3-1 0 0,-1 1 8 0 0,-1-1-10 0 0,-1 1 0 0 0,1-1 0 0 0,-1 0 0 0 0,0-1 0 0 0,0 0 0 0 0,0 0 0 0 0,0-1 0 0 0,-1 0 0 0 0,7-7 0 0 0,11-13-13 0 0,21-30 0 0 0,-32 40-21 0 0,-13 14 27 0 0,14-16-192 0 0,-15 17 196 0 0,1 0-1 0 0,-1 1 1 0 0,1-1 0 0 0,-1 1-1 0 0,1-1 1 0 0,0 0-1 0 0,-1 1 1 0 0,1-1 0 0 0,0 1-1 0 0,-1-1 1 0 0,1 1 0 0 0,0 0-1 0 0,-1-1 1 0 0,1 1 0 0 0,0 0-1 0 0,0-1 1 0 0,0 1-1 0 0,-1 0 1 0 0,1 0 0 0 0,0 0-1 0 0,1 0 1 0 0,1 2 59 0 0,1 1 0 0 0,-1 0 0 0 0,0 1 0 0 0,-1-1 0 0 0,1 0 0 0 0,0 1 0 0 0,-1-1 0 0 0,0 1 0 0 0,0 0 0 0 0,0 0 0 0 0,0 0 0 0 0,-1 0 0 0 0,0 0-1 0 0,2 6 1 0 0,-2-4-18 0 0,1 1-1 0 0,1-1 1 0 0,-1 0-1 0 0,1 0 1 0 0,0 0-1 0 0,1-1 1 0 0,6 9-1 0 0,-8-12-34 0 0,0 0 0 0 0,1 0 0 0 0,0 0 0 0 0,0 0 0 0 0,-1-1 0 0 0,1 1 0 0 0,0-1 0 0 0,0 0 0 0 0,1 0 0 0 0,-1 0 0 0 0,0 0 0 0 0,3 0 0 0 0,4 1-68 0 0,-7-1-1 0 0,1-1-1 0 0,0 1 1 0 0,0-1-1 0 0,0 0 1 0 0,0 0-1 0 0,0-1 1 0 0,0 1-1 0 0,0-1 1 0 0,0 0-1 0 0,0 0 1 0 0,-1 0-1 0 0,6-3 0 0 0,40-22-677 0 0,-43 23 693 0 0,76-55-119 0 0,-29 18 1241 0 0,-52 39-1058 0 0,0 0 0 0 0,0 1 0 0 0,0-1 0 0 0,0 0 0 0 0,0 1 0 0 0,0-1-1 0 0,0 1 1 0 0,1-1 0 0 0,-1 1 0 0 0,0 0 0 0 0,0 0 0 0 0,0-1 0 0 0,0 1 0 0 0,1 0 0 0 0,-1 0 0 0 0,0 0 0 0 0,0 0 0 0 0,1 0-1 0 0,-1 0 1 0 0,0 1 0 0 0,0-1 0 0 0,0 0 0 0 0,0 0 0 0 0,3 2 0 0 0,-2-1-6 0 0,-1 1 0 0 0,1-1 1 0 0,0 0-1 0 0,-1 1 0 0 0,1 0 0 0 0,-1-1 0 0 0,0 1 0 0 0,1 0 1 0 0,-1 0-1 0 0,0 0 0 0 0,0 0 0 0 0,1 3 0 0 0,1 3-428 0 0,-1 0 0 0 0,1 1 0 0 0,-2-1 0 0 0,1 1 1 0 0,0 14-1 0 0,-7 24-6917 0 0</inkml:trace>
</inkml:ink>
</file>

<file path=ppt/ink/ink8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4.7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 175 1124 0 0,'-65'-133'7815'0'0,"47"93"-7763"0"0,17 38-541 0 0,19 6-5609 0 0</inkml:trace>
</inkml:ink>
</file>

<file path=ppt/ink/ink8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5.2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48 1408 0 0,'22'9'2555'0'0,"-1"0"0"0"0,30 17 0 0 0,-43-21-2231 0 0,-1 0-1 0 0,1 1 0 0 0,-1 0 0 0 0,0 1 1 0 0,-1-1-1 0 0,1 1 0 0 0,-1 1 0 0 0,-1-1 1 0 0,6 10-1 0 0,28 54 579 0 0,-38-69-789 0 0,2 1 16 0 0,-3-3-130 0 0,1 1 0 0 0,-1-1-1 0 0,0 0 1 0 0,0 1-1 0 0,0-1 1 0 0,0 0 0 0 0,0 0-1 0 0,1 0 1 0 0,-1 1 0 0 0,0-1-1 0 0,0 0 1 0 0,0 0 0 0 0,1 1-1 0 0,-1-1 1 0 0,0 0-1 0 0,0 0 1 0 0,1 0 0 0 0,-1 0-1 0 0,0 0 1 0 0,0 1 0 0 0,1-1-1 0 0,-1 0 1 0 0,0 0 0 0 0,1 0-1 0 0,-1 0 1 0 0,0 0 0 0 0,1 0-1 0 0,-1 0 1 0 0,0 0-1 0 0,0 0 1 0 0,1 0 0 0 0,-1 0-1 0 0,0 0 1 0 0,1 0 0 0 0,-1 0-1 0 0,0 0 1 0 0,0 0 0 0 0,1-1-1 0 0,-1 1 1 0 0,0 0-1 0 0,1 0 1 0 0,-1 0 0 0 0,0 0-1 0 0,0 0 1 0 0,1-1 0 0 0,-1 1-1 0 0,0 0 1 0 0,0 0 0 0 0,0-1-1 0 0,1 1 1 0 0,-1 0 0 0 0,0 0-1 0 0,0-1 1 0 0,0 1-1 0 0,0 0 1 0 0,0 0 0 0 0,0-1-1 0 0,1 1 1 0 0,-1 0 0 0 0,0-1-1 0 0,0 1 1 0 0,3-7-133 0 0,1 1 0 0 0,-1-1 1 0 0,1 1-1 0 0,1 0 0 0 0,-1 1 1 0 0,1-1-1 0 0,0 1 0 0 0,0 0 0 0 0,1 0 1 0 0,9-6-1 0 0,-11 8 114 0 0,1 0-1 0 0,0 1 1 0 0,-1 0 0 0 0,1 0 0 0 0,0 0 0 0 0,0 1-1 0 0,0-1 1 0 0,0 1 0 0 0,1 0 0 0 0,-1 1-1 0 0,0-1 1 0 0,0 1 0 0 0,1 0 0 0 0,-1 0 0 0 0,0 1-1 0 0,9 1 1 0 0,54 20 619 0 0,-46-14-305 0 0,46 10-1 0 0,-60-17-269 0 0,0 0 1 0 0,0 0 0 0 0,-1-1-1 0 0,1 0 1 0 0,0-1 0 0 0,0 1-1 0 0,0-1 1 0 0,0-1 0 0 0,15-4-1 0 0,-15 3-18 0 0,0-1-1 0 0,-1 1 0 0 0,0-1 1 0 0,1-1-1 0 0,-1 1 0 0 0,-1-1 1 0 0,1-1-1 0 0,-1 1 1 0 0,0-1-1 0 0,0 0 0 0 0,0 0 1 0 0,-1-1-1 0 0,0 0 0 0 0,-1 0 1 0 0,1 0-1 0 0,4-12 1 0 0,-2 5-34 0 0,0 1-23 0 0,0 0 0 0 0,0 1 1 0 0,15-19-1 0 0,-20 29 264 0 0,-1 2-195 0 0,0 1 0 0 0,0-1 0 0 0,0 0 0 0 0,0 1 1 0 0,0-1-1 0 0,0 1 0 0 0,-1-1 0 0 0,1 1 1 0 0,0 0-1 0 0,0-1 0 0 0,0 1 0 0 0,-1 0 1 0 0,1 0-1 0 0,0-1 0 0 0,-1 1 0 0 0,1 0 0 0 0,0 0 1 0 0,-1 0-1 0 0,1 0 0 0 0,-1 0 0 0 0,0 0 1 0 0,1 0-1 0 0,-1 0 0 0 0,0 0 0 0 0,1 0 1 0 0,-1 0-1 0 0,0 0 0 0 0,0 0 0 0 0,0 0 0 0 0,0 0 1 0 0,0 0-1 0 0,0 1 0 0 0,-1 36 494 0 0,-2-3-152 0 0,-2-1 0 0 0,-1 0 0 0 0,-2 0 0 0 0,-20 55 0 0 0,25-80-286 0 0,-2 0-1 0 0,0-1 1 0 0,0 0 0 0 0,-7 9-1 0 0,10-13-42 0 0,-1-1-1 0 0,0 0 1 0 0,0 0-1 0 0,0 0 1 0 0,0-1-1 0 0,-1 1 1 0 0,1-1 0 0 0,-1 0-1 0 0,1 0 1 0 0,-1 0-1 0 0,-6 3 1 0 0,8-5-33 0 0,1 1-1 0 0,-1-1 1 0 0,0 1 0 0 0,1-1 0 0 0,-1 0-1 0 0,1 0 1 0 0,-1 0 0 0 0,0 0-1 0 0,1 0 1 0 0,-1 0 0 0 0,0 0 0 0 0,1 0-1 0 0,-1 0 1 0 0,0-1 0 0 0,1 1 0 0 0,-1-1-1 0 0,1 1 1 0 0,-1-1 0 0 0,1 0-1 0 0,-1 0 1 0 0,1 1 0 0 0,-1-1 0 0 0,1 0-1 0 0,0 0 1 0 0,-1 0 0 0 0,1-1 0 0 0,0 1-1 0 0,0 0 1 0 0,0 0 0 0 0,0-1 0 0 0,0 1-1 0 0,0 0 1 0 0,0-1 0 0 0,1 1-1 0 0,-1-1 1 0 0,0 1 0 0 0,1-1 0 0 0,-1 0-1 0 0,1 1 1 0 0,0-1 0 0 0,-1 0 0 0 0,1-2-1 0 0,-2-8-225 0 0,1-1 0 0 0,0 1 0 0 0,1-1-1 0 0,2-17 1 0 0,-1 20 31 0 0,4-64-595 0 0,4-115-229 0 0,-9 182 984 0 0,-1 1 1 0 0,1-1-1 0 0,-1 1 0 0 0,-1-1 1 0 0,1 1-1 0 0,-5-12 1 0 0,5 15 26 0 0,0 1 0 0 0,0 0 0 0 0,0 0 1 0 0,-1 0-1 0 0,1 0 0 0 0,0 0 1 0 0,-1 0-1 0 0,1 0 0 0 0,-1 0 1 0 0,0 0-1 0 0,1 1 0 0 0,-1-1 1 0 0,0 1-1 0 0,0-1 0 0 0,0 1 0 0 0,0 0 1 0 0,-1 0-1 0 0,1 0 0 0 0,0 0 1 0 0,0 0-1 0 0,-1 0 0 0 0,1 1 1 0 0,0-1-1 0 0,-4 0 0 0 0,3 1-52 0 0,-1 0-1 0 0,0 0 1 0 0,0 1-1 0 0,0-1 1 0 0,0 1 0 0 0,0 0-1 0 0,0 0 1 0 0,1 0-1 0 0,-1 0 1 0 0,0 0-1 0 0,1 1 1 0 0,-1 0-1 0 0,1 0 1 0 0,-1 0 0 0 0,1 0-1 0 0,-3 3 1 0 0,4-3-96 0 0,0 0 1 0 0,0 0-1 0 0,1 0 1 0 0,-1 0 0 0 0,1 0-1 0 0,-1 1 1 0 0,1-1 0 0 0,0 1-1 0 0,0-1 1 0 0,0 1-1 0 0,0-1 1 0 0,0 1 0 0 0,1-1-1 0 0,-1 1 1 0 0,1 0-1 0 0,0-1 1 0 0,-1 1 0 0 0,1 0-1 0 0,0-1 1 0 0,1 1-1 0 0,-1 0 1 0 0,0-1 0 0 0,1 1-1 0 0,0-1 1 0 0,-1 1-1 0 0,3 4 1 0 0,3 7-2176 0 0,2-1-576 0 0</inkml:trace>
</inkml:ink>
</file>

<file path=ppt/ink/ink8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6.0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 33 1160 0 0,'-10'-11'1791'0'0,"8"9"-1297"0"0,0 0 0 0 0,0 0 0 0 0,0 0 0 0 0,1 0 1 0 0,-1-1-1 0 0,0 1 0 0 0,-1-4 0 0 0,0 9 529 0 0,3-3-997 0 0,-1 0-1 0 0,1 0 0 0 0,0 0 0 0 0,0 0 0 0 0,0 0 1 0 0,-1 0-1 0 0,1 0 0 0 0,0 1 0 0 0,0-1 0 0 0,-1 0 1 0 0,1 0-1 0 0,0 0 0 0 0,0 0 0 0 0,0 0 0 0 0,-1 1 1 0 0,1-1-1 0 0,0 0 0 0 0,0 0 0 0 0,0 0 0 0 0,0 1 1 0 0,0-1-1 0 0,-1 0 0 0 0,1 0 0 0 0,0 1 1 0 0,0-1-1 0 0,0 0 0 0 0,0 0 0 0 0,0 1 0 0 0,0-1 1 0 0,0 0-1 0 0,0 0 0 0 0,0 1 0 0 0,0-1 0 0 0,0 0 1 0 0,0 0-1 0 0,0 1 0 0 0,0-1 0 0 0,0 0 0 0 0,0 0 1 0 0,0 1-1 0 0,42 266 3974 0 0,22 0-3328 0 0,-51-218-722 0 0,0 0-1369 0 0,9 60 1 0 0,-22-107 1175 0 0,1 23-895 0 0,-1-24 947 0 0,0 0-1 0 0,0 0 1 0 0,0 0-1 0 0,0 0 1 0 0,0 0-1 0 0,0 0 0 0 0,0 0 1 0 0,-1-1-1 0 0,1 1 1 0 0,0 0-1 0 0,-1 0 1 0 0,1 0-1 0 0,-1 0 0 0 0,1-1 1 0 0,-1 1-1 0 0,1 0 1 0 0,-1 0-1 0 0,1-1 1 0 0,-1 1-1 0 0,0 0 1 0 0,0-1-1 0 0,1 1 0 0 0,-1-1 1 0 0,0 1-1 0 0,-1 0 1 0 0,-13 3-1756 0 0</inkml:trace>
</inkml:ink>
</file>

<file path=ppt/ink/ink8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6.4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5 199 128 0 0,'-7'-3'714'0'0,"1"-1"0"0"0,-1 0 0 0 0,1-1-1 0 0,0 1 1 0 0,-6-8 0 0 0,12 12-677 0 0,-1-1 1 0 0,1 1-1 0 0,0 0 0 0 0,0-1 1 0 0,0 1-1 0 0,0-1 0 0 0,0 1 0 0 0,0-1 1 0 0,0 1-1 0 0,0 0 0 0 0,0-1 1 0 0,0 1-1 0 0,0-1 0 0 0,0 1 0 0 0,1 0 1 0 0,-1-1-1 0 0,0 1 0 0 0,0-1 1 0 0,0 1-1 0 0,0 0 0 0 0,1-1 0 0 0,-1 1 1 0 0,0 0-1 0 0,0-1 0 0 0,1 1 1 0 0,-1 0-1 0 0,0-1 0 0 0,1 1 1 0 0,-1 0-1 0 0,0 0 0 0 0,1-1 0 0 0,10-7 456 0 0,-1 3-200 0 0,1 1 0 0 0,0 0 0 0 0,1 1 0 0 0,-1 0 0 0 0,0 0 0 0 0,18 0 0 0 0,3-3 75 0 0,230-29 1395 0 0,-73 12-1123 0 0,39-9 865 0 0,-175 25-817 0 0,37-8 480 0 0,-88 14-1109 0 0,16-1 67 0 0,14 2-451 0 0,-30 0 316 0 0,-1 1-1 0 0,0 0 1 0 0,0 0-1 0 0,0 0 1 0 0,0 0-1 0 0,0 0 1 0 0,-1 0-1 0 0,1 0 1 0 0,0 0 0 0 0,0 0-1 0 0,-1 0 1 0 0,1 1-1 0 0,0-1 1 0 0,-1 0-1 0 0,1 0 1 0 0,0 3 0 0 0,0-2-16 0 0,8 21-45 0 0,-1-1 0 0 0,0 1 0 0 0,8 46 0 0 0,-7 3-2120 0 0,-3-1-4155 0 0,-4-58 3609 0 0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8.4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 1 968 0 0,'0'0'6415'0'0,"-2"17"-3027"0"0,4 22-108 0 0,10 57-1 0 0,0-7-2012 0 0,-10-62-1494 0 0,-1 0 0 0 0,-3 34 0 0 0,-10 14-7167 0 0</inkml:trace>
</inkml:ink>
</file>

<file path=ppt/ink/ink8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6.7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8 110 284 0 0,'-6'-20'952'0'0,"-2"4"-248"0"0,4 2-172 0 0,-2 1-120 0 0,0 2-96 0 0,0 1-92 0 0,-2 1-136 0 0,-6 0-564 0 0,4 1-1404 0 0</inkml:trace>
</inkml:ink>
</file>

<file path=ppt/ink/ink8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7.1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5 101 1264 0 0,'6'-3'586'0'0,"1"0"-1"0"0,-1-1 1 0 0,-1 1-1 0 0,1-1 1 0 0,0-1-1 0 0,6-6 1 0 0,-10 9-503 0 0,-1 1 0 0 0,0-1 0 0 0,1 0 0 0 0,-1 0 0 0 0,0 0 1 0 0,0 0-1 0 0,0 0 0 0 0,0 0 0 0 0,-1 0 0 0 0,1 0 0 0 0,-1-1 0 0 0,1 1 0 0 0,-1 0 1 0 0,1 0-1 0 0,-1 0 0 0 0,0-1 0 0 0,0 1 0 0 0,0 0 0 0 0,-1 0 0 0 0,1 0 1 0 0,0-1-1 0 0,-1 1 0 0 0,0-3 0 0 0,0 4-76 0 0,1 0 0 0 0,-1 0 1 0 0,1 1-1 0 0,-1-1 0 0 0,0 0 0 0 0,1 0 0 0 0,-1 0 1 0 0,0 0-1 0 0,1 1 0 0 0,-1-1 0 0 0,0 0 0 0 0,0 1 0 0 0,0-1 1 0 0,0 0-1 0 0,0 1 0 0 0,0 0 0 0 0,0-1 0 0 0,0 1 1 0 0,0-1-1 0 0,0 1 0 0 0,0 0 0 0 0,0 0 0 0 0,0-1 1 0 0,0 1-1 0 0,-2 0 0 0 0,-24 3 51 0 0,21-1-29 0 0,0 0 0 0 0,0 0 0 0 0,1 1 0 0 0,-1 0 0 0 0,1 0 0 0 0,-1 0 0 0 0,1 0 1 0 0,0 1-1 0 0,1 0 0 0 0,-1 0 0 0 0,1 1 0 0 0,-1-1 0 0 0,1 1 0 0 0,1 0 0 0 0,-1 0 0 0 0,1 0 0 0 0,0 1 1 0 0,0-1-1 0 0,0 1 0 0 0,-2 5 0 0 0,4-6 9 0 0,-1 0 0 0 0,1 0 0 0 0,0 0 0 0 0,0 0 0 0 0,0 0 1 0 0,1 0-1 0 0,-1 0 0 0 0,1 0 0 0 0,0 0 0 0 0,1 0 0 0 0,-1 0 0 0 0,1 0 0 0 0,0-1 1 0 0,1 1-1 0 0,-1 0 0 0 0,1 0 0 0 0,0 0 0 0 0,0-1 0 0 0,0 1 0 0 0,0-1 0 0 0,1 0 0 0 0,0 0 1 0 0,0 0-1 0 0,5 5 0 0 0,8 7 57 0 0,-3-4-100 0 0,-2-1 0 0 0,1 2 0 0 0,-2-1 0 0 0,14 22 0 0 0,-21-30 13 0 0,-1 0 0 0 0,0 0-1 0 0,0 1 1 0 0,0-1-1 0 0,-1 1 1 0 0,0-1-1 0 0,0 1 1 0 0,0 0-1 0 0,0-1 1 0 0,-1 1-1 0 0,1 0 1 0 0,-1 0-1 0 0,-1 0 1 0 0,1-1-1 0 0,-1 1 1 0 0,1 0-1 0 0,-1-1 1 0 0,-1 1-1 0 0,1-1 1 0 0,-3 7 0 0 0,-1-2 120 0 0,1-1 1 0 0,-1 1 0 0 0,-1-2 0 0 0,0 1 0 0 0,0 0 0 0 0,0-1 0 0 0,-1 0 0 0 0,0-1 0 0 0,0 0 0 0 0,0 0 0 0 0,-1 0 0 0 0,-14 7 0 0 0,16-9-53 0 0,0-1 1 0 0,0 0-1 0 0,0-1 1 0 0,-1 1-1 0 0,1-1 0 0 0,0-1 1 0 0,-1 1-1 0 0,0-1 0 0 0,1 0 1 0 0,-1-1-1 0 0,0 1 1 0 0,1-1-1 0 0,-1-1 0 0 0,0 1 1 0 0,1-1-1 0 0,-1 0 1 0 0,1-1-1 0 0,-1 1 0 0 0,-6-4 1 0 0,12 5-137 0 0,0-1-1 0 0,-1 1 1 0 0,1-1 0 0 0,0 1 0 0 0,0-1 0 0 0,0 1-1 0 0,0-1 1 0 0,-1 0 0 0 0,1 0 0 0 0,0 0-1 0 0,1 0 1 0 0,-1 0 0 0 0,0 0 0 0 0,0 0 0 0 0,0 0-1 0 0,0 0 1 0 0,1 0 0 0 0,-1 0 0 0 0,1 0-1 0 0,-1-1 1 0 0,1 1 0 0 0,-1 0 0 0 0,1 0 0 0 0,0-1-1 0 0,-1 1 1 0 0,1 0 0 0 0,0 0 0 0 0,0-1 0 0 0,0 1-1 0 0,0 0 1 0 0,0-1 0 0 0,0 1 0 0 0,0 0-1 0 0,1-1 1 0 0,-1 1 0 0 0,0 0 0 0 0,1 0 0 0 0,-1-1-1 0 0,1 1 1 0 0,-1 0 0 0 0,2-2 0 0 0,2-3-705 0 0,0 0 0 0 0,0 0 0 0 0,1 1 1 0 0,-1 0-1 0 0,1 0 0 0 0,11-9 0 0 0,3-1-1548 0 0</inkml:trace>
</inkml:ink>
</file>

<file path=ppt/ink/ink8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7.7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07 1028 0 0,'31'-27'2853'0'0,"-13"12"-376"0"0,22-23 0 0 0,-40 38-2420 0 0,1-1-1 0 0,0 0 1 0 0,-1 0 0 0 0,1 0 0 0 0,-1 0-1 0 0,1 1 1 0 0,-1-1 0 0 0,1 0 0 0 0,-1 0 0 0 0,0 0-1 0 0,1 0 1 0 0,-1 0 0 0 0,0 0 0 0 0,0 0-1 0 0,0 0 1 0 0,0 0 0 0 0,0 0 0 0 0,0 0 0 0 0,0 0-1 0 0,0-2 1 0 0,0 2-49 0 0,-1 1 1 0 0,1 0-1 0 0,0-1 0 0 0,-1 1 1 0 0,1-1-1 0 0,0 1 1 0 0,-1 0-1 0 0,1 0 0 0 0,0-1 1 0 0,-1 1-1 0 0,1 0 0 0 0,0 0 1 0 0,-1-1-1 0 0,1 1 0 0 0,-1 0 1 0 0,1 0-1 0 0,-1 0 0 0 0,1 0 1 0 0,-1-1-1 0 0,1 1 0 0 0,0 0 1 0 0,-1 0-1 0 0,1 0 1 0 0,-1 0-1 0 0,1 0 0 0 0,-1 0 1 0 0,1 0-1 0 0,-1 0 0 0 0,1 1 1 0 0,-1-1-1 0 0,1 0 0 0 0,0 0 1 0 0,-1 0-1 0 0,1 0 0 0 0,-1 1 1 0 0,1-1-1 0 0,0 0 0 0 0,-1 0 1 0 0,1 1-1 0 0,-1-1 1 0 0,1 0-1 0 0,0 1 0 0 0,-1-1 1 0 0,1 0-1 0 0,0 1 0 0 0,-1-1 1 0 0,0 1-4 0 0,-1 1 1 0 0,1-1 0 0 0,0 0-1 0 0,-1 0 1 0 0,1 1 0 0 0,0-1-1 0 0,0 1 1 0 0,0-1 0 0 0,-1 1-1 0 0,2-1 1 0 0,-1 1 0 0 0,0 0 0 0 0,0-1-1 0 0,1 1 1 0 0,-1 0 0 0 0,0 0-1 0 0,1-1 1 0 0,0 1 0 0 0,-1 0-1 0 0,1 0 1 0 0,0 0 0 0 0,0 0-1 0 0,0-1 1 0 0,0 1 0 0 0,1 0-1 0 0,-1 0 1 0 0,1 2 0 0 0,0-2 0 0 0,0 1-1 0 0,0-1 1 0 0,0 1 0 0 0,0-1 0 0 0,0 0-1 0 0,1 1 1 0 0,-1-1 0 0 0,1 0 0 0 0,0 0 0 0 0,0 0-1 0 0,0 0 1 0 0,-1 0 0 0 0,2-1 0 0 0,-1 1-1 0 0,0-1 1 0 0,0 1 0 0 0,0-1 0 0 0,1 0 0 0 0,2 1-1 0 0,1 1 0 0 0,1-1 0 0 0,-1 1 0 0 0,1-2-1 0 0,0 1 1 0 0,0-1 0 0 0,0 0 0 0 0,-1 0-1 0 0,1-1 1 0 0,0 0 0 0 0,0 0 0 0 0,0-1-1 0 0,0 0 1 0 0,0 0 0 0 0,-1 0 0 0 0,1-1 0 0 0,0 0-1 0 0,-1-1 1 0 0,1 1 0 0 0,-1-1 0 0 0,0 0-1 0 0,0-1 1 0 0,0 1 0 0 0,0-1 0 0 0,-1-1-1 0 0,0 1 1 0 0,0-1 0 0 0,0 0 0 0 0,0 0 0 0 0,-1 0-1 0 0,1 0 1 0 0,-1-1 0 0 0,-1 0 0 0 0,6-9-1 0 0,-7 10 29 0 0,0 0 0 0 0,0-1 0 0 0,-1 1 0 0 0,0 0 0 0 0,0 0-1 0 0,0-1 1 0 0,0 1 0 0 0,-1-1 0 0 0,0 1 0 0 0,0-1 0 0 0,-1-8-1 0 0,0 12-24 0 0,1 0 0 0 0,-1 0 0 0 0,1 0 0 0 0,-1 0 0 0 0,0 0 0 0 0,0 0 0 0 0,0 0 0 0 0,0 0 0 0 0,0 0 0 0 0,0 1 0 0 0,0-1 0 0 0,-1 0 0 0 0,1 1 0 0 0,-1-1 0 0 0,1 1 0 0 0,-1-1 0 0 0,0 1 0 0 0,1 0 0 0 0,-1 0 0 0 0,0-1 0 0 0,0 1 0 0 0,0 1 0 0 0,0-1 0 0 0,0 0 0 0 0,0 0 0 0 0,0 1 0 0 0,0-1 0 0 0,0 1 0 0 0,0 0 0 0 0,0-1 0 0 0,0 1 0 0 0,-4 0 0 0 0,-3 1 43 0 0,0 0 0 0 0,0 1 1 0 0,0 0-1 0 0,1 0 0 0 0,-1 1 1 0 0,1 0-1 0 0,-1 0 1 0 0,1 1-1 0 0,0 0 0 0 0,0 1 1 0 0,1-1-1 0 0,0 1 0 0 0,-1 1 1 0 0,1 0-1 0 0,1 0 0 0 0,-12 13 1 0 0,9-8 12 0 0,-1 0 0 0 0,2 1-1 0 0,-1 0 1 0 0,2 1 0 0 0,0-1 0 0 0,0 2 0 0 0,1-1 0 0 0,1 1 0 0 0,-6 23 0 0 0,9-28-49 0 0,0 1 0 0 0,1-1 0 0 0,1 1 1 0 0,0 0-1 0 0,0 0 0 0 0,1-1 0 0 0,0 1 0 0 0,0-1 1 0 0,1 1-1 0 0,1-1 0 0 0,0 1 0 0 0,0-1 0 0 0,0 0 1 0 0,1 0-1 0 0,1-1 0 0 0,9 16 0 0 0,-9-18-146 0 0,-1 0-1 0 0,1 0 0 0 0,0-1 1 0 0,1 0-1 0 0,-1 0 0 0 0,1 0 1 0 0,0 0-1 0 0,0-1 1 0 0,1 0-1 0 0,-1-1 0 0 0,1 1 1 0 0,0-1-1 0 0,0 0 1 0 0,0-1-1 0 0,0 0 0 0 0,0 0 1 0 0,0 0-1 0 0,1-1 0 0 0,-1 0 1 0 0,1-1-1 0 0,-1 0 1 0 0,11 0-1 0 0,-11-1-20 0 0,1-1-1 0 0,-1 0 1 0 0,0 0-1 0 0,0 0 1 0 0,1-1 0 0 0,-1 0-1 0 0,-1 0 1 0 0,1-1 0 0 0,0 0-1 0 0,-1 0 1 0 0,0 0-1 0 0,11-11 1 0 0,3-5-14 0 0,0-2 0 0 0,18-25 0 0 0,-8 9 455 0 0,-17 22-41 0 0,36-37 423 0 0,-45 48-609 0 0,1 2 0 0 0,-1-1 0 0 0,1 0 0 0 0,0 1 0 0 0,0 0 0 0 0,1 0 0 0 0,-1 0 0 0 0,1 1 0 0 0,7-3 0 0 0,7 4 267 0 0,-15 1-271 0 0,-3 1-37 0 0,0-1-1 0 0,0 0 1 0 0,1 1 0 0 0,-1-1-1 0 0,-1 1 1 0 0,1 0 0 0 0,0 0-1 0 0,0-1 1 0 0,0 1 0 0 0,0 1-1 0 0,0-1 1 0 0,-1 0 0 0 0,1 0-1 0 0,-1 1 1 0 0,1-1 0 0 0,-1 0 0 0 0,1 1-1 0 0,-1 0 1 0 0,0-1 0 0 0,1 1-1 0 0,-1 0 1 0 0,1 2 0 0 0,1 1 9 0 0,-1 1 0 0 0,0-1 0 0 0,0 0 0 0 0,0 1 0 0 0,0-1 0 0 0,0 7 1 0 0,0 8 264 0 0,0 1-1 0 0,-1-1 1 0 0,-4 30 0 0 0,3-47 62 0 0,-7 1 383 0 0,4-5-573 0 0,4-6-76 0 0,6-6-103 0 0,1 1 1 0 0,1 0-1 0 0,0 1 1 0 0,0 0-1 0 0,1 0 1 0 0,0 1-1 0 0,16-12 1 0 0,11-13-80 0 0,-8 3 44 0 0,-2-2 0 0 0,36-57 0 0 0,-45 65 151 0 0,-18 25-100 0 0,0 1 0 0 0,1-1-1 0 0,-1 1 1 0 0,0-1 0 0 0,0 1 0 0 0,1-1 0 0 0,-1 1 0 0 0,0 0 0 0 0,1-1-1 0 0,-1 1 1 0 0,1 0 0 0 0,-1-1 0 0 0,0 1 0 0 0,1 0 0 0 0,-1 0 0 0 0,1-1-1 0 0,-1 1 1 0 0,1 0 0 0 0,-1 0 0 0 0,1 0 0 0 0,-1-1 0 0 0,1 1 0 0 0,-1 0-1 0 0,1 0 1 0 0,-1 0 0 0 0,1 0 0 0 0,-1 0 0 0 0,2 0 0 0 0,-1 1 8 0 0,0-1 1 0 0,-1 1-1 0 0,1-1 1 0 0,0 1-1 0 0,0 0 1 0 0,0-1-1 0 0,0 1 1 0 0,-1 0-1 0 0,1 0 1 0 0,0 0-1 0 0,-1-1 0 0 0,1 1 1 0 0,0 2-1 0 0,17 41 384 0 0,-13-31-267 0 0,12 26 106 0 0,-7-19-198 0 0,-2-1 0 0 0,11 40 0 0 0,-18-56-132 0 0,0-1 1 0 0,0 1-1 0 0,-1-1 1 0 0,1 1-1 0 0,-1 0 1 0 0,1-1 0 0 0,-1 1-1 0 0,0 0 1 0 0,0 0-1 0 0,-1-1 1 0 0,1 1-1 0 0,0 0 1 0 0,-1-1-1 0 0,0 1 1 0 0,1-1 0 0 0,-1 1-1 0 0,0-1 1 0 0,0 1-1 0 0,-1-1 1 0 0,1 1-1 0 0,0-1 1 0 0,-1 0 0 0 0,1 0-1 0 0,-1 0 1 0 0,0 0-1 0 0,0 0 1 0 0,0 0-1 0 0,0 0 1 0 0,0 0-1 0 0,-4 2 1 0 0,1-1-799 0 0,-1 0 0 0 0,1 0 0 0 0,-1-1 0 0 0,0 0-1 0 0,0 0 1 0 0,-11 3 0 0 0</inkml:trace>
</inkml:ink>
</file>

<file path=ppt/ink/ink8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8.7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0 85 816 0 0,'3'-4'538'0'0,"-1"-1"-1"0"0,0 1 1 0 0,1 0-1 0 0,-2-1 0 0 0,4-7 1 0 0,-5 10-422 0 0,0 1 1 0 0,1-1-1 0 0,-1 0 0 0 0,0 1 0 0 0,0-1 1 0 0,0 0-1 0 0,0 1 0 0 0,0-1 1 0 0,-1 0-1 0 0,1 1 0 0 0,0-1 0 0 0,-1 0 1 0 0,1 1-1 0 0,-1-1 0 0 0,0 1 1 0 0,1-1-1 0 0,-1 1 0 0 0,-2-3 1 0 0,2 3-72 0 0,0 1 0 0 0,0-1 0 0 0,0 1 0 0 0,-1-1 1 0 0,1 1-1 0 0,0-1 0 0 0,0 1 0 0 0,-1 0 1 0 0,1-1-1 0 0,0 1 0 0 0,0 0 0 0 0,-1 0 0 0 0,1 0 1 0 0,0 0-1 0 0,-1 0 0 0 0,1 1 0 0 0,0-1 1 0 0,-1 0-1 0 0,1 0 0 0 0,0 1 0 0 0,0-1 1 0 0,-2 2-1 0 0,-28 10 571 0 0,22-6-491 0 0,0 0 0 0 0,1 0 0 0 0,0 1 0 0 0,0 0 0 0 0,1 0 0 0 0,0 1 0 0 0,0 0 0 0 0,1 0 0 0 0,0 1 0 0 0,1-1 0 0 0,-9 18 0 0 0,12-21-53 0 0,-1 1-1 0 0,1-1 1 0 0,1 1 0 0 0,-1 0 0 0 0,1-1 0 0 0,0 1 0 0 0,0 0 0 0 0,1 0 0 0 0,0-1-1 0 0,0 8 1 0 0,1-9-28 0 0,-1-1 0 0 0,1 1-1 0 0,0-1 1 0 0,0 1 0 0 0,0-1 0 0 0,1 0-1 0 0,-1 1 1 0 0,1-1 0 0 0,0 0 0 0 0,0 0-1 0 0,0 0 1 0 0,0 0 0 0 0,1 0-1 0 0,-1-1 1 0 0,1 1 0 0 0,-1-1 0 0 0,5 4-1 0 0,-4-4-17 0 0,0 0-1 0 0,0-1 0 0 0,0 1 1 0 0,0 0-1 0 0,0-1 0 0 0,0 0 1 0 0,1 1-1 0 0,-1-1 0 0 0,0 0 1 0 0,1-1-1 0 0,-1 1 0 0 0,1-1 1 0 0,-1 1-1 0 0,1-1 0 0 0,-1 0 1 0 0,0-1-1 0 0,8 0 0 0 0,-5-1-19 0 0,0 1 0 0 0,-1-2 1 0 0,1 1-1 0 0,0-1 0 0 0,-1 0 0 0 0,1 0 0 0 0,-1 0 0 0 0,0-1 0 0 0,6-5 1 0 0,6-7-147 0 0,-1-1 1 0 0,-1 0 0 0 0,0-1 0 0 0,14-24 0 0 0,-29 41 132 0 0,0 1 1 0 0,0-1 0 0 0,1 1 0 0 0,-1-1 0 0 0,0 1-1 0 0,0 0 1 0 0,0-1 0 0 0,1 1 0 0 0,-1-1-1 0 0,0 1 1 0 0,1 0 0 0 0,-1-1 0 0 0,0 1-1 0 0,1 0 1 0 0,-1-1 0 0 0,1 1 0 0 0,-1 0 0 0 0,0 0-1 0 0,1-1 1 0 0,-1 1 0 0 0,1 0 0 0 0,-1 0-1 0 0,1 0 1 0 0,-1-1 0 0 0,1 1 0 0 0,-1 0 0 0 0,1 0-1 0 0,-1 0 1 0 0,1 0 0 0 0,-1 0 0 0 0,1 0-1 0 0,-1 0 1 0 0,1 0 0 0 0,-1 0 0 0 0,0 0 0 0 0,1 1-1 0 0,-1-1 1 0 0,1 0 0 0 0,-1 0 0 0 0,1 0-1 0 0,-1 0 1 0 0,1 1 0 0 0,-1-1 0 0 0,0 0-1 0 0,1 1 1 0 0,-1-1 0 0 0,1 0 0 0 0,-1 0 0 0 0,0 1-1 0 0,1-1 1 0 0,-1 1 0 0 0,0-1 0 0 0,0 0-1 0 0,1 1 1 0 0,-1-1 0 0 0,0 1 0 0 0,0-1 0 0 0,1 1-1 0 0,-1 0 1 0 0,13 35 106 0 0,-11-27-62 0 0,-1-4 3 0 0,1 0 0 0 0,0 0 0 0 0,0 1 0 0 0,0-1 0 0 0,0-1 1 0 0,1 1-1 0 0,0 0 0 0 0,0-1 0 0 0,0 1 0 0 0,1-1 0 0 0,-1 0 1 0 0,1 0-1 0 0,0 0 0 0 0,0-1 0 0 0,1 1 0 0 0,-1-1 0 0 0,1 0 0 0 0,-1 0 1 0 0,1-1-1 0 0,0 1 0 0 0,9 2 0 0 0,-8-4-27 0 0,0 0 0 0 0,1-1 0 0 0,-1 1 1 0 0,0-1-1 0 0,1-1 0 0 0,-1 1 0 0 0,1-1 0 0 0,-1 0 0 0 0,0-1 0 0 0,0 1 0 0 0,1-1 1 0 0,-1-1-1 0 0,-1 1 0 0 0,1-1 0 0 0,0 0 0 0 0,-1 0 0 0 0,8-6 0 0 0,10-8 22 0 0,-2-1-1 0 0,35-36 1 0 0,-35 32-15 0 0,13-3-169 0 0,-32 24 127 0 0,23 17-33 0 0,-18-9 133 0 0,1 0 0 0 0,-1 0 0 0 0,1-1 0 0 0,1 0 0 0 0,-1 0 0 0 0,1-1 0 0 0,0 0 0 0 0,0-1 0 0 0,1 0-1 0 0,18 6 1 0 0,-22-9-58 0 0,1 0 0 0 0,-1-1-1 0 0,0 1 1 0 0,0-1 0 0 0,1 0-1 0 0,-1-1 1 0 0,0 1 0 0 0,0-1-1 0 0,0-1 1 0 0,0 1 0 0 0,0-1-1 0 0,0 0 1 0 0,0 0 0 0 0,0-1-1 0 0,-1 1 1 0 0,1-1 0 0 0,-1-1 0 0 0,10-6-1 0 0,-8 3-6 0 0,1 0-1 0 0,-1-1 0 0 0,0 0 1 0 0,-1 0-1 0 0,0-1 0 0 0,0 1 1 0 0,0-1-1 0 0,-1 0 0 0 0,-1-1 1 0 0,0 1-1 0 0,0-1 0 0 0,-1 0 1 0 0,4-16-1 0 0,-7 25-16 0 0,0 1-1 0 0,0-1 1 0 0,0 0 0 0 0,0 0-1 0 0,-1 0 1 0 0,1 0 0 0 0,0 0 0 0 0,0 1-1 0 0,0-1 1 0 0,-1 0 0 0 0,1 0-1 0 0,-1 0 1 0 0,1 1 0 0 0,0-1 0 0 0,-1 0-1 0 0,1 0 1 0 0,-1 1 0 0 0,1-1-1 0 0,-1 0 1 0 0,0 1 0 0 0,1-1 0 0 0,-1 1-1 0 0,0-1 1 0 0,1 1 0 0 0,-1-1-1 0 0,-1 0 1 0 0,0 0 9 0 0,-2 2-24 0 0,1-1 7 0 0,0 1 0 0 0,0 0 0 0 0,0 0 0 0 0,0 0 0 0 0,1 0 0 0 0,-1 0 1 0 0,0 1-1 0 0,0-1 0 0 0,1 1 0 0 0,-1 0 0 0 0,1-1 0 0 0,0 1 0 0 0,-1 0 0 0 0,1 1 1 0 0,0-1-1 0 0,0 0 0 0 0,0 1 0 0 0,0-1 0 0 0,1 1 0 0 0,-1 0 0 0 0,1-1 1 0 0,0 1-1 0 0,-1 0 0 0 0,1 0 0 0 0,0 0 0 0 0,1 0 0 0 0,-1 0 0 0 0,0 0 1 0 0,1 0-1 0 0,0 0 0 0 0,0 0 0 0 0,0 6 0 0 0,0-2-231 0 0,1 1 0 0 0,0-1 1 0 0,0 0-1 0 0,0 0 0 0 0,1 0 0 0 0,0 0 0 0 0,1 0 0 0 0,0 0 0 0 0,0-1 1 0 0,0 1-1 0 0,0-1 0 0 0,1 1 0 0 0,8 9 0 0 0,-9-13 26 0 0,9 10-2144 0 0,27 24 1 0 0,-25-27 462 0 0</inkml:trace>
</inkml:ink>
</file>

<file path=ppt/ink/ink8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9.4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4 70 1348 0 0,'0'-2'193'0'0,"1"-1"1"0"0,-1 0-1 0 0,0 1 0 0 0,0-1 1 0 0,0 1-1 0 0,0-1 0 0 0,0 0 1 0 0,0 1-1 0 0,-1-1 0 0 0,1 0 1 0 0,-1 1-1 0 0,0-1 0 0 0,0 1 1 0 0,0 0-1 0 0,0-1 0 0 0,0 1 1 0 0,-1 0-1 0 0,1-1 0 0 0,-1 1 1 0 0,1 0-1 0 0,-1 0 0 0 0,0 0 1 0 0,-3-2-1 0 0,2 2-59 0 0,1 1 0 0 0,-1-1 1 0 0,0 1-1 0 0,0 0 0 0 0,0 1 0 0 0,0-1 0 0 0,0 0 0 0 0,-1 1 0 0 0,1 0 0 0 0,0-1 1 0 0,0 1-1 0 0,0 1 0 0 0,0-1 0 0 0,0 0 0 0 0,0 1 0 0 0,0-1 0 0 0,0 1 0 0 0,0 0 1 0 0,0 0-1 0 0,-5 2 0 0 0,-1 1 27 0 0,0 1 1 0 0,1 0-1 0 0,-1 0 0 0 0,1 0 1 0 0,0 1-1 0 0,0 0 0 0 0,1 1 1 0 0,0 0-1 0 0,0 0 1 0 0,1 0-1 0 0,-1 1 0 0 0,2 0 1 0 0,-1 0-1 0 0,1 1 0 0 0,0-1 1 0 0,-5 14-1 0 0,8-16-117 0 0,0 0 0 0 0,0 0 0 0 0,1 0 0 0 0,-1 0 0 0 0,1 1 0 0 0,1-1 0 0 0,-1 0 0 0 0,1 0 0 0 0,0 1 0 0 0,1-1 0 0 0,-1 0 0 0 0,1 0 0 0 0,0 0 0 0 0,1 1 0 0 0,-1-1 0 0 0,1 0 0 0 0,1-1 0 0 0,-1 1 0 0 0,1 0 0 0 0,0-1 0 0 0,0 1 0 0 0,1-1 0 0 0,-1 0 0 0 0,1 0 0 0 0,0 0 0 0 0,9 7 0 0 0,-7-6-20 0 0,1 0-1 0 0,0-1 1 0 0,1 0 0 0 0,-1-1 0 0 0,1 1-1 0 0,0-1 1 0 0,0-1 0 0 0,0 1 0 0 0,1-1-1 0 0,-1-1 1 0 0,1 0 0 0 0,-1 0 0 0 0,1-1-1 0 0,0 0 1 0 0,0 0 0 0 0,11-1 0 0 0,-10-1-24 0 0,1 0 0 0 0,-1-1 1 0 0,1 0-1 0 0,-1-1 0 0 0,0 0 0 0 0,0-1 1 0 0,0 0-1 0 0,-1-1 0 0 0,1 0 1 0 0,-1 0-1 0 0,0-1 0 0 0,0 0 1 0 0,8-8-1 0 0,5-6-16 0 0,-2-2-1 0 0,0 0 1 0 0,16-26 0 0 0,20-22 454 0 0,-56 70-429 0 0,0-1-1 0 0,0 1 0 0 0,1-1 1 0 0,-1 1-1 0 0,1 0 1 0 0,-1-1-1 0 0,0 1 0 0 0,1-1 1 0 0,-1 1-1 0 0,1 0 1 0 0,-1 0-1 0 0,1-1 0 0 0,-1 1 1 0 0,1 0-1 0 0,-1 0 1 0 0,1-1-1 0 0,-1 1 0 0 0,1 0 1 0 0,-1 0-1 0 0,1 0 1 0 0,-1 0-1 0 0,1 0 0 0 0,0 0 1 0 0,-1 0-1 0 0,1 0 1 0 0,-1 0-1 0 0,1 0 0 0 0,-1 0 1 0 0,1 0-1 0 0,-1 0 0 0 0,1 0 1 0 0,0 1-1 0 0,0 0 12 0 0,1 0 0 0 0,-1 0-1 0 0,0 0 1 0 0,0 0 0 0 0,0 0-1 0 0,0 0 1 0 0,-1 1 0 0 0,1-1-1 0 0,0 0 1 0 0,0 1 0 0 0,0 2-1 0 0,10 39 308 0 0,-11-43-324 0 0,9 62 210 0 0,6 37-107 0 0,-12-85-426 0 0,1-1-1 0 0,0 1 1 0 0,1 0 0 0 0,11 21-1 0 0,-15-32 212 0 0,1 0-1 0 0,-1-1 1 0 0,1 1 0 0 0,0 0-1 0 0,0-1 1 0 0,0 1 0 0 0,0-1-1 0 0,0 0 1 0 0,0 0 0 0 0,1 0-1 0 0,-1 0 1 0 0,1 0 0 0 0,-1 0-1 0 0,1-1 1 0 0,0 1 0 0 0,0-1-1 0 0,0 1 1 0 0,0-1-1 0 0,0 0 1 0 0,0-1 0 0 0,0 1-1 0 0,0 0 1 0 0,0-1 0 0 0,0 0-1 0 0,0 0 1 0 0,1 1 0 0 0,-1-2-1 0 0,0 1 1 0 0,0 0 0 0 0,0-1-1 0 0,0 1 1 0 0,0-1 0 0 0,0 0-1 0 0,5-2 1 0 0,0-1 19 0 0,0 0 0 0 0,0-1 0 0 0,0 1 0 0 0,-1-2 0 0 0,0 1 0 0 0,0-1 0 0 0,0 0 1 0 0,-1 0-1 0 0,0-1 0 0 0,11-14 0 0 0,-2-2 1049 0 0,19-38 0 0 0,-33 58-680 0 0,-2 13-187 0 0,0-9-76 0 0,1-1-1 0 0,0 1 0 0 0,0 0 0 0 0,0 0 1 0 0,0 0-1 0 0,0-1 0 0 0,0 1 0 0 0,0 0 0 0 0,0 0 1 0 0,0 0-1 0 0,1-1 0 0 0,-1 1 0 0 0,0 0 0 0 0,0 0 1 0 0,1-1-1 0 0,-1 1 0 0 0,0 0 0 0 0,1 0 0 0 0,-1-1 1 0 0,1 1-1 0 0,-1 0 0 0 0,2 0 0 0 0,2 3 47 0 0,0 1 0 0 0,0-1-1 0 0,1-1 1 0 0,-1 1 0 0 0,1 0-1 0 0,0-1 1 0 0,1 0-1 0 0,-1-1 1 0 0,0 1 0 0 0,1-1-1 0 0,-1 0 1 0 0,1 0 0 0 0,0 0-1 0 0,0-1 1 0 0,0 0 0 0 0,-1 0-1 0 0,1-1 1 0 0,0 0 0 0 0,0 0-1 0 0,11-1 1 0 0,-11 0-12 0 0,0 1-1 0 0,0-2 1 0 0,0 1 0 0 0,-1 0 0 0 0,1-1-1 0 0,-1 0 1 0 0,1-1 0 0 0,-1 1 0 0 0,10-7-1 0 0,-12 7-19 0 0,-1 0-1 0 0,1 0 0 0 0,0-1 0 0 0,0 0 1 0 0,-1 1-1 0 0,1-1 0 0 0,-1 0 0 0 0,0 0 1 0 0,0-1-1 0 0,0 1 0 0 0,-1 0 1 0 0,1-1-1 0 0,-1 1 0 0 0,1-1 0 0 0,-1 1 1 0 0,1-5-1 0 0,-2 6-66 0 0,0 0 0 0 0,0 0 0 0 0,0 0 0 0 0,0 0 1 0 0,0 0-1 0 0,0 0 0 0 0,-1 0 0 0 0,1 0 0 0 0,-1 0 0 0 0,1 0 0 0 0,-1 0 0 0 0,0 0 1 0 0,0 0-1 0 0,0 1 0 0 0,0-1 0 0 0,0 0 0 0 0,0 1 0 0 0,0-1 0 0 0,0 0 0 0 0,-1 1 1 0 0,1-1-1 0 0,-1 1 0 0 0,1 0 0 0 0,-1 0 0 0 0,1-1 0 0 0,-1 1 0 0 0,0 0 1 0 0,-2-1-1 0 0,-5-2-540 0 0,0 0 0 0 0,0 1 0 0 0,0-1 0 0 0,-12-1 0 0 0,16 4 203 0 0,0 0-123 0 0,0 0-1 0 0,0 0 1 0 0,0 1-1 0 0,0 0 1 0 0,0 0-1 0 0,0 0 1 0 0,-1 1 0 0 0,1 0-1 0 0,-9 2 1 0 0,12-2-517 0 0</inkml:trace>
</inkml:ink>
</file>

<file path=ppt/ink/ink8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9.9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28 120 0 0,'15'-9'1136'0'0,"0"-2"0"0"0,-1 1 0 0 0,0-2 0 0 0,16-16 0 0 0,-24 22-688 0 0,-18 24 66 0 0,10-5-202 0 0,1 0 0 0 0,0 1-1 0 0,0-1 1 0 0,1 1 0 0 0,1-1 0 0 0,0 0 0 0 0,4 15-1 0 0,-2-2 17 0 0,4 107 1124 0 0,-7-132-1483 0 0,0 0 0 0 0,0 0-1 0 0,0 0 1 0 0,0 0-1 0 0,0 0 1 0 0,-1 0 0 0 0,1 0-1 0 0,0-1 1 0 0,0 1-1 0 0,-1 0 1 0 0,1 0-1 0 0,0 0 1 0 0,-1 0 0 0 0,1 0-1 0 0,-1 0 1 0 0,0-1-1 0 0,1 1 1 0 0,-1 0 0 0 0,1 0-1 0 0,-1-1 1 0 0,-1 2-1 0 0,13-12-3422 0 0,169-73 1362 0 0,19-10 3998 0 0,-175 79-1338 0 0,-1 0-1 0 0,23-20 1 0 0,-39 29-417 0 0,-1 0 0 0 0,0-1 0 0 0,-1 1 0 0 0,0-1 0 0 0,0-1 0 0 0,0 1 0 0 0,0-1 0 0 0,-1 1 0 0 0,0-1 0 0 0,-1 0 0 0 0,5-13 0 0 0,-7 19-140 0 0,-1 0 1 0 0,0 0 0 0 0,0 0 0 0 0,1 0 0 0 0,-1 0-1 0 0,0 0 1 0 0,0 0 0 0 0,0 0 0 0 0,0 0 0 0 0,0 0-1 0 0,0 0 1 0 0,-1 0 0 0 0,1 0 0 0 0,0 0 0 0 0,0 0-1 0 0,-1 0 1 0 0,1 0 0 0 0,0 0 0 0 0,-1 0-1 0 0,1 0 1 0 0,-1 0 0 0 0,0 0 0 0 0,1 0 0 0 0,-1 1-1 0 0,0-1 1 0 0,1 0 0 0 0,-1 0 0 0 0,0 1 0 0 0,0-1-1 0 0,0 0 1 0 0,1 1 0 0 0,-1-1 0 0 0,0 1 0 0 0,0-1-1 0 0,0 1 1 0 0,0 0 0 0 0,0-1 0 0 0,0 1 0 0 0,-2-1-1 0 0,-1 1 31 0 0,0-1-1 0 0,-1 0 1 0 0,1 1-1 0 0,0 0 1 0 0,0 0-1 0 0,-1 0 0 0 0,1 1 1 0 0,-6 1-1 0 0,6-1-16 0 0,-1 0 0 0 0,1 0 0 0 0,-1 1 0 0 0,1 0 0 0 0,0 0 0 0 0,-1 0 0 0 0,1 1 0 0 0,0-1 0 0 0,1 1 0 0 0,-1 0 0 0 0,0 0 0 0 0,1 0 0 0 0,0 1-1 0 0,-1-1 1 0 0,1 1 0 0 0,1 0 0 0 0,-6 7 0 0 0,7-8-11 0 0,0 0 0 0 0,-1 1-1 0 0,1-1 1 0 0,1 0 0 0 0,-1 1-1 0 0,0-1 1 0 0,1 0 0 0 0,-1 1 0 0 0,1-1-1 0 0,0 1 1 0 0,1-1 0 0 0,-1 1-1 0 0,0-1 1 0 0,1 0 0 0 0,0 1-1 0 0,0-1 1 0 0,0 0 0 0 0,0 1 0 0 0,0-1-1 0 0,1 0 1 0 0,-1 0 0 0 0,1 0-1 0 0,0 0 1 0 0,3 4 0 0 0,4 4-178 0 0,1-1 1 0 0,1 1-1 0 0,-1-2 1 0 0,1 0-1 0 0,1 0 1 0 0,17 10-1 0 0,43 18-5675 0 0,-58-30 3371 0 0</inkml:trace>
</inkml:ink>
</file>

<file path=ppt/ink/ink8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30.5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 1576 0 0,'2'0'312'0'0,"1"-1"0"0"0,-1 1 1 0 0,0 0-1 0 0,0 0 0 0 0,1 0 0 0 0,-1 0 0 0 0,0 0 0 0 0,1 0 0 0 0,-1 1 0 0 0,0-1 1 0 0,1 1-1 0 0,-1 0 0 0 0,0-1 0 0 0,0 1 0 0 0,0 0 0 0 0,0 0 0 0 0,0 0 0 0 0,0 1 1 0 0,3 2-1 0 0,-1-1 2 0 0,-1 0 1 0 0,0 1-1 0 0,-1-1 1 0 0,1 1 0 0 0,-1 0-1 0 0,1 0 1 0 0,-1-1-1 0 0,0 2 1 0 0,2 6-1 0 0,1 6 76 0 0,-1 0 0 0 0,-1 0 0 0 0,-1 0-1 0 0,1 23 1 0 0,1 74-1315 0 0,-4-39-5551 0 0,0-64 3368 0 0</inkml:trace>
</inkml:ink>
</file>

<file path=ppt/ink/ink8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30.9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3 113 136 0 0,'-1'-4'433'0'0,"-7"-20"1095"0"0,-1 0 0 0 0,-14-27 0 0 0,22 49-1487 0 0,2 1-51 0 0,-1 1-1 0 0,1-1 1 0 0,0 0 0 0 0,-1 1 0 0 0,1-1-1 0 0,0 1 1 0 0,0-1 0 0 0,0 1 0 0 0,-1-1 0 0 0,1 1-1 0 0,0 0 1 0 0,0-1 0 0 0,0 1 0 0 0,0 0-1 0 0,0 0 1 0 0,0-1 0 0 0,0 1 0 0 0,0 0 0 0 0,0 0-1 0 0,0 0 1 0 0,1 1 0 0 0,26-1-183 0 0,-24 0 180 0 0,12 2 73 0 0,0 0 0 0 0,0 1-1 0 0,0 0 1 0 0,0 2 0 0 0,-1-1 0 0 0,1 2 0 0 0,-1 0-1 0 0,0 1 1 0 0,-1 1 0 0 0,20 13 0 0 0,-14-7 508 0 0,-1 1 0 0 0,-1 1 1 0 0,0 1-1 0 0,-1 0 0 0 0,-1 1 1 0 0,18 26-1 0 0,-23-25 531 0 0,0 0 0 0 0,-2 1 0 0 0,0 0-1 0 0,8 29 1519 0 0,-17-51-2624 0 0,-1 1-1 0 0,1-1 1 0 0,0 1 0 0 0,0-1-1 0 0,-1 1 1 0 0,1-1 0 0 0,0 0 0 0 0,1 1-1 0 0,-1-1 1 0 0,1-2 0 0 0,1-3-114 0 0,2-1 0 0 0,-1 1 0 0 0,1 0 1 0 0,0 0-1 0 0,0 0 0 0 0,1 0 0 0 0,0 1 0 0 0,0 0 1 0 0,0 0-1 0 0,1 0 0 0 0,0 1 0 0 0,0 0 0 0 0,1 0 1 0 0,0 0-1 0 0,-1 1 0 0 0,10-5 0 0 0,-14 9 112 0 0,-1-1-1 0 0,1 1 1 0 0,-1 0-1 0 0,0 0 1 0 0,1 0-1 0 0,-1 0 1 0 0,1 0-1 0 0,-1 0 0 0 0,1 0 1 0 0,-1 0-1 0 0,0 1 1 0 0,1-1-1 0 0,-1 1 1 0 0,1-1-1 0 0,-1 1 1 0 0,0-1-1 0 0,1 1 1 0 0,-1 0-1 0 0,0-1 1 0 0,0 1-1 0 0,2 1 0 0 0,20 21-133 0 0,-11-5-417 0 0,0 1-1 0 0,9 22 1 0 0,-15-26-808 0 0,2 0 0 0 0,0-1 0 0 0,0 0 0 0 0,2 0 0 0 0,15 17-1 0 0,-17-23-261 0 0</inkml:trace>
</inkml:ink>
</file>

<file path=ppt/ink/ink8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31.4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68 476 0 0,'1'-3'593'0'0,"2"-11"1899"0"0,0 1-1 0 0,2-24 1 0 0,19 82-682 0 0,16 43-1114 0 0,11 29-1541 0 0,-42-92-1574 0 0,7 31-1 0 0,-16-51 872 0 0,-2 10 134 0 0</inkml:trace>
</inkml:ink>
</file>

<file path=ppt/ink/ink8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31.78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1 102 288 0 0,'-52'-33'4384'0'0,"51"33"-4348"0"0,1 0 0 0 0,-1-1 0 0 0,1 1 0 0 0,-1 0 0 0 0,0-1 0 0 0,1 1 0 0 0,-1-1 0 0 0,1 1 0 0 0,0-1 0 0 0,-1 1 0 0 0,1-1 0 0 0,-1 0 0 0 0,1 1 0 0 0,0-1 0 0 0,-1 1 0 0 0,1-1 0 0 0,0 0-1 0 0,0 1 1 0 0,0-1 0 0 0,-1 0 0 0 0,1 1 0 0 0,0-1 0 0 0,0 0 0 0 0,0 1 0 0 0,0-1 0 0 0,0 0 0 0 0,0 0 0 0 0,1-1-7 0 0,-1 1 1 0 0,1 0-1 0 0,0 0 0 0 0,-1 0 1 0 0,1 0-1 0 0,0 0 0 0 0,0 0 1 0 0,0 0-1 0 0,-1 1 0 0 0,1-1 1 0 0,0 0-1 0 0,0 0 1 0 0,2-1-1 0 0,3-1 48 0 0,0 1 1 0 0,-1-1-1 0 0,1 1 0 0 0,9-3 1 0 0,15-2 325 0 0,-1 1 0 0 0,1 2 0 0 0,0 1 0 0 0,36 1 0 0 0,-55 2-246 0 0,0 1 1 0 0,0 0 0 0 0,-1 0 0 0 0,1 1-1 0 0,0 1 1 0 0,-1 0 0 0 0,0 0 0 0 0,1 1-1 0 0,-1 0 1 0 0,0 1 0 0 0,-1 0-1 0 0,1 0 1 0 0,-1 1 0 0 0,16 14 0 0 0,-10-4 206 0 0,0 0 1 0 0,-2 0-1 0 0,0 1 1 0 0,17 30 1418 0 0,-30-50-1801 0 0,1 0 1 0 0,-1 1-1 0 0,1-1 0 0 0,0 0 0 0 0,0 1 0 0 0,0-1 0 0 0,0 0 1 0 0,0 1-1 0 0,0 0 0 0 0,1-1 0 0 0,-1 1 0 0 0,1 0 0 0 0,0-1 1 0 0,-1 1-1 0 0,1 0 0 0 0,0 0 0 0 0,3-1 0 0 0,-2 0-11 0 0,1 0-1 0 0,0 0 1 0 0,0 0 0 0 0,0 1-1 0 0,0-1 1 0 0,1 1 0 0 0,-1 0-1 0 0,8-2 1 0 0,-7 4 9 0 0,1 0 0 0 0,-1 1 0 0 0,0-1 0 0 0,0 1 0 0 0,0 0 1 0 0,0 0-1 0 0,0 0 0 0 0,0 1 0 0 0,8 3 0 0 0,-3-1 15 0 0,13 5 40 0 0,0-2 1 0 0,48 9-1 0 0,-62-15-28 0 0,-1-1 1 0 0,1 0-1 0 0,0 0 0 0 0,-1-1 0 0 0,1 1 0 0 0,-1-2 1 0 0,1 0-1 0 0,-1 0 0 0 0,0 0 0 0 0,0-1 0 0 0,0 0 1 0 0,8-4-1 0 0,-11 4-22 0 0,-1 1 0 0 0,1-1 0 0 0,-1 0-1 0 0,1 0 1 0 0,-1 0 0 0 0,0-1 0 0 0,-1 1 0 0 0,1-1 0 0 0,0 0 0 0 0,-1 0 0 0 0,0-1 0 0 0,0 1 0 0 0,0-1-1 0 0,-1 1 1 0 0,1-1 0 0 0,-1 0 0 0 0,0 0 0 0 0,-1 0 0 0 0,1 0 0 0 0,-1 0 0 0 0,0 0 0 0 0,1-11 0 0 0,-2 15 9 0 0,0 0 0 0 0,-1 0 0 0 0,1 0 0 0 0,0 0 0 0 0,0 0 0 0 0,-1 0 0 0 0,1 0 1 0 0,-1 0-1 0 0,1 0 0 0 0,-1 0 0 0 0,1 1 0 0 0,-1-1 0 0 0,0 0 0 0 0,1 0 1 0 0,-1 0-1 0 0,0 1 0 0 0,0-1 0 0 0,1 0 0 0 0,-1 1 0 0 0,0-1 0 0 0,0 1 1 0 0,0-1-1 0 0,0 1 0 0 0,0-1 0 0 0,0 1 0 0 0,0 0 0 0 0,0-1 0 0 0,0 1 1 0 0,0 0-1 0 0,0 0 0 0 0,0 0 0 0 0,-2-1 0 0 0,-26 1-58 0 0,28 0 62 0 0,-1 1 0 0 0,1-1 0 0 0,0 1 0 0 0,-1-1 1 0 0,1 1-1 0 0,0-1 0 0 0,-1 1 0 0 0,1-1 0 0 0,0 1 1 0 0,0 0-1 0 0,0 0 0 0 0,-1 0 0 0 0,1 0 1 0 0,0 0-1 0 0,0 0 0 0 0,0 0 0 0 0,0 0 1 0 0,1 0-1 0 0,-1 0 0 0 0,0 1 0 0 0,0-1 1 0 0,0 2-1 0 0,0 0-22 0 0,-1 0 0 0 0,1 0 0 0 0,0 0 0 0 0,0 0-1 0 0,1 0 1 0 0,-1 1 0 0 0,1 3 0 0 0,0-3-82 0 0,1-1 0 0 0,-1 1-1 0 0,1 0 1 0 0,0-1 0 0 0,0 1-1 0 0,1 0 1 0 0,-1-1 0 0 0,1 0-1 0 0,0 1 1 0 0,0-1 0 0 0,0 0-1 0 0,0 0 1 0 0,0 0 0 0 0,1 0 0 0 0,-1 0-1 0 0,1-1 1 0 0,5 5 0 0 0,6 4-770 0 0,1-1 0 0 0,23 12 0 0 0,-29-16 427 0 0,9 2-303 0 0,1 0-1 0 0,-1 0 0 0 0,1-2 0 0 0,1 0 0 0 0,38 5 0 0 0,-30-7-7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3:53.1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96 1632 0 0,'8'4'520'0'0,"0"1"0"0"0,0 0 1 0 0,0 0-1 0 0,-1 1 0 0 0,1 0 0 0 0,-2 1 0 0 0,1 0 0 0 0,-1 0 0 0 0,0 0 0 0 0,0 0 0 0 0,-1 1 1 0 0,0 0-1 0 0,6 14 0 0 0,-3-4 99 0 0,-1 1 0 0 0,-1 0 0 0 0,-1 0 1 0 0,-1 0-1 0 0,3 29 0 0 0,2 173 4030 0 0,-9-193-3050 0 0,-1-27-1547 0 0,1 0 0 0 0,0 0 1 0 0,0 0-1 0 0,0-1 0 0 0,-1 1 0 0 0,1 0 0 0 0,0 0 0 0 0,-1-1 0 0 0,1 1 1 0 0,0 0-1 0 0,-1 0 0 0 0,1-1 0 0 0,-1 1 0 0 0,1 0 0 0 0,-1-1 1 0 0,0 1-1 0 0,1-1 0 0 0,-1 1 0 0 0,0-1 0 0 0,1 1 0 0 0,-1-1 1 0 0,0 1-1 0 0,0-1 0 0 0,1 0 0 0 0,-1 1 0 0 0,0-1 0 0 0,0 0 0 0 0,1 0 1 0 0,-1 1-1 0 0,0-1 0 0 0,0 0 0 0 0,0 0 0 0 0,0 0 0 0 0,0 0 1 0 0,1 0-1 0 0,-1 0 0 0 0,0 0 0 0 0,0-1 0 0 0,0 1 0 0 0,1 0 0 0 0,-1 0 1 0 0,0-1-1 0 0,0 1 0 0 0,0 0 0 0 0,1-1 0 0 0,-1 1 0 0 0,0-1 1 0 0,1 1-1 0 0,-1-1 0 0 0,0 1 0 0 0,1-1 0 0 0,-2-1 0 0 0,-2-5-59 0 0,0 0 0 0 0,1 0-1 0 0,0-1 1 0 0,0 1-1 0 0,1-1 1 0 0,0 0 0 0 0,0 0-1 0 0,1 0 1 0 0,0 0-1 0 0,0 0 1 0 0,1 0 0 0 0,1-15-1 0 0,1-11-175 0 0,13-56 0 0 0,0 23-85 0 0,44-126 0 0 0,-46 160-3 0 0,2 1 0 0 0,1 0-1 0 0,2 1 1 0 0,1 0 0 0 0,34-41 0 0 0,-47 66-55 0 0,-1 0 1 0 0,1 0-1 0 0,0 0 0 0 0,0 1 0 0 0,0-1 0 0 0,1 2 0 0 0,0-1 0 0 0,0 1 0 0 0,0 0 0 0 0,1 0 0 0 0,-1 1 0 0 0,1 0 0 0 0,0 0 0 0 0,14-2 0 0 0,-17 5-70 0 0,0-1 0 0 0,0 2 0 0 0,0-1-1 0 0,0 1 1 0 0,0-1 0 0 0,-1 1 0 0 0,1 1-1 0 0,0-1 1 0 0,-1 1 0 0 0,1 0 0 0 0,-1 0-1 0 0,1 0 1 0 0,-1 0 0 0 0,0 1 0 0 0,0-1-1 0 0,0 1 1 0 0,0 1 0 0 0,-1-1 0 0 0,1 0-1 0 0,-1 1 1 0 0,5 6 0 0 0,3 8-2610 0 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8.8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0 148 104 0 0,'-9'-19'1660'0'0,"5"1"-260"0"0,-3 4-420 0 0,3-1-116 0 0,-2 1-255 0 0,-1 3-73 0 0,3-3-168 0 0,0 2-196 0 0,-3 3-400 0 0,-4-5-953 0 0,5 6-1095 0 0</inkml:trace>
</inkml:ink>
</file>

<file path=ppt/ink/ink9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32.1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7 73 976 0 0,'-3'-7'537'0'0,"0"1"0"0"0,0-1 0 0 0,-1 0 0 0 0,1 1-1 0 0,-1 0 1 0 0,-1 0 0 0 0,1 0 0 0 0,-10-8 0 0 0,13 13-466 0 0,-1 0 0 0 0,0 0 0 0 0,0 0 1 0 0,0 0-1 0 0,0 1 0 0 0,1-1 0 0 0,-1 1 0 0 0,0-1 1 0 0,0 1-1 0 0,0 0 0 0 0,0 0 0 0 0,0 0 0 0 0,0 0 0 0 0,0 0 1 0 0,0 0-1 0 0,0 0 0 0 0,0 1 0 0 0,0-1 0 0 0,0 1 1 0 0,0-1-1 0 0,0 1 0 0 0,1 0 0 0 0,-1 0 0 0 0,0 0 1 0 0,-2 1-1 0 0,2 1 13 0 0,1 1 1 0 0,-1-1-1 0 0,1 0 1 0 0,0 1 0 0 0,0-1-1 0 0,0 1 1 0 0,0-1-1 0 0,0 1 1 0 0,1 0-1 0 0,0-1 1 0 0,0 1 0 0 0,0 0-1 0 0,0-1 1 0 0,0 1-1 0 0,1 0 1 0 0,1 6 0 0 0,4 9 186 0 0,0 0 1 0 0,9 19 0 0 0,2 6-5 0 0,-13-31-269 0 0,-1-6 111 0 0,-1 0 0 0 0,0 0 0 0 0,0 0 0 0 0,-1 0 0 0 0,1 14 0 0 0,-2-19-81 0 0,0 0 1 0 0,0 1 0 0 0,-1-1-1 0 0,1-1 1 0 0,-1 1-1 0 0,1 0 1 0 0,-1 0 0 0 0,0 0-1 0 0,0 0 1 0 0,0 0 0 0 0,0 0-1 0 0,0-1 1 0 0,0 1 0 0 0,0 0-1 0 0,0-1 1 0 0,-1 1-1 0 0,1-1 1 0 0,-1 0 0 0 0,1 1-1 0 0,-1-1 1 0 0,1 0 0 0 0,-1 0-1 0 0,0 0 1 0 0,0 0-1 0 0,1 0 1 0 0,-4 1 0 0 0,-5 2-87 0 0,0-1 1 0 0,0 0 0 0 0,0-1-1 0 0,0 1 1 0 0,-18 0 0 0 0,19-3-858 0 0,-1 0 1 0 0,1 0-1 0 0,-12-3 1 0 0,6-8-4284 0 0</inkml:trace>
</inkml:ink>
</file>

<file path=ppt/ink/ink9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32.4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21 408 0 0,'6'2'414'0'0,"-1"-1"0"0"0,1 1 0 0 0,0 1 0 0 0,-1-1 0 0 0,0 1 0 0 0,1 0 0 0 0,-1 0 0 0 0,0 0 0 0 0,-1 1 0 0 0,1 0 0 0 0,-1 0 0 0 0,1 0 0 0 0,-1 1 0 0 0,0-1 1 0 0,-1 1-1 0 0,1 0 0 0 0,-1 0 0 0 0,5 9 0 0 0,2 9 155 0 0,0 0 0 0 0,-2 0 0 0 0,7 30-1 0 0,-11-40-426 0 0,24 113 1470 0 0,-28-126-1581 0 0,0 1-1 0 0,0-1 1 0 0,1 1-1 0 0,-1-1 1 0 0,0 1-1 0 0,0-1 1 0 0,0 1-1 0 0,0 0 1 0 0,0-1-1 0 0,0 1 1 0 0,0-1-1 0 0,0 1 1 0 0,0 0-1 0 0,0-1 1 0 0,0 1-1 0 0,0-1 1 0 0,0 1-1 0 0,0 0 1 0 0,-1-1-1 0 0,1 1 1 0 0,0-1-1 0 0,0 1 1 0 0,-1-1-1 0 0,1 1 1 0 0,0-1-1 0 0,-1 1 1 0 0,1-1-1 0 0,0 1 1 0 0,-1-1-1 0 0,1 0 1 0 0,-1 1-1 0 0,1-1 1 0 0,-1 1-1 0 0,1-1 1 0 0,-1 0-1 0 0,1 0 0 0 0,-1 1 1 0 0,1-1-1 0 0,-1 0 1 0 0,1 0-1 0 0,-1 1 1 0 0,0-1-1 0 0,1 0 1 0 0,-1 0-1 0 0,1 0 1 0 0,-1 0-1 0 0,0 0 1 0 0,1 0-1 0 0,-1 0 1 0 0,1 0-1 0 0,-1 0 1 0 0,0 0-1 0 0,1-1 1 0 0,-1 1-1 0 0,1 0 1 0 0,-1 0-1 0 0,0-1 1 0 0,-2 0 53 0 0,-1 0 0 0 0,1 0 0 0 0,0-1 0 0 0,0 1 1 0 0,0-1-1 0 0,-6-3 0 0 0,4-1-25 0 0,0 0 0 0 0,1 0 0 0 0,-1-1 0 0 0,1 1 0 0 0,0-1 0 0 0,1 0 0 0 0,0 0 0 0 0,0 0-1 0 0,0 0 1 0 0,1-1 0 0 0,0 1 0 0 0,-1-9 0 0 0,0-5-89 0 0,1 1-1 0 0,1-1 0 0 0,2-26 0 0 0,1 28-32 0 0,0 0-1 0 0,1 0 1 0 0,2 0-1 0 0,0 0 0 0 0,0 0 1 0 0,2 1-1 0 0,0 0 1 0 0,2 1-1 0 0,-1-1 0 0 0,20-25 1 0 0,-21 32 30 0 0,1 1 1 0 0,0 0-1 0 0,0 1 1 0 0,1 0-1 0 0,0 0 1 0 0,1 1-1 0 0,0 0 0 0 0,0 1 1 0 0,1 0-1 0 0,0 0 1 0 0,0 1-1 0 0,1 1 1 0 0,-1 0-1 0 0,1 1 1 0 0,0 0-1 0 0,0 0 0 0 0,18-2 1 0 0,-23 6 18 0 0,0 0 1 0 0,0 0-1 0 0,0 1 1 0 0,0 0-1 0 0,0 0 0 0 0,0 0 1 0 0,0 1-1 0 0,0 0 1 0 0,0 1-1 0 0,-1-1 0 0 0,1 1 1 0 0,-1 0-1 0 0,9 6 1 0 0,-13-7 15 0 0,0-1 0 0 0,0 1 0 0 0,0-1 0 0 0,0 1 0 0 0,0 0 0 0 0,0 0 0 0 0,0-1 0 0 0,-1 1 0 0 0,1 1 0 0 0,-1-1 0 0 0,1 0 0 0 0,-1 0 0 0 0,0 0 0 0 0,0 1 0 0 0,0-1 0 0 0,0 1 0 0 0,0-1 0 0 0,-1 1 0 0 0,1-1 0 0 0,-1 1 1 0 0,0-1-1 0 0,1 1 0 0 0,-1 0 0 0 0,0-1 0 0 0,-1 1 0 0 0,1-1 0 0 0,0 1 0 0 0,-1-1 0 0 0,1 1 0 0 0,-1-1 0 0 0,0 1 0 0 0,0-1 0 0 0,0 1 0 0 0,0-1 0 0 0,0 0 0 0 0,-1 0 0 0 0,1 1 0 0 0,-1-1 0 0 0,-2 2 0 0 0,-3 5 27 0 0,0-1-1 0 0,0 0 0 0 0,-1 0 1 0 0,-1-1-1 0 0,1 0 0 0 0,-1-1 1 0 0,0 0-1 0 0,-14 7 0 0 0,-9 2-702 0 0,-43 14 1 0 0,-4 1-3741 0 0,52-17 253 0 0</inkml:trace>
</inkml:ink>
</file>

<file path=ppt/ink/ink9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32.8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6 88 940 0 0,'15'-6'1103'0'0,"-1"-1"0"0"0,1-1 0 0 0,-1-1 0 0 0,-1 0 0 0 0,24-20 0 0 0,-36 28-1064 0 0,-1 1 1 0 0,1-1-1 0 0,0 1 1 0 0,-1-1-1 0 0,1 1 0 0 0,-1-1 1 0 0,1 1-1 0 0,-1-1 0 0 0,1 0 1 0 0,-1 1-1 0 0,1-1 0 0 0,-1 0 1 0 0,0 1-1 0 0,1-1 1 0 0,-1 0-1 0 0,0 0 0 0 0,0 1 1 0 0,1-1-1 0 0,-1-1 0 0 0,0 2-13 0 0,0-1 0 0 0,-1 1-1 0 0,1 0 1 0 0,0-1-1 0 0,0 1 1 0 0,-1 0 0 0 0,1-1-1 0 0,0 1 1 0 0,-1 0-1 0 0,1 0 1 0 0,0-1 0 0 0,-1 1-1 0 0,1 0 1 0 0,0 0 0 0 0,-1 0-1 0 0,1 0 1 0 0,0-1-1 0 0,-1 1 1 0 0,1 0 0 0 0,-1 0-1 0 0,1 0 1 0 0,0 0-1 0 0,-1 0 1 0 0,1 0 0 0 0,-1 0-1 0 0,-28 3 455 0 0,17 1-366 0 0,0 2 0 0 0,0-1 0 0 0,0 2 0 0 0,1 0 0 0 0,-1 0 1 0 0,-13 12-1 0 0,18-13-49 0 0,0 1 0 0 0,0 0 1 0 0,1 0-1 0 0,0 0 0 0 0,0 0 0 0 0,1 1 1 0 0,-1 0-1 0 0,2 0 0 0 0,-6 14 0 0 0,9-21-58 0 0,0 0 1 0 0,1 1-1 0 0,-1-1 0 0 0,1 0 0 0 0,-1 0 0 0 0,1 1 0 0 0,0-1 0 0 0,0 0 0 0 0,-1 1 0 0 0,1-1 0 0 0,0 0 0 0 0,0 1 1 0 0,0-1-1 0 0,1 0 0 0 0,-1 1 0 0 0,0-1 0 0 0,0 0 0 0 0,1 1 0 0 0,-1-1 0 0 0,1 0 0 0 0,-1 1 0 0 0,1-1 1 0 0,0 0-1 0 0,-1 0 0 0 0,1 0 0 0 0,0 0 0 0 0,0 0 0 0 0,0 0 0 0 0,-1 0 0 0 0,1 0 0 0 0,0 0 0 0 0,0 0 0 0 0,1 0 1 0 0,-1 0-1 0 0,0-1 0 0 0,0 1 0 0 0,0-1 0 0 0,0 1 0 0 0,1-1 0 0 0,-1 1 0 0 0,0-1 0 0 0,1 1 0 0 0,-1-1 0 0 0,0 0 1 0 0,1 0-1 0 0,-1 0 0 0 0,2 0 0 0 0,7 1 15 0 0,-1-1 0 0 0,0 0 0 0 0,1 0 0 0 0,-1-1 0 0 0,16-4 0 0 0,87-28 189 0 0,-109 32-177 0 0,8 2-2 0 0,-10-1-29 0 0,0 0 0 0 0,0 0 0 0 0,0 0 0 0 0,0 0 0 0 0,0 0 0 0 0,0 0 0 0 0,0 0 0 0 0,0 0 0 0 0,0 0 0 0 0,0 1 0 0 0,0-1 0 0 0,0 0 0 0 0,0 1 0 0 0,-1-1 0 0 0,1 1 0 0 0,0-1 0 0 0,0 1 0 0 0,0-1-1 0 0,0 1 1 0 0,0-1 0 0 0,-1 1 0 0 0,1 0 0 0 0,0-1 0 0 0,-1 1 0 0 0,2 1 0 0 0,0 5-280 0 0,1 0 1 0 0,-1 0-1 0 0,-1 1 1 0 0,2 13-1 0 0,-2-15-362 0 0,-1 0 0 0 0,1 0 0 0 0,0 0-1 0 0,1 0 1 0 0,0-1 0 0 0,-1 1 0 0 0,2 0 0 0 0,-1-1 0 0 0,5 8-1 0 0,-1-6-950 0 0</inkml:trace>
</inkml:ink>
</file>

<file path=ppt/ink/ink9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33.3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4 282 288 0 0,'4'-9'979'0'0,"1"0"0"0"0,-2-1 0 0 0,4-11-1 0 0,-7 19-857 0 0,1 0 0 0 0,0 0 0 0 0,-1 0 0 0 0,0 0 0 0 0,1 0 0 0 0,-1 0-1 0 0,0 0 1 0 0,0 0 0 0 0,0 0 0 0 0,-1 0 0 0 0,1 0 0 0 0,0 0 0 0 0,-1 0-1 0 0,1 0 1 0 0,-1 0 0 0 0,0 0 0 0 0,1 0 0 0 0,-1 0 0 0 0,0 0 0 0 0,0 0 0 0 0,0 1-1 0 0,-2-3 1 0 0,1 3-21 0 0,1 0-1 0 0,-1 0 0 0 0,0 0 1 0 0,0 0-1 0 0,1 1 1 0 0,-1-1-1 0 0,0 0 0 0 0,0 1 1 0 0,0 0-1 0 0,0-1 0 0 0,0 1 1 0 0,0 0-1 0 0,1 0 1 0 0,-1 0-1 0 0,-3 0 0 0 0,-28 6 610 0 0,27-4-617 0 0,-1 0 0 0 0,1 1 0 0 0,0 0 0 0 0,0 0 0 0 0,0 0 0 0 0,0 1 0 0 0,1 0 0 0 0,-1 0 0 0 0,1 0 0 0 0,0 1 0 0 0,0 0 0 0 0,0 0 0 0 0,1 0 0 0 0,-5 8 0 0 0,7-11-78 0 0,1 1 0 0 0,-1-1 0 0 0,1 1 0 0 0,0-1 0 0 0,0 1 0 0 0,0 0 0 0 0,0-1 0 0 0,0 1 0 0 0,0 0 0 0 0,1 0 0 0 0,-1 0 0 0 0,1 0 0 0 0,0-1 0 0 0,0 1 0 0 0,0 0 0 0 0,0 0 0 0 0,1 0 0 0 0,-1 0 0 0 0,1 0 0 0 0,0-1 0 0 0,0 1 0 0 0,-1 0 0 0 0,2-1 0 0 0,-1 1 0 0 0,0 0 0 0 0,1-1 0 0 0,-1 0 0 0 0,1 1 0 0 0,0-1 0 0 0,-1 0 0 0 0,1 0 0 0 0,0 0 0 0 0,0 0 0 0 0,1 0 0 0 0,2 2 0 0 0,1 0-54 0 0,0 0-1 0 0,1-1 0 0 0,-1 0 1 0 0,1 0-1 0 0,-1-1 0 0 0,1 1 1 0 0,0-2-1 0 0,0 1 0 0 0,14 1 1 0 0,-7-2-204 0 0,-1 0 0 0 0,1-1 0 0 0,0-1 1 0 0,17-3-1 0 0,-15 1 54 0 0,0-1-1 0 0,0-1 1 0 0,-1 0 0 0 0,1-1 0 0 0,-1-1-1 0 0,0-1 1 0 0,-1 0 0 0 0,23-17 0 0 0,-14 7 148 0 0,0-2 0 0 0,-2 0 0 0 0,0-2 1 0 0,18-25-1 0 0,-16 19 118 0 0,-21 26 166 0 0,50-9 1549 0 0,-38 8-1704 0 0,0 0 0 0 0,0-1 0 0 0,0-1 0 0 0,19-8 0 0 0,-26 10-55 0 0,-1 0 0 0 0,0-1 0 0 0,1 1 0 0 0,-1-1 0 0 0,-1-1 0 0 0,1 1 0 0 0,-1-1 0 0 0,0 0 0 0 0,0 0 0 0 0,0 0 0 0 0,6-11 0 0 0,-10 16-28 0 0,0-1 0 0 0,-1 0 1 0 0,1 1-1 0 0,-1-1 0 0 0,0 0 1 0 0,1 0-1 0 0,-1 0 0 0 0,0 0 1 0 0,1 1-1 0 0,-1-1 1 0 0,0 0-1 0 0,0 0 0 0 0,0 0 1 0 0,0 0-1 0 0,0 0 0 0 0,0 0 1 0 0,0 1-1 0 0,0-1 0 0 0,0 0 1 0 0,0 0-1 0 0,0 0 0 0 0,0 0 1 0 0,-1 0-1 0 0,1 1 0 0 0,0-1 1 0 0,-1 0-1 0 0,1 0 1 0 0,0 0-1 0 0,-1 1 0 0 0,1-1 1 0 0,-1 0-1 0 0,0 0 0 0 0,1 1 1 0 0,-1-1-1 0 0,1 1 0 0 0,-2-2 1 0 0,-1 1 17 0 0,0-1-1 0 0,1 1 1 0 0,-1 0 0 0 0,0 0 0 0 0,1 1 0 0 0,-1-1 0 0 0,0 1-1 0 0,0-1 1 0 0,-5 1 0 0 0,-1 0 107 0 0,-1 1 0 0 0,1 0 0 0 0,0 0 0 0 0,-1 1 0 0 0,1 0 0 0 0,0 1 0 0 0,0 0 0 0 0,-9 5 0 0 0,1 0 209 0 0,0 1-1 0 0,-30 22 1 0 0,39-25-144 0 0,0 0-1 0 0,1 0 0 0 0,-1 1 1 0 0,2 0-1 0 0,-1 1 0 0 0,1-1 1 0 0,0 1-1 0 0,-8 13 1 0 0,13-17-133 0 0,-1-1 0 0 0,1 0 0 0 0,0 1 1 0 0,0-1-1 0 0,0 0 0 0 0,0 1 1 0 0,0-1-1 0 0,1 1 0 0 0,0 0 0 0 0,-1-1 1 0 0,2 1-1 0 0,-1-1 0 0 0,0 1 1 0 0,1 0-1 0 0,-1-1 0 0 0,1 1 0 0 0,0-1 1 0 0,0 0-1 0 0,0 1 0 0 0,1-1 1 0 0,-1 0-1 0 0,1 1 0 0 0,0-1 0 0 0,0 0 1 0 0,0 0-1 0 0,3 3 0 0 0,3 3-129 0 0,1 0 0 0 0,0-1 0 0 0,1 0 0 0 0,0-1 0 0 0,0 0 0 0 0,1 0 0 0 0,20 9 0 0 0,85 29-4923 0 0,-98-39 3665 0 0,7 2-1788 0 0,0-3-1003 0 0</inkml:trace>
</inkml:ink>
</file>

<file path=ppt/ink/ink9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0.5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71 792 0 0,'0'-26'4753'0'0,"-3"-17"-1142"0"0,2 42-3387 0 0,6 45-74 0 0,-5-39-142 0 0,1 1 1 0 0,0-1-1 0 0,0-1 1 0 0,0 1-1 0 0,1 0 1 0 0,0 0-1 0 0,0 0 1 0 0,0-1-1 0 0,0 1 1 0 0,1-1-1 0 0,0 0 1 0 0,0 1 0 0 0,0-1-1 0 0,0 0 1 0 0,1-1-1 0 0,-1 1 1 0 0,6 3-1 0 0,-2-2 4 0 0,0-1 0 0 0,0 0 0 0 0,0 0-1 0 0,1 0 1 0 0,0-1 0 0 0,0 0 0 0 0,0-1 0 0 0,0 0-1 0 0,0 0 1 0 0,10 0 0 0 0,88 7 68 0 0,193-11 0 0 0,-146-2-85 0 0,536 15 46 0 0,0 26-22 0 0,450-15-495 0 0,-970-23 468 0 0,490 19 26 0 0,-341-7-11 0 0,-286-10-6 0 0,461 2 241 0 0,-465-4 245 0 0,36-5 1607 0 0,-62 6-2003 0 0,0 0 1 0 0,0-1-1 0 0,0 1 0 0 0,0-1 0 0 0,0 1 1 0 0,0-1-1 0 0,0 0 0 0 0,-1 0 0 0 0,1 0 1 0 0,0 0-1 0 0,0 0 0 0 0,-1 0 0 0 0,1 0 1 0 0,-1-1-1 0 0,1 1 0 0 0,-1 0 0 0 0,0-1 1 0 0,1 0-1 0 0,1-2 0 0 0,-2 1 24 0 0,0 1 0 0 0,0-1 0 0 0,0 0 0 0 0,0 0 0 0 0,-1 0 0 0 0,1 0 0 0 0,-1 0 0 0 0,0 0 1 0 0,0 1-1 0 0,0-1 0 0 0,0-6 0 0 0,-2-2-217 0 0,-1 1-1 0 0,0-1 1 0 0,0 0 0 0 0,-1 1 0 0 0,-6-14 0 0 0,10 23-80 0 0,-1 0-1 0 0,0 0 0 0 0,1 1 1 0 0,-1-1-1 0 0,0 0 1 0 0,0 0-1 0 0,1 0 1 0 0,-1 0-1 0 0,0 1 1 0 0,0-1-1 0 0,0 0 1 0 0,0 1-1 0 0,0-1 1 0 0,0 1-1 0 0,0-1 1 0 0,0 1-1 0 0,0-1 1 0 0,0 1-1 0 0,-1-1 1 0 0,-25 4-8750 0 0</inkml:trace>
</inkml:ink>
</file>

<file path=ppt/ink/ink9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1.7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 41 16 0 0,'0'-3'2114'0'0,"0"-23"1557"0"0,0 24-2997 0 0,0-7 1153 0 0,-7 46-610 0 0,2 0-1 0 0,-1 67 0 0 0,12 78-1048 0 0,-4-143-97 0 0,7 32-2243 0 0,-4-43-1301 0 0</inkml:trace>
</inkml:ink>
</file>

<file path=ppt/ink/ink9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2.1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7 13 932 0 0,'-2'-2'709'0'0,"-2"1"-515"0"0,0-1 0 0 0,1 0-1 0 0,-1 1 1 0 0,0 0 0 0 0,0 0-1 0 0,0 0 1 0 0,0 0 0 0 0,0 1-1 0 0,0-1 1 0 0,-1 1-1 0 0,-4 1 1 0 0,6-1-83 0 0,-1 1 0 0 0,1 0 0 0 0,-1 0 0 0 0,1 0 0 0 0,-1 1 0 0 0,1-1 1 0 0,0 1-1 0 0,0 0 0 0 0,0 0 0 0 0,0 0 0 0 0,0 0 0 0 0,0 1 0 0 0,0-1 0 0 0,1 1 0 0 0,-1-1 0 0 0,1 1 0 0 0,-3 4 0 0 0,3-3 61 0 0,0 0 0 0 0,0 1-1 0 0,0-1 1 0 0,0 1-1 0 0,1-1 1 0 0,0 1 0 0 0,0 0-1 0 0,0 0 1 0 0,1-1 0 0 0,-1 1-1 0 0,2 9 1 0 0,-1-6 11 0 0,1 0 1 0 0,0-1-1 0 0,1 1 1 0 0,0-1 0 0 0,0 0-1 0 0,0 0 1 0 0,1 0-1 0 0,0 0 1 0 0,1 0-1 0 0,-1 0 1 0 0,1-1-1 0 0,0 1 1 0 0,1-1-1 0 0,0 0 1 0 0,0-1 0 0 0,0 1-1 0 0,6 4 1 0 0,1-2 25 0 0,1-1 0 0 0,-1 0 0 0 0,1 0 0 0 0,1-2 0 0 0,-1 0-1 0 0,1 0 1 0 0,-1-1 0 0 0,1-1 0 0 0,1 0 0 0 0,-1-1 0 0 0,0 0 0 0 0,0-1 0 0 0,1-1 0 0 0,21-2 0 0 0,-24 1-62 0 0,0-1-1 0 0,-1 0 1 0 0,0 0-1 0 0,1-1 1 0 0,-1-1 0 0 0,0 0-1 0 0,-1 0 1 0 0,1-1-1 0 0,-1-1 1 0 0,0 1-1 0 0,0-2 1 0 0,-1 1 0 0 0,1-1-1 0 0,-1-1 1 0 0,-1 0-1 0 0,0 0 1 0 0,0 0-1 0 0,9-14 1 0 0,-8 8-70 0 0,0-1 1 0 0,-1-1-1 0 0,9-22 0 0 0,-8 1-2538 0 0,-9 37 2359 0 0,0 0 1 0 0,0-1 0 0 0,0 1 0 0 0,0 0 0 0 0,0-1-1 0 0,0 1 1 0 0,0 0 0 0 0,0 0 0 0 0,0-1-1 0 0,0 1 1 0 0,0 0 0 0 0,0-1 0 0 0,0 1-1 0 0,0 0 1 0 0,0-1 0 0 0,0 1 0 0 0,0 0-1 0 0,0 0 1 0 0,0-1 0 0 0,0 1 0 0 0,0 0-1 0 0,-1 0 1 0 0,1-1 0 0 0,0 1 0 0 0,0 0-1 0 0,-2-2-910 0 0,1 2 911 0 0,1 0 0 0 0,0 0-1 0 0,-1 0 1 0 0,1 0 0 0 0,0-1 0 0 0,0 1-1 0 0,-1 0 1 0 0,1 0 0 0 0,0 0 0 0 0,-1 0-1 0 0,1 0 1 0 0,0 0 0 0 0,-1 1 0 0 0,-11 3-3661 0 0,11-4 3799 0 0,-10 6-3941 0 0</inkml:trace>
</inkml:ink>
</file>

<file path=ppt/ink/ink9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2.6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 25 1308 0 0,'-4'-5'1060'0'0,"2"2"-651"0"0,1 1 1 0 0,-1 0-1 0 0,0 0 0 0 0,0 0 0 0 0,0 0 0 0 0,0 0 0 0 0,-4-2 0 0 0,5 4-358 0 0,1 0 1 0 0,-1 0 0 0 0,0 0 0 0 0,1 0-1 0 0,-1-1 1 0 0,1 1 0 0 0,-1 0 0 0 0,0 1 0 0 0,1-1-1 0 0,-1 0 1 0 0,0 0 0 0 0,1 0 0 0 0,-1 0-1 0 0,1 0 1 0 0,-1 1 0 0 0,0-1 0 0 0,1 0-1 0 0,-1 0 1 0 0,1 1 0 0 0,-1-1 0 0 0,1 1 0 0 0,-1-1-1 0 0,1 0 1 0 0,-1 1 0 0 0,1-1 0 0 0,-1 1-1 0 0,1-1 1 0 0,0 1 0 0 0,-1-1 0 0 0,1 1-1 0 0,0-1 1 0 0,-1 1 0 0 0,1 0 0 0 0,0-1 0 0 0,0 1-1 0 0,0-1 1 0 0,-1 1 0 0 0,1 0 0 0 0,0 0-1 0 0,-7 17 696 0 0,1 0-1 0 0,0 1 1 0 0,2-1-1 0 0,-5 35 0 0 0,1 80 132 0 0,7-91-663 0 0,3 93 38 0 0,1-41-4616 0 0,-3-94 4232 0 0,0 1-1 0 0,0-1 0 0 0,0 0 1 0 0,0 1-1 0 0,0-1 1 0 0,0 1-1 0 0,0-1 1 0 0,0 0-1 0 0,-1 1 1 0 0,1-1-1 0 0,0 0 0 0 0,0 1 1 0 0,0-1-1 0 0,-1 0 1 0 0,1 1-1 0 0,0-1 1 0 0,-2 2-659 0 0,2-2 659 0 0,-1 0-1 0 0,1 0 1 0 0,0 0-1 0 0,-1 1 0 0 0</inkml:trace>
</inkml:ink>
</file>

<file path=ppt/ink/ink9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3.3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8 207 848 0 0,'-80'-59'5717'0'0,"79"59"-5693"0"0,1 0-1 0 0,-1 0 1 0 0,1-1-1 0 0,-1 1 1 0 0,1 0 0 0 0,-1-1-1 0 0,1 1 1 0 0,-1-1-1 0 0,1 1 1 0 0,0-1-1 0 0,-1 1 1 0 0,1-1-1 0 0,0 1 1 0 0,-1-1 0 0 0,1 1-1 0 0,0-1 1 0 0,0 1-1 0 0,0-1 1 0 0,-1 1-1 0 0,1-1 1 0 0,0 1-1 0 0,0-1 1 0 0,0 0 0 0 0,0 1-1 0 0,0-1 1 0 0,0 1-1 0 0,0-1 1 0 0,0 1-1 0 0,0-1 1 0 0,0 0-1 0 0,1 1 1 0 0,-1-1 0 0 0,0 1-1 0 0,0-1 1 0 0,0 1-1 0 0,1-1 1 0 0,-1 1-1 0 0,0-1 1 0 0,1 1-1 0 0,-1-1 1 0 0,0 1 0 0 0,1-1-1 0 0,-1 1 1 0 0,1 0-1 0 0,-1-1 1 0 0,1 1-1 0 0,-1-1 1 0 0,1 1-1 0 0,2-3 36 0 0,0 1 0 0 0,0 0 0 0 0,0 0 0 0 0,0 1 0 0 0,0-1 0 0 0,5-1 0 0 0,28-8 231 0 0,0 2 0 0 0,66-8 0 0 0,78 4 130 0 0,-107 9-229 0 0,263-25 3697 0 0,-323 27-3532 0 0,1 0 0 0 0,-1-1 1 0 0,18-7-1 0 0,-30 10-351 0 0,45-10 92 0 0,-44 10-142 0 0,3 3-9 0 0,-4-3 54 0 0,-1 0-1 0 0,1 0 0 0 0,-1 0 1 0 0,1 1-1 0 0,-1-1 0 0 0,1 0 0 0 0,-1 0 1 0 0,1 0-1 0 0,-1 0 0 0 0,0 1 0 0 0,1-1 1 0 0,-1 0-1 0 0,1 0 0 0 0,-1 1 1 0 0,1-1-1 0 0,-1 0 0 0 0,0 1 0 0 0,1-1 1 0 0,-1 1-1 0 0,0-1 0 0 0,0 0 0 0 0,1 2 1 0 0,9 23-24 0 0,-2 0 1 0 0,-1 1-1 0 0,8 49 1 0 0,-2 84-76 0 0,-16-82 1498 0 0,0-19-158 0 0,3-56-624 0 0,-6 6 439 0 0,1-7-669 0 0,2-10-84 0 0,4 1-387 0 0,0 1 0 0 0,0-1 0 0 0,0 1 0 0 0,1 0 0 0 0,0 0 0 0 0,0 0 0 0 0,1 0-1 0 0,0 0 1 0 0,0 0 0 0 0,1 1 0 0 0,0-1 0 0 0,0 1 0 0 0,0 0 0 0 0,7-6 0 0 0,-5 5-13 0 0,0 1-1 0 0,1-1 1 0 0,0 2-1 0 0,0-1 1 0 0,0 1 0 0 0,1 0-1 0 0,-1 0 1 0 0,1 1 0 0 0,0 0-1 0 0,1 0 1 0 0,11-3 0 0 0,-15 6 76 0 0,-1 1 1 0 0,1-1-1 0 0,0 1 1 0 0,0 0-1 0 0,-1 0 1 0 0,1 1-1 0 0,0 0 1 0 0,-1-1 0 0 0,1 1-1 0 0,0 1 1 0 0,-1-1-1 0 0,1 1 1 0 0,-1 0-1 0 0,0 0 1 0 0,1 0-1 0 0,-1 0 1 0 0,0 1 0 0 0,4 3-1 0 0,1 1 15 0 0,-1 0 1 0 0,1 1-1 0 0,-2 0 0 0 0,1 0 1 0 0,-1 0-1 0 0,9 15 1 0 0,-8-10-51 0 0,-1 1 1 0 0,0-1-1 0 0,-1 2 1 0 0,-1-1 0 0 0,0 0-1 0 0,5 24 1 0 0,-9-27-646 0 0,1-1 1 0 0,-2 0 0 0 0,1 0 0 0 0,-1 1-1 0 0,-1-1 1 0 0,-2 13 0 0 0,0-11-1197 0 0</inkml:trace>
</inkml:ink>
</file>

<file path=ppt/ink/ink9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3.6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41 16 0 0,'27'-56'8817'0'0,"-26"54"-8222"0"0,0 2-503 0 0,-1-1 1 0 0,1 1 0 0 0,-1-1 0 0 0,1 1-1 0 0,0 0 1 0 0,-1-1 0 0 0,1 1 0 0 0,-1 0 0 0 0,1 0-1 0 0,0 0 1 0 0,-1-1 0 0 0,1 1 0 0 0,0 0 0 0 0,-1 0-1 0 0,1 0 1 0 0,0 0 0 0 0,4 4 37 0 0,-1 1-1 0 0,0 0 1 0 0,-1 0-1 0 0,1 0 1 0 0,-1 0-1 0 0,0 0 1 0 0,0 1-1 0 0,-1-1 1 0 0,1 1-1 0 0,-1 0 1 0 0,-1 0-1 0 0,3 10 1 0 0,0 10-972 0 0,0 46 1 0 0,0-5-4793 0 0,-2-51 2666 0 0</inkml:trace>
  <inkml:trace contextRef="#ctx0" brushRef="#br0" timeOffset="1">64 78 272 0 0,'-4'-16'844'0'0,"0"1"-356"0"0,4 4-8 0 0,-4 1-316 0 0,2 1-144 0 0,-6-8-1252 0 0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29.1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1 71 1348 0 0,'3'-2'1416'0'0,"1"1"-1078"0"0,-1-1 1 0 0,0 0 0 0 0,0 0 0 0 0,0 0 0 0 0,0 0 0 0 0,0 0-1 0 0,0-1 1 0 0,-1 1 0 0 0,1-1 0 0 0,-1 0 0 0 0,1 0 0 0 0,-1 0 0 0 0,0 0-1 0 0,0 0 1 0 0,-1 0 0 0 0,1 0 0 0 0,-1-1 0 0 0,1 1 0 0 0,-1-1-1 0 0,0 1 1 0 0,0-1 0 0 0,0-4 0 0 0,-6 9-214 0 0,4-1-121 0 0,0-1-1 0 0,1 1 1 0 0,-1 0 0 0 0,0 0-1 0 0,0 0 1 0 0,1 0-1 0 0,-1 1 1 0 0,0-1-1 0 0,1 0 1 0 0,-1 0-1 0 0,0 0 1 0 0,1 0 0 0 0,-1 1-1 0 0,0-1 1 0 0,1 0-1 0 0,-1 1 1 0 0,-1 0-1 0 0,0 3 4 0 0,0-1 0 0 0,0 1 1 0 0,1 1-1 0 0,-1-1 0 0 0,1 0 0 0 0,0 0 0 0 0,0 0 0 0 0,0 1 0 0 0,1-1 0 0 0,-1 0 0 0 0,1 1 0 0 0,0-1 0 0 0,0 1 0 0 0,1-1 0 0 0,-1 0 0 0 0,1 1 0 0 0,0-1 0 0 0,0 0 1 0 0,1 0-1 0 0,-1 0 0 0 0,3 4 0 0 0,6 14-7 0 0,0 0 1 0 0,22 32-1 0 0,-21-37 17 0 0,3 6 163 0 0,-1 2 0 0 0,13 32 0 0 0,-25-55-155 0 0,-1 0-1 0 0,0 0 1 0 0,0 0 0 0 0,0 0 0 0 0,0 0 0 0 0,0-1 0 0 0,0 1 0 0 0,0 0-1 0 0,0 0 1 0 0,-1 0 0 0 0,1 0 0 0 0,-1 0 0 0 0,1-1 0 0 0,-1 1-1 0 0,0 0 1 0 0,0 0 0 0 0,0-1 0 0 0,0 1 0 0 0,0-1 0 0 0,0 1 0 0 0,0-1-1 0 0,-1 1 1 0 0,-1 1 0 0 0,2-1-2 0 0,0-2-9 0 0,-1 1 1 0 0,1 0-1 0 0,0 0 0 0 0,-1 0 1 0 0,1-1-1 0 0,-1 1 0 0 0,1 0 0 0 0,0-1 1 0 0,-1 0-1 0 0,1 1 0 0 0,-1-1 1 0 0,1 0-1 0 0,-1 0 0 0 0,0 0 0 0 0,1 0 1 0 0,-1 0-1 0 0,1 0 0 0 0,-3 0 1 0 0,-24-7 47 0 0,21 3-111 0 0,0 0 0 0 0,0-1-1 0 0,1 0 1 0 0,0 0 0 0 0,-1 0 0 0 0,2-1 0 0 0,-1 0-1 0 0,1 0 1 0 0,0 0 0 0 0,0-1 0 0 0,0 0 0 0 0,-6-13-1 0 0,7 12 20 0 0,-23-41 228 0 0,26 47-76 0 0,-4 3-12 0 0,4-1-102 0 0,1 0-1 0 0,-1 0 1 0 0,1 0-1 0 0,0 0 1 0 0,-1 0 0 0 0,1 0-1 0 0,-1 0 1 0 0,1 0 0 0 0,-1 0-1 0 0,1 0 1 0 0,-1 0-1 0 0,1 0 1 0 0,-1 0 0 0 0,1 0-1 0 0,0 1 1 0 0,-1-1-1 0 0,1 0 1 0 0,-1 0 0 0 0,1 0-1 0 0,-1 1 1 0 0,1-1 0 0 0,0 0-1 0 0,-1 1 1 0 0,-75 115-341 0 0,28-34-4336 0 0,39-68 3190 0 0,-4 9-1992 0 0</inkml:trace>
</inkml:ink>
</file>

<file path=ppt/ink/ink9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4.0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33 932 0 0,'3'-1'1197'0'0,"6"-1"106"0"0,-1-1 0 0 0,1 0 1 0 0,14-9-1 0 0,-21 11-792 0 0,18-10 1562 0 0,-23 13-2078 0 0,1-1 0 0 0,-1 1 1 0 0,1 0-1 0 0,0 0 0 0 0,-1 0 0 0 0,1 0 0 0 0,0 1 0 0 0,0-1 0 0 0,1 0 0 0 0,-1 1 0 0 0,0-1 0 0 0,1 1 0 0 0,0 0 1 0 0,-1 0-1 0 0,1-1 0 0 0,0 1 0 0 0,-1 5 0 0 0,2-4 21 0 0,0 1 0 0 0,-1 0 0 0 0,2-1 1 0 0,-1 1-1 0 0,0-1 0 0 0,1 1 0 0 0,0 0 0 0 0,0-1 1 0 0,0 1-1 0 0,3 5 0 0 0,5 9 80 0 0,1-1-1 0 0,0-1 1 0 0,1 0 0 0 0,17 19-1 0 0,-22-28-77 0 0,1 2 53 0 0,0-1 1 0 0,0 1-1 0 0,-1 0 1 0 0,0 1-1 0 0,-1 0 1 0 0,7 17-1 0 0,-12-27-49 0 0,0 0 0 0 0,0 0 0 0 0,0 0 0 0 0,0 0 0 0 0,-1 0 0 0 0,1 0 0 0 0,0 0 0 0 0,0 0 0 0 0,-1 0 0 0 0,1 0 0 0 0,0 0 0 0 0,-1 0 0 0 0,1-1 0 0 0,-1 1 0 0 0,0 0 0 0 0,1 0 0 0 0,-1 0 0 0 0,0 0 0 0 0,1-1-1 0 0,-1 1 1 0 0,0 0 0 0 0,-1 0 0 0 0,0 1 8 0 0,1-1 0 0 0,-1 0 0 0 0,0 0-1 0 0,1 0 1 0 0,-1 0 0 0 0,0-1 0 0 0,0 1 0 0 0,0 0-1 0 0,1-1 1 0 0,-1 1 0 0 0,0-1 0 0 0,-3 1-1 0 0,-5-2-77 0 0,0 0 0 0 0,1-1 0 0 0,-1 0 0 0 0,0 0 0 0 0,1-1 0 0 0,0-1 0 0 0,-1 1-1 0 0,-15-10 1 0 0,18 9-603 0 0,0 0-1 0 0,1-1 0 0 0,0 1 1 0 0,-1-1-1 0 0,2-1 1 0 0,-1 1-1 0 0,-6-9 1 0 0,7 5-1238 0 0,1-1-77 0 0</inkml:trace>
</inkml:ink>
</file>

<file path=ppt/ink/ink9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4.3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0 1 188 0 0,'0'0'5052'0'0,"-4"10"-4483"0"0,-10 3-341 0 0,8-4-24 0 0,-4 2-20 0 0,4 0-44 0 0,-6 5-420 0 0,2-4-420 0 0,2 5-1069 0 0,-2-5 357 0 0</inkml:trace>
</inkml:ink>
</file>

<file path=ppt/ink/ink9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4.8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48 712 0 0,'-7'-48'8669'0'0,"8"51"-7692"0"0,6 22-199 0 0,10 36-111 0 0,-2 1 0 0 0,-3 0 1 0 0,5 100-1 0 0,-15-123-1115 0 0,-2-6-1987 0 0,8 45 0 0 0,-5-67-1084 0 0</inkml:trace>
</inkml:ink>
</file>

<file path=ppt/ink/ink9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5.1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556 0 0,'0'0'1432'0'0,"1"1"-1277"0"0,0 0 0 0 0,0-1-1 0 0,0 1 1 0 0,0 0 0 0 0,-1 0-1 0 0,1-1 1 0 0,0 1 0 0 0,0 0-1 0 0,-1 0 1 0 0,1 0 0 0 0,-1 0-1 0 0,1 1 1 0 0,3 50 1934 0 0,-4-36-1522 0 0,1 0-1 0 0,0 0 1 0 0,1 0 0 0 0,7 24 0 0 0,-8-36-480 0 0,1 1 0 0 0,0-1 0 0 0,0 0 0 0 0,0 0 0 0 0,1 0 1 0 0,-1 0-1 0 0,1 0 0 0 0,0 0 0 0 0,0-1 0 0 0,0 1 0 0 0,1-1 0 0 0,-1 0 0 0 0,1 0 0 0 0,-1 0 0 0 0,1 0 0 0 0,0-1 0 0 0,0 0 0 0 0,1 0 0 0 0,-1 0 0 0 0,6 2 0 0 0,-4-2-11 0 0,0-1-1 0 0,0 0 1 0 0,0 0-1 0 0,0 0 1 0 0,1-1-1 0 0,-1 0 0 0 0,0 0 1 0 0,0-1-1 0 0,0 0 1 0 0,0 0-1 0 0,0 0 1 0 0,0-1-1 0 0,0 0 1 0 0,0 0-1 0 0,0 0 0 0 0,-1-1 1 0 0,1 1-1 0 0,-1-2 1 0 0,0 1-1 0 0,0 0 1 0 0,0-1-1 0 0,0 0 1 0 0,-1 0-1 0 0,8-9 1 0 0,-8 9-52 0 0,-1 0 1 0 0,0 0 0 0 0,0 0 0 0 0,0 0 0 0 0,0-1 0 0 0,-1 0-1 0 0,1 0 1 0 0,-1 1 0 0 0,0-1 0 0 0,-1 0 0 0 0,1-1 0 0 0,-1 1 0 0 0,0 0-1 0 0,0 0 1 0 0,-1 0 0 0 0,0-1 0 0 0,0 1 0 0 0,0 0 0 0 0,0-1 0 0 0,-1 1-1 0 0,0 0 1 0 0,0 0 0 0 0,0 0 0 0 0,-1 0 0 0 0,1 0 0 0 0,-1 0 0 0 0,-1 0-1 0 0,-4-9 1 0 0,4 11-76 0 0,1-1 0 0 0,-1 1-1 0 0,0 0 1 0 0,0 0 0 0 0,0 0-1 0 0,-1 1 1 0 0,1-1 0 0 0,0 1-1 0 0,-1 0 1 0 0,0 0 0 0 0,0 0 0 0 0,1 0-1 0 0,-1 1 1 0 0,0-1 0 0 0,0 1-1 0 0,0 0 1 0 0,-1 0 0 0 0,1 1-1 0 0,0-1 1 0 0,0 1 0 0 0,0 0 0 0 0,-1 0-1 0 0,1 0 1 0 0,0 1 0 0 0,-6 0-1 0 0,0 1-720 0 0,0 1 0 0 0,1 0 0 0 0,-1 0-1 0 0,0 1 1 0 0,1 0 0 0 0,0 0 0 0 0,0 1 0 0 0,0 0-1 0 0,-11 10 1 0 0,11-6-1125 0 0</inkml:trace>
</inkml:ink>
</file>

<file path=ppt/ink/ink9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5.5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7 96 256 0 0,'5'-3'420'0'0,"-1"0"0"0"0,0-1-1 0 0,0 1 1 0 0,0-1 0 0 0,-1 0-1 0 0,1 0 1 0 0,-1 0 0 0 0,0-1 0 0 0,0 1-1 0 0,0-1 1 0 0,-1 0 0 0 0,1 1 0 0 0,-1-1-1 0 0,0-1 1 0 0,-1 1 0 0 0,1 0 0 0 0,0-6-1 0 0,-2 10-404 0 0,-1 0-1 0 0,1 1 0 0 0,0-1 0 0 0,-1 0 1 0 0,1 1-1 0 0,-1-1 0 0 0,1 1 0 0 0,-1-1 1 0 0,1 0-1 0 0,-1 1 0 0 0,1-1 1 0 0,-1 1-1 0 0,1-1 0 0 0,-1 1 0 0 0,0 0 1 0 0,1-1-1 0 0,-1 1 0 0 0,0 0 0 0 0,0-1 1 0 0,1 1-1 0 0,-1 0 0 0 0,0 0 0 0 0,1 0 1 0 0,-1-1-1 0 0,0 1 0 0 0,0 0 0 0 0,0 0 1 0 0,1 0-1 0 0,-1 0 0 0 0,0 0 0 0 0,0 1 1 0 0,1-1-1 0 0,-1 0 0 0 0,0 0 1 0 0,-1 1-1 0 0,-2 1 1 0 0,1 1-1 0 0,-1-1 1 0 0,0 1 0 0 0,1 0 0 0 0,0 0 0 0 0,0 0-1 0 0,0 1 1 0 0,0-1 0 0 0,0 1 0 0 0,1-1 0 0 0,0 1-1 0 0,-1 0 1 0 0,1 0 0 0 0,1 0 0 0 0,-1 0 0 0 0,0 1-1 0 0,1-1 1 0 0,0 0 0 0 0,0 1 0 0 0,1-1-1 0 0,-1 0 1 0 0,1 1 0 0 0,0-1 0 0 0,0 1 0 0 0,1 8-1 0 0,2 3 108 0 0,1 1 0 0 0,0-1 1 0 0,1 0-1 0 0,1 0 0 0 0,12 24 0 0 0,-15-35-72 0 0,1 4 133 0 0,0-1 1 0 0,0 1-1 0 0,-1 0 1 0 0,3 12-1 0 0,-6-20-156 0 0,-1 0-1 0 0,1 0 1 0 0,0 0 0 0 0,0 0 0 0 0,-1-1-1 0 0,1 1 1 0 0,0 0 0 0 0,-1 0 0 0 0,1 0-1 0 0,-1-1 1 0 0,1 1 0 0 0,-1 0 0 0 0,1-1-1 0 0,-1 1 1 0 0,0 0 0 0 0,1-1 0 0 0,-1 1-1 0 0,0-1 1 0 0,0 1 0 0 0,1-1 0 0 0,-1 1-1 0 0,0-1 1 0 0,0 1 0 0 0,0-1 0 0 0,1 0-1 0 0,-1 0 1 0 0,0 1 0 0 0,-1-1 0 0 0,-27 7 244 0 0,28-7-255 0 0,-37 4-172 0 0,-56-2-1 0 0,74-2-961 0 0,16 0 60 0 0,-13-1-2721 0 0</inkml:trace>
</inkml:ink>
</file>

<file path=ppt/ink/ink9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5.8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1 37 1444 0 0,'9'-8'883'0'0,"-4"5"-345"0"0,-1-1-1 0 0,0 0 0 0 0,0 0 1 0 0,5-8-1 0 0,-8 11 68 0 0,-2 2-592 0 0,0 0 1 0 0,0 0-1 0 0,0 0 0 0 0,0 0 0 0 0,0 1 0 0 0,0-1 1 0 0,1 0-1 0 0,-1 0 0 0 0,0 1 0 0 0,1-1 0 0 0,-1 1 1 0 0,1-1-1 0 0,-1 3 0 0 0,0-3-10 0 0,0 5 71 0 0,0 1 0 0 0,0-1 0 0 0,1 1 0 0 0,0-1 0 0 0,0 1 0 0 0,0 0 1 0 0,1-1-1 0 0,3 13 0 0 0,1-1 296 0 0,13 31-1 0 0,-13-40-160 0 0,-1 1 1 0 0,0 0-1 0 0,-1 0 0 0 0,0 0 0 0 0,0 0 1 0 0,-1 0-1 0 0,-1 1 0 0 0,1-1 0 0 0,-2 16 1 0 0,0-23-143 0 0,0-1 1 0 0,-1 1-1 0 0,1-1 1 0 0,-1 0-1 0 0,0 1 1 0 0,0-1 0 0 0,0 0-1 0 0,0 1 1 0 0,0-1-1 0 0,0 0 1 0 0,-1 0-1 0 0,1 0 1 0 0,-1 0-1 0 0,0 0 1 0 0,1 0 0 0 0,-4 2-1 0 0,1-1 17 0 0,0-1 0 0 0,0 1 0 0 0,0-1-1 0 0,0 0 1 0 0,-1 0 0 0 0,1 0 0 0 0,-10 2 0 0 0,-2-1 45 0 0,0 0 1 0 0,-1-1-1 0 0,-27-1 1 0 0,44-1-129 0 0,-121-6-2661 0 0,102 3-1161 0 0</inkml:trace>
</inkml:ink>
</file>

<file path=ppt/ink/ink9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6.1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 512 0 0,'8'-6'7644'0'0,"-5"8"-7413"0"0,-1 0 0 0 0,0 0-1 0 0,0 0 1 0 0,0 0 0 0 0,0 0 0 0 0,-1 0 0 0 0,1 1-1 0 0,-1-1 1 0 0,1 1 0 0 0,-1-1 0 0 0,0 1 0 0 0,0 0-1 0 0,0-1 1 0 0,0 1 0 0 0,0 0 0 0 0,-1 0-1 0 0,1 4 1 0 0,5 62 573 0 0,-6-50-510 0 0,1 59-1523 0 0,-4-27-4953 0 0,1-42 2589 0 0</inkml:trace>
</inkml:ink>
</file>

<file path=ppt/ink/ink9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6.5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71 52 0 0,'-2'-13'1192'0'0,"0"2"-212"0"0,0 0 252 0 0,-2-3-388 0 0,-2 1-572 0 0,2 4-1068 0 0</inkml:trace>
</inkml:ink>
</file>

<file path=ppt/ink/ink9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6.8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8 61 140 0 0,'3'-1'1357'0'0,"1"-1"-1008"0"0,1 0-1 0 0,-1 0 1 0 0,0 0 0 0 0,0 0 0 0 0,0-1-1 0 0,-1 1 1 0 0,1-1 0 0 0,0 0-1 0 0,-1 0 1 0 0,0-1 0 0 0,0 1 0 0 0,0-1-1 0 0,0 0 1 0 0,2-4 0 0 0,-4 6-196 0 0,-1 0 29 0 0,0 2-178 0 0,0-1 0 0 0,0 1 0 0 0,0 0 0 0 0,0 0 0 0 0,0 0 0 0 0,1-1 0 0 0,-1 1 0 0 0,0 0 0 0 0,0 0 0 0 0,0 0 0 0 0,0-1 0 0 0,0 1 0 0 0,0 0 0 0 0,0 0 0 0 0,0-1 0 0 0,0 1 0 0 0,-1 0 0 0 0,1 0 0 0 0,0 0 0 0 0,0-1 0 0 0,0 1 0 0 0,0 0-1 0 0,0 0 1 0 0,0 0 0 0 0,0 0 0 0 0,0-1 0 0 0,0 1 0 0 0,-1 0 0 0 0,1 0 0 0 0,0 0 0 0 0,0 0 0 0 0,0-1 0 0 0,0 1 0 0 0,-1 0 0 0 0,1 0 0 0 0,0 0 0 0 0,0 0 0 0 0,-1 0 0 0 0,-2-1 21 0 0,-1 1 1 0 0,1 0-1 0 0,-1 0 0 0 0,1 0 1 0 0,-1 0-1 0 0,1 0 0 0 0,0 1 1 0 0,-1 0-1 0 0,1-1 0 0 0,-1 1 1 0 0,1 1-1 0 0,0-1 0 0 0,0 0 1 0 0,0 1-1 0 0,-1 0 0 0 0,2-1 1 0 0,-1 1-1 0 0,0 0 0 0 0,0 1 1 0 0,1-1-1 0 0,-1 0 0 0 0,1 1 1 0 0,-1 0-1 0 0,1-1 0 0 0,0 1 1 0 0,0 0-1 0 0,-3 6 0 0 0,3-4 22 0 0,0 1 0 0 0,0-1 0 0 0,1 1 0 0 0,0-1 0 0 0,0 1-1 0 0,0 0 1 0 0,0-1 0 0 0,1 1 0 0 0,0 0 0 0 0,0-1 0 0 0,1 1 0 0 0,-1 0 0 0 0,1-1-1 0 0,1 1 1 0 0,-1 0 0 0 0,4 9 0 0 0,5 6 88 0 0,2-1 1 0 0,22 34-1 0 0,-21-36 105 0 0,-1 2-1 0 0,18 37 1 0 0,-29-55-170 0 0,0 1-1 0 0,0-1 1 0 0,-1 1 0 0 0,0-1 0 0 0,1 1 0 0 0,-1-1-1 0 0,0 1 1 0 0,0 2 0 0 0,0-4-47 0 0,0 0 0 0 0,0 0 0 0 0,-1 0 0 0 0,1 0 0 0 0,0 0 0 0 0,0 0 0 0 0,-1 0 1 0 0,1 0-1 0 0,0 0 0 0 0,-1 0 0 0 0,1-1 0 0 0,-1 1 0 0 0,1 0 0 0 0,-1 0 0 0 0,1 0 0 0 0,-1-1 0 0 0,0 1 0 0 0,1 0 0 0 0,-1-1 0 0 0,0 1 0 0 0,1 0 0 0 0,-1-1 1 0 0,0 1-1 0 0,-2 0 0 0 0,0 0-3 0 0,0 0 0 0 0,-1-1 0 0 0,1 1 0 0 0,-1-1 1 0 0,1 0-1 0 0,0 0 0 0 0,-1 0 0 0 0,1-1 0 0 0,-1 1 1 0 0,1-1-1 0 0,0 1 0 0 0,-1-1 0 0 0,1 0 0 0 0,0-1 1 0 0,0 1-1 0 0,0-1 0 0 0,0 1 0 0 0,0-1 0 0 0,0 0 1 0 0,0 0-1 0 0,0 0 0 0 0,1 0 0 0 0,-6-5 0 0 0,-1-3-148 0 0,0-1-1 0 0,1 1 1 0 0,0-1-1 0 0,-11-21 1 0 0,18 30 22 0 0,1 2 91 0 0,0-1-1 0 0,-1 1 0 0 0,1-1 1 0 0,0 1-1 0 0,-1-1 1 0 0,1 1-1 0 0,0-1 0 0 0,-1 1 1 0 0,1 0-1 0 0,-1-1 0 0 0,1 1 1 0 0,0 0-1 0 0,-1-1 1 0 0,1 1-1 0 0,-1 0 0 0 0,1 0 1 0 0,-1-1-1 0 0,1 1 1 0 0,-1 0-1 0 0,0 0 0 0 0,-8 10-72 0 0,1 2 0 0 0,-9 15-1 0 0,-9 14-1492 0 0,-1-7-2553 0 0,19-21 2056 0 0</inkml:trace>
</inkml:ink>
</file>

<file path=ppt/ink/ink9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8.9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7 108 0 0,'2'-3'819'0'0,"-1"0"0"0"0,1 0 0 0 0,0 0 0 0 0,0 1 0 0 0,0-1 0 0 0,0 1 0 0 0,1-1 0 0 0,2-2 0 0 0,-2 11-356 0 0,0 1 1 0 0,-1-1 0 0 0,0 0-1 0 0,0 1 1 0 0,-1 0-1 0 0,0-1 1 0 0,1 11 0 0 0,-1 55 980 0 0,-1-26-765 0 0,0-31-547 0 0,11 155 901 0 0,-7-146-1064 0 0,0 0 0 0 0,1 1-1 0 0,2-2 1 0 0,16 43 0 0 0,-16-51-411 0 0,1 0 0 0 0,9 14-1 0 0,-15-25-54 0 0,0-1-1 0 0,1 0 0 0 0,0 1 0 0 0,-1-1 0 0 0,1 0 0 0 0,0-1 0 0 0,1 1 0 0 0,-1-1 1 0 0,0 1-1 0 0,1-1 0 0 0,-1 0 0 0 0,1 0 0 0 0,5 2 0 0 0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30.0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 24 1564 0 0,'-4'-24'9466'0'0,"10"29"-8320"0"0,7 18-385 0 0,0 16 615 0 0,-3 0 1 0 0,0 1 0 0 0,3 44 0 0 0,-7-18 3369 0 0,-7-66-4755 0 0,1-1 0 0 0,-1 1-1 0 0,0 0 1 0 0,1-1 0 0 0,-1 1 0 0 0,0-1 0 0 0,1 1-1 0 0,-1-1 1 0 0,1 1 0 0 0,-1-1 0 0 0,1 0 0 0 0,-1 1-1 0 0,1-1 1 0 0,0 1 0 0 0,-1-1 0 0 0,1 0 0 0 0,-1 1-1 0 0,1-1 1 0 0,0 0 0 0 0,0 0 0 0 0,0 1 0 0 0,-1-1-1 0 0,1 0 1 0 0,0 0 0 0 0,0 1 0 0 0,0-1-1 0 0,0 0 1 0 0,0 0 0 0 0,0 1 0 0 0,0-1 0 0 0,1 0-1 0 0,-1 0 1 0 0,0 0 0 0 0,4-27-547 0 0,-1 19 354 0 0,1 0-1 0 0,0 0 0 0 0,0 0 1 0 0,1 0-1 0 0,0 1 0 0 0,0-1 1 0 0,1 1-1 0 0,0 1 1 0 0,0-1-1 0 0,1 1 0 0 0,0 0 1 0 0,0 1-1 0 0,1-1 0 0 0,0 1 1 0 0,0 1-1 0 0,0 0 0 0 0,1 0 1 0 0,0 1-1 0 0,16-6 0 0 0,-20 8 151 0 0,0 2 0 0 0,0-1 0 0 0,0 1 0 0 0,0-1 0 0 0,0 1 0 0 0,0 1 0 0 0,0-1 0 0 0,0 1 0 0 0,0 0-1 0 0,0 0 1 0 0,0 0 0 0 0,0 1 0 0 0,0 0 0 0 0,-1 0 0 0 0,1 0 0 0 0,-1 0 0 0 0,1 1 0 0 0,-1 0 0 0 0,5 3 0 0 0,6 7 6 0 0,0 1 1 0 0,-1 0-1 0 0,19 25 1 0 0,-6-8 18 0 0,28 27 501 0 0,-53-57-438 0 0,1 0 0 0 0,-1 0-1 0 0,1 0 1 0 0,0-1 0 0 0,-1 1 0 0 0,1-1 0 0 0,0 1 0 0 0,0-1 0 0 0,-1 0 0 0 0,1 0 0 0 0,0 0 0 0 0,4-1 0 0 0,-6 1-29 0 0,6-1 22 0 0,0 1-1 0 0,1-1 1 0 0,-1-1-1 0 0,0 0 1 0 0,0 0-1 0 0,0 0 1 0 0,0-1-1 0 0,0 0 1 0 0,-1 0-1 0 0,1 0 1 0 0,9-8-1 0 0,4-4 31 0 0,34-33 0 0 0,-51 45-52 0 0,48-54 114 0 0,-51 57-122 0 0,1-1-1 0 0,-1 1 1 0 0,1 0-1 0 0,-1 0 1 0 0,0-1-1 0 0,1 1 1 0 0,-1 0 0 0 0,0-1-1 0 0,1 1 1 0 0,-1-1-1 0 0,0 1 1 0 0,0 0-1 0 0,1-1 1 0 0,-1 1-1 0 0,0-1 1 0 0,0 1-1 0 0,0-1 1 0 0,0 1-1 0 0,1-1 1 0 0,-1 1-1 0 0,0 0 1 0 0,0-1-1 0 0,0 1 1 0 0,0-1-1 0 0,0 1 1 0 0,0-1-1 0 0,0 1 1 0 0,0-1-1 0 0,0 1 1 0 0,-1-1-1 0 0,1 1 1 0 0,0-1 0 0 0,0 1-1 0 0,0-1 1 0 0,0 1-1 0 0,-1 0 1 0 0,1-1-1 0 0,0 1 1 0 0,0-1-1 0 0,-1 1 1 0 0,1 0-1 0 0,0-1 1 0 0,-1 1-1 0 0,0-1-1 0 0,0 1 0 0 0,0 0-1 0 0,-1 0 1 0 0,1-1 0 0 0,0 1-1 0 0,0 0 1 0 0,0 0-1 0 0,0 0 1 0 0,0 0 0 0 0,-1 1-1 0 0,1-1 1 0 0,0 0 0 0 0,0 0-1 0 0,0 1 1 0 0,0-1 0 0 0,0 0-1 0 0,0 1 1 0 0,0-1 0 0 0,-1 2-1 0 0,-1-1 4 0 0,0 1 0 0 0,1 0 0 0 0,-1 0 0 0 0,1 0 0 0 0,-1 1 0 0 0,1-1 0 0 0,0 0 0 0 0,0 1 0 0 0,0 0 0 0 0,0-1 0 0 0,1 1 0 0 0,-1 0 0 0 0,1 0 0 0 0,-1 0 0 0 0,1 0 0 0 0,0 0 0 0 0,0 0-1 0 0,1 0 1 0 0,-1 0 0 0 0,0 1 0 0 0,1-1 0 0 0,0 0 0 0 0,0 0 0 0 0,0 1 0 0 0,0-1 0 0 0,1 0 0 0 0,-1 0 0 0 0,1 0 0 0 0,0 1 0 0 0,-1-1 0 0 0,1 0 0 0 0,1 0 0 0 0,-1 0 0 0 0,0 0 0 0 0,1-1 0 0 0,0 1 0 0 0,0 0 0 0 0,-1 0-1 0 0,2-1 1 0 0,-1 0 0 0 0,0 1 0 0 0,0-1 0 0 0,1 0 0 0 0,-1 0 0 0 0,1 0 0 0 0,0 0 0 0 0,-1 0 0 0 0,1-1 0 0 0,0 1 0 0 0,0-1 0 0 0,0 0 0 0 0,0 0 0 0 0,0 0 0 0 0,6 1 0 0 0,2-1 14 0 0,1 1 0 0 0,0-2 0 0 0,-1 1 0 0 0,1-1 0 0 0,0-1 0 0 0,-1 0 1 0 0,1-1-1 0 0,22-6 0 0 0,-30 7 1 0 0,0-1 1 0 0,0 1-1 0 0,0-1 1 0 0,0 0-1 0 0,0 0 1 0 0,0 0-1 0 0,0-1 1 0 0,0 1-1 0 0,-1-1 1 0 0,1 0 0 0 0,-1 0-1 0 0,0 0 1 0 0,0 0-1 0 0,0-1 1 0 0,0 1-1 0 0,-1-1 1 0 0,1 0-1 0 0,-1 0 1 0 0,0 1-1 0 0,0-2 1 0 0,-1 1-1 0 0,1 0 1 0 0,-1 0-1 0 0,0 0 1 0 0,0-1-1 0 0,1-6 1 0 0,-2 6-26 0 0,0 0-1 0 0,0 1 1 0 0,-1-1 0 0 0,0 1 0 0 0,1 0 0 0 0,-1-1 0 0 0,-1 1-1 0 0,1-1 1 0 0,-1 1 0 0 0,0 0 0 0 0,0 0 0 0 0,0 0 0 0 0,0 0-1 0 0,-1 0 1 0 0,1 1 0 0 0,-1-1 0 0 0,0 1 0 0 0,0-1 0 0 0,-1 1-1 0 0,1 0 1 0 0,0 0 0 0 0,-1 1 0 0 0,0-1 0 0 0,0 1 0 0 0,0 0-1 0 0,-6-3 1 0 0,1 1-598 0 0,-1 0 0 0 0,1 1 0 0 0,-1 0 0 0 0,0 1-1 0 0,1-1 1 0 0,-1 2 0 0 0,0 0 0 0 0,0 0 0 0 0,0 1-1 0 0,-16 1 1 0 0,8 3-1536 0 0,5 1-1716 0 0,-2-2 267 0 0</inkml:trace>
</inkml:ink>
</file>

<file path=ppt/ink/ink9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19.4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3 133 1456 0 0,'-10'-2'1271'0'0,"1"0"0"0"0,0-1 0 0 0,0 0 0 0 0,-12-5 0 0 0,21 8-1244 0 0,0-1 1 0 0,0 1-1 0 0,-1 0 1 0 0,1 0-1 0 0,0 0 1 0 0,0 0-1 0 0,-1 0 1 0 0,1 0-1 0 0,0 0 1 0 0,0-1-1 0 0,-1 1 1 0 0,1 0-1 0 0,0 0 1 0 0,0 0-1 0 0,0-1 1 0 0,0 1-1 0 0,-1 0 1 0 0,1 0-1 0 0,0 0 1 0 0,0-1-1 0 0,0 1 0 0 0,0 0 1 0 0,0 0-1 0 0,0-1 1 0 0,-1 1-1 0 0,1 0 1 0 0,0 0-1 0 0,0-1 1 0 0,0 1-1 0 0,0 0 1 0 0,0 0-1 0 0,0-1 1 0 0,0 1-1 0 0,0 0 1 0 0,0 0-1 0 0,0-1 1 0 0,0 1-1 0 0,1 0 1 0 0,-1-1-1 0 0,0 1 1 0 0,0 0-1 0 0,0 0 1 0 0,0-1-1 0 0,0 1 1 0 0,0 0-1 0 0,0 0 1 0 0,1 0-1 0 0,-1-1 1 0 0,10-6 212 0 0,-9 6-214 0 0,17-8 87 0 0,0 0 1 0 0,0 2 0 0 0,1 0 0 0 0,0 1-1 0 0,1 1 1 0 0,21-3 0 0 0,-8 1-28 0 0,-17 4-34 0 0,115-23 355 0 0,-129 26-353 0 0,0 0-1 0 0,0-1 1 0 0,0 1 0 0 0,0 0 0 0 0,0 0-1 0 0,0 0 1 0 0,0 1 0 0 0,0-1 0 0 0,0 0-1 0 0,0 1 1 0 0,0-1 0 0 0,-1 1 0 0 0,1 0-1 0 0,0-1 1 0 0,0 1 0 0 0,0 0 0 0 0,-1 0-1 0 0,1 0 1 0 0,0 0 0 0 0,-1 1 0 0 0,1-1-1 0 0,-1 0 1 0 0,0 1 0 0 0,1-1 0 0 0,-1 1-1 0 0,0-1 1 0 0,0 1 0 0 0,2 3 0 0 0,0 2 36 0 0,-1 1 0 0 0,0-1 1 0 0,0 1-1 0 0,0 0 0 0 0,0 15 1 0 0,5 19 467 0 0,-4-35-452 0 0,0-1 1 0 0,0 1-1 0 0,1-1 0 0 0,-1 0 0 0 0,1 0 1 0 0,1 0-1 0 0,-1 0 0 0 0,1 0 1 0 0,0-1-1 0 0,0 0 0 0 0,1 0 1 0 0,-1-1-1 0 0,1 1 0 0 0,0-1 0 0 0,12 6 1 0 0,-13-8-44 0 0,0 0 1 0 0,0 0 0 0 0,1 0 0 0 0,-1-1-1 0 0,0 1 1 0 0,1-1 0 0 0,-1 0-1 0 0,0-1 1 0 0,1 0 0 0 0,-1 1-1 0 0,1-2 1 0 0,-1 1 0 0 0,1-1 0 0 0,-1 1-1 0 0,0-2 1 0 0,1 1 0 0 0,-1 0-1 0 0,0-1 1 0 0,0 0 0 0 0,0 0-1 0 0,7-5 1 0 0,-9 5-46 0 0,0 0-1 0 0,0 0 0 0 0,0-1 1 0 0,-1 1-1 0 0,1-1 0 0 0,0 0 1 0 0,-1 0-1 0 0,0 0 1 0 0,0 0-1 0 0,0 0 0 0 0,0-1 1 0 0,0 1-1 0 0,-1-1 1 0 0,1 1-1 0 0,-1-1 0 0 0,0 1 1 0 0,0-1-1 0 0,0 0 1 0 0,-1 1-1 0 0,1-1 0 0 0,-1 0 1 0 0,0 0-1 0 0,0 0 0 0 0,0 1 1 0 0,-1-1-1 0 0,1 0 1 0 0,-1 0-1 0 0,0 1 0 0 0,-2-7 1 0 0,1 3-64 0 0,-1-1 1 0 0,0 1 0 0 0,0 1-1 0 0,-1-1 1 0 0,1 0 0 0 0,-2 1-1 0 0,1 0 1 0 0,-1 0 0 0 0,1 0-1 0 0,-2 0 1 0 0,1 1 0 0 0,-1 0-1 0 0,-11-8 1 0 0,10 9-226 0 0,0 0 0 0 0,0 1 0 0 0,0 0-1 0 0,-1 1 1 0 0,1-1 0 0 0,-1 1 0 0 0,0 1 0 0 0,1 0 0 0 0,-1 0 0 0 0,0 0 0 0 0,0 1 0 0 0,0 0 0 0 0,0 0-1 0 0,-12 3 1 0 0,14-1-333 0 0,-1-1 0 0 0,1 1 0 0 0,0 0 0 0 0,0 1 0 0 0,0-1-1 0 0,0 1 1 0 0,1 0 0 0 0,-1 1 0 0 0,1-1 0 0 0,0 1 0 0 0,-7 6-1 0 0,2 1-2087 0 0</inkml:trace>
</inkml:ink>
</file>

<file path=ppt/ink/ink9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20.1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5 56 564 0 0,'-14'-56'9750'0'0,"4"92"-7762"0"0,6 84 273 0 0,-6 53 1536 0 0,10-173-3770 0 0,0 1-1 0 0,0-1 0 0 0,0 1 1 0 0,0-1-1 0 0,0 1 0 0 0,0-1 1 0 0,0 1-1 0 0,0-1 0 0 0,0 1 1 0 0,0-1-1 0 0,0 0 0 0 0,0 1 0 0 0,0-1 1 0 0,-1 1-1 0 0,1-1 0 0 0,0 1 1 0 0,0-1-1 0 0,-1 0 0 0 0,1 1 1 0 0,0-1-1 0 0,-1 0 0 0 0,1 1 1 0 0,0-1-1 0 0,-1 0 0 0 0,1 1 1 0 0,0-1-1 0 0,-1 0 0 0 0,1 0 1 0 0,-1 0-1 0 0,1 1 0 0 0,0-1 0 0 0,-1 0 1 0 0,1 0-1 0 0,-1 0 0 0 0,1 0 1 0 0,-1 0-1 0 0,1 0 0 0 0,-1 0 1 0 0,1 0-1 0 0,0 0 0 0 0,-1 0 1 0 0,1 0-1 0 0,-1 0 0 0 0,1 0 1 0 0,-1 0-1 0 0,1 0 0 0 0,-1 0 0 0 0,1 0 1 0 0,0 0-1 0 0,-1-1 0 0 0,1 1 1 0 0,-1 0-1 0 0,1 0 0 0 0,0-1 1 0 0,-1 1-1 0 0,1 0 0 0 0,-1-1 1 0 0,-1 0-6 0 0,1 0 0 0 0,-1-1 1 0 0,1 1-1 0 0,-1 0 0 0 0,1-1 1 0 0,-1 0-1 0 0,1 1 0 0 0,0-1 1 0 0,0 0-1 0 0,-2-2 0 0 0,3 0-63 0 0,-1 0-1 0 0,1 0 0 0 0,0 0 1 0 0,0-1-1 0 0,0 1 0 0 0,0 0 1 0 0,1 0-1 0 0,0 0 0 0 0,0 0 1 0 0,0 0-1 0 0,0 0 1 0 0,1 0-1 0 0,-1 0 0 0 0,1 0 1 0 0,0 0-1 0 0,0 1 0 0 0,1-1 1 0 0,4-5-1 0 0,0 0-77 0 0,1 0-1 0 0,0 1 1 0 0,0 0-1 0 0,1 1 1 0 0,15-11-1 0 0,-18 14 51 0 0,1 1 0 0 0,-1 0 0 0 0,1 0 0 0 0,-1 0 0 0 0,1 1 0 0 0,0 0 0 0 0,0 1 0 0 0,0-1 0 0 0,0 2 0 0 0,1-1 0 0 0,-1 1 0 0 0,9 0 0 0 0,-13 0 55 0 0,0 0 0 0 0,0 0 0 0 0,0 1 1 0 0,-1-1-1 0 0,1 1 0 0 0,0 0 0 0 0,0 0 1 0 0,-1 0-1 0 0,1 0 0 0 0,-1 0 1 0 0,1 1-1 0 0,-1-1 0 0 0,1 1 0 0 0,-1-1 1 0 0,0 1-1 0 0,0 0 0 0 0,0 0 0 0 0,0 0 1 0 0,0 0-1 0 0,0 0 0 0 0,0 0 1 0 0,-1 1-1 0 0,1-1 0 0 0,-1 1 0 0 0,0-1 1 0 0,1 1-1 0 0,-1 0 0 0 0,0-1 1 0 0,-1 1-1 0 0,1 0 0 0 0,0-1 0 0 0,-1 1 1 0 0,1 4-1 0 0,-2-1 7 0 0,1 1 0 0 0,-1-1 0 0 0,0 0-1 0 0,0 0 1 0 0,-1 0 0 0 0,0 0 0 0 0,0 0 0 0 0,0-1 0 0 0,-1 1 0 0 0,1-1 0 0 0,-1 1-1 0 0,-1-1 1 0 0,1 0 0 0 0,-7 7 0 0 0,-4 5-9 0 0,-2-1-1 0 0,-27 24 1 0 0,24-26 53 0 0,0-1 0 0 0,-32 16 0 0 0,29-17-241 0 0,19-10-35 0 0,3-5-856 0 0,0 3 1076 0 0,0-1-1 0 0,0 1 1 0 0,0-1-1 0 0,0 1 1 0 0,0 0 0 0 0,1-1-1 0 0,-1 1 1 0 0,0-1 0 0 0,0 1-1 0 0,0 0 1 0 0,1-1-1 0 0,-1 1 1 0 0,0 0 0 0 0,0 0-1 0 0,1-1 1 0 0,-1 1-1 0 0,0 0 1 0 0,1-1 0 0 0,-1 1-1 0 0,0 0 1 0 0,1 0-1 0 0,-1 0 1 0 0,1-1 0 0 0,50-19-505 0 0,3-1 233 0 0,-1-2 1 0 0,50-31-1 0 0,-87 44 374 0 0,-1 0 1 0 0,0-2-1 0 0,0 1 1 0 0,-1-2-1 0 0,0 0 1 0 0,-2 0-1 0 0,1-2 1 0 0,-2 1 0 0 0,0-1-1 0 0,14-25 1 0 0,-23 36-20 0 0,0-1 0 0 0,0 1 0 0 0,0-1 0 0 0,-1 0 0 0 0,1 0 0 0 0,-1 0 0 0 0,0 0 0 0 0,-1 0 0 0 0,1 0 0 0 0,-1-9 0 0 0,-1 12-56 0 0,0 1 1 0 0,0-1-1 0 0,0 0 1 0 0,-1 1-1 0 0,1 0 0 0 0,0-1 1 0 0,-1 1-1 0 0,1-1 1 0 0,-1 1-1 0 0,0 0 0 0 0,1 0 1 0 0,-1 0-1 0 0,0 0 1 0 0,0 0-1 0 0,-3-1 0 0 0,5 2-4 0 0,-3 0-6 0 0,1 0 1 0 0,0-1-1 0 0,0 1 1 0 0,-1 1-1 0 0,1-1 1 0 0,0 0-1 0 0,-1 0 1 0 0,1 1-1 0 0,0-1 1 0 0,0 1-1 0 0,0 0 1 0 0,0 0-1 0 0,-1 0 1 0 0,1 0-1 0 0,0 0 1 0 0,0 0-1 0 0,1 0 1 0 0,-1 1-1 0 0,0-1 1 0 0,0 1-1 0 0,1-1 1 0 0,-1 1-1 0 0,1 0 1 0 0,-1-1-1 0 0,1 1 1 0 0,0 0-1 0 0,-1 0 1 0 0,0 2-1 0 0,2-1 4 0 0,-1 0 0 0 0,1 0 0 0 0,0 0 0 0 0,0 0 0 0 0,0 1 0 0 0,0-1-1 0 0,0 0 1 0 0,1 0 0 0 0,-1 0 0 0 0,1 0 0 0 0,0 0 0 0 0,0 0 0 0 0,0 0 0 0 0,0-1 0 0 0,1 1 0 0 0,-1 0 0 0 0,1 0 0 0 0,-1-1-1 0 0,1 1 1 0 0,0-1 0 0 0,0 0 0 0 0,4 4 0 0 0,6 6-301 0 0,1 0 0 0 0,26 17-1 0 0,-28-21-187 0 0,34 24-2402 0 0,-14-13-2027 0 0,-19-13 1166 0 0</inkml:trace>
</inkml:ink>
</file>

<file path=ppt/ink/ink9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42.6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5 29 496 0 0,'-3'-1'1012'0'0,"-46"-13"3540"0"0,47 13-4052 0 0,-15-5 1129 0 0,16 5-1585 0 0,0 0 0 0 0,0 1 1 0 0,0-1-1 0 0,0 1 0 0 0,-1-1 1 0 0,1 1-1 0 0,0-1 0 0 0,0 1 1 0 0,0 0-1 0 0,0-1 0 0 0,0 1 1 0 0,-1 0-1 0 0,1 0 0 0 0,0 0 1 0 0,0 0-1 0 0,0 0 0 0 0,-1 0 1 0 0,1 0-1 0 0,0 0 0 0 0,0 1 1 0 0,0-1-1 0 0,-2 1 0 0 0,1 0-22 0 0,1 1-1 0 0,0-1 1 0 0,0 0 0 0 0,0 1-1 0 0,0-1 1 0 0,0 1-1 0 0,0 0 1 0 0,0-1-1 0 0,1 1 1 0 0,-1 0-1 0 0,1-1 1 0 0,-1 1-1 0 0,1 0 1 0 0,0 0-1 0 0,-1-1 1 0 0,1 3-1 0 0,-18 317 2352 0 0,14-159-1549 0 0,-5 156-151 0 0,8-314-743 0 0,1 103-1830 0 0,1-89-1282 0 0,6 32 0 0 0</inkml:trace>
</inkml:ink>
</file>

<file path=ppt/ink/ink9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43.3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 458 932 0 0,'-6'-21'1590'0'0,"4"13"-1011"0"0,0 0 0 0 0,0 0-1 0 0,0 0 1 0 0,0-8 0 0 0,2 13-468 0 0,0-1 0 0 0,1 1 1 0 0,-1 0-1 0 0,1 0 0 0 0,-1 0 0 0 0,1 0 0 0 0,0 0 1 0 0,0 0-1 0 0,0 0 0 0 0,0 1 0 0 0,1-1 0 0 0,-1 0 1 0 0,1 1-1 0 0,3-5 0 0 0,5-5 130 0 0,2 1 0 0 0,-1 0 0 0 0,1 1 1 0 0,1 0-1 0 0,-1 1 0 0 0,2 1 0 0 0,-1 0 0 0 0,20-9 0 0 0,123-41 260 0 0,-145 54-456 0 0,500-122 427 0 0,-443 112-485 0 0,230-25 776 0 0,-284 38-635 0 0,-11 0-98 0 0,0 1 0 0 0,1-1 0 0 0,-1 1 0 0 0,0 0 0 0 0,1 0-1 0 0,-1 0 1 0 0,0 0 0 0 0,1 1 0 0 0,-1-1 0 0 0,0 1 0 0 0,0 0-1 0 0,0 0 1 0 0,1 0 0 0 0,-1 1 0 0 0,0-1 0 0 0,0 1 0 0 0,-1-1 0 0 0,1 1-1 0 0,0 0 1 0 0,2 2 0 0 0,2 6-8 0 0,0 0 0 0 0,-1 0-1 0 0,0 1 1 0 0,-1-1 0 0 0,0 1 0 0 0,4 15-1 0 0,15 71 104 0 0,-20-78-88 0 0,16 85 362 0 0,-4 1 1 0 0,-4 0-1 0 0,-6 0 0 0 0,-12 202 0 0 0,3-278-295 0 0,-1 0-1 0 0,-1 0 0 0 0,-2 0 1 0 0,-19 53-1 0 0,20-68-79 0 0,0-1 0 0 0,0-1 0 0 0,-2 1 1 0 0,0-1-1 0 0,0 0 0 0 0,-1-1 0 0 0,0 0 0 0 0,-1-1 0 0 0,0 1 1 0 0,-1-2-1 0 0,0 0 0 0 0,-14 10 0 0 0,-12 2 37 0 0,0-2 1 0 0,-1-1-1 0 0,-67 22 1 0 0,-125 22 71 0 0,207-57-127 0 0,-130 31-529 0 0,-293 28 0 0 0,432-63-212 0 0,0-1 0 0 0,-20-2-1 0 0,29 1-191 0 0,0 0 0 0 0,-1 0 0 0 0,1 0 0 0 0,0-1 0 0 0,-7-2 0 0 0,1-3-3158 0 0</inkml:trace>
</inkml:ink>
</file>

<file path=ppt/ink/ink9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44.1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8 762 908 0 0,'-46'26'5249'0'0,"44"-25"-4423"0"0,5 0-406 0 0,11-2-215 0 0,-1 1 0 0 0,1-2 1 0 0,-1 0-1 0 0,1 0 0 0 0,-1-1 0 0 0,14-6 0 0 0,6 0-22 0 0,869-248 1810 0 0,-420 115-1479 0 0,93-28 220 0 0,-553 163-558 0 0,-3 2 262 0 0,0-1 0 0 0,-1 0 0 0 0,30-16 0 0 0,-48 22-430 0 0,1-1 0 0 0,-1 1 1 0 0,1 0-1 0 0,-1 0 0 0 0,0-1 0 0 0,0 1 0 0 0,1 0 0 0 0,-1-1 0 0 0,0 1 0 0 0,1 0 0 0 0,-1-1 0 0 0,0 1 0 0 0,0 0 0 0 0,0-1 0 0 0,1 1 1 0 0,-1-1-1 0 0,0 1 0 0 0,0 0 0 0 0,0-1 0 0 0,0 1 0 0 0,0-1 0 0 0,0 1 0 0 0,0-1 0 0 0,0 1 0 0 0,0 0 0 0 0,0-1 0 0 0,0 1 1 0 0,0-1-1 0 0,0 1 0 0 0,0-1 0 0 0,0 1 0 0 0,0 0 0 0 0,0-1 0 0 0,-1 1 0 0 0,1-1 0 0 0,0 1 0 0 0,0 0 0 0 0,-1-1 0 0 0,1 1 0 0 0,0 0 1 0 0,0-1-1 0 0,-1 1 0 0 0,1 0 0 0 0,0-1 0 0 0,-1 1 0 0 0,1 0 0 0 0,-1-1 0 0 0,-16-11 96 0 0,17 12-105 0 0,-59-27 151 0 0,49 23-210 0 0,0 0 0 0 0,0 0-1 0 0,0-1 1 0 0,0 0 0 0 0,1-1 0 0 0,0 0-1 0 0,-12-11 1 0 0,21 16 37 0 0,-1 0 0 0 0,1 0 1 0 0,-1 1-1 0 0,1-1 0 0 0,-1 0 0 0 0,1 0 0 0 0,0 0 1 0 0,0 0-1 0 0,-1 0 0 0 0,1 0 0 0 0,0 0 0 0 0,0 0 1 0 0,0 0-1 0 0,0 0 0 0 0,0 0 0 0 0,0 0 0 0 0,1 0 1 0 0,-1 0-1 0 0,0 0 0 0 0,0 0 0 0 0,1 0 0 0 0,-1 0 1 0 0,0 0-1 0 0,1 0 0 0 0,-1 0 0 0 0,1 0 1 0 0,0 0-1 0 0,-1 1 0 0 0,1-1 0 0 0,0 0 0 0 0,-1 0 1 0 0,1 1-1 0 0,0-1 0 0 0,0 0 0 0 0,-1 1 0 0 0,1-1 1 0 0,0 1-1 0 0,0-1 0 0 0,0 1 0 0 0,0 0 0 0 0,1-1 1 0 0,3 0-2 0 0,-1 0 1 0 0,1 0 0 0 0,-1 1 0 0 0,0-1 0 0 0,1 1 0 0 0,-1 1 0 0 0,1-1 0 0 0,-1 0 0 0 0,1 1-1 0 0,-1 0 1 0 0,0 0 0 0 0,1 0 0 0 0,4 3 0 0 0,-2-1 4 0 0,0 1 0 0 0,0 0 0 0 0,-1 0 0 0 0,0 0 0 0 0,1 1 0 0 0,-1 0 0 0 0,7 7 0 0 0,-6-4 20 0 0,0 1 0 0 0,0-1 0 0 0,0 1-1 0 0,-1 1 1 0 0,-1-1 0 0 0,0 1 0 0 0,0 0 0 0 0,0 0 0 0 0,-2 0 0 0 0,1 1 0 0 0,2 12 0 0 0,-5-12 32 0 0,0 0 1 0 0,-1 0-1 0 0,0-1 1 0 0,0 1 0 0 0,-1 0-1 0 0,-1 0 1 0 0,-4 17-1 0 0,-4 4-2503 0 0,-17 37 0 0 0,18-48-616 0 0,4-9 320 0 0</inkml:trace>
</inkml:ink>
</file>

<file path=ppt/ink/ink9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46.0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6 2 1156 0 0,'0'0'1148'0'0,"-3"0"-182"0"0,-11-1-150 0 0,11 0-176 0 0,-1 1-87 0 0,-2 1-405 0 0,1-1 0 0 0,-1 1 0 0 0,0 0 0 0 0,1 0 0 0 0,-1 1 0 0 0,1 0 0 0 0,0 0 0 0 0,-1 0 0 0 0,1 0 0 0 0,0 1 0 0 0,0 0 0 0 0,0 0 0 0 0,1 0 0 0 0,-1 1 0 0 0,1 0 0 0 0,0 0 0 0 0,0 0 0 0 0,0 0 0 0 0,-5 8-1 0 0,6-8-93 0 0,0 1 1 0 0,0-1-1 0 0,1 1 0 0 0,0-1 0 0 0,0 1 0 0 0,0 0 0 0 0,0 0 0 0 0,1 0 0 0 0,0 0 0 0 0,0 0 0 0 0,0 0 0 0 0,1 0 0 0 0,-1 0 0 0 0,1 0 0 0 0,1 0 0 0 0,-1 0 0 0 0,1 1 0 0 0,0-1 0 0 0,0 0 0 0 0,0 0 0 0 0,0-1 0 0 0,5 10 0 0 0,3 0 49 0 0,0 1 1 0 0,1-1-1 0 0,1-1 0 0 0,0 0 1 0 0,25 22-1 0 0,2 3 46 0 0,-31-30-132 0 0,-3-6 81 0 0,-1 1 0 0 0,0 0 0 0 0,-1 0 0 0 0,1 1 1 0 0,-1-1-1 0 0,1 0 0 0 0,-1 1 0 0 0,0-1 0 0 0,0 1 0 0 0,0 0 1 0 0,-1 0-1 0 0,0 0 0 0 0,2 4 0 0 0,-3-7-74 0 0,-1 0 0 0 0,1 0 0 0 0,0 0 1 0 0,0 0-1 0 0,-1 0 0 0 0,1 0 0 0 0,0 0 0 0 0,-1 0 0 0 0,1 0 0 0 0,-1 0 0 0 0,1 0 0 0 0,-1 0 1 0 0,0 0-1 0 0,1 0 0 0 0,-1-1 0 0 0,0 1 0 0 0,0 0 0 0 0,1-1 0 0 0,-1 1 0 0 0,0 0 1 0 0,0-1-1 0 0,0 1 0 0 0,0-1 0 0 0,-1 1 0 0 0,-23 10 240 0 0,17-9-518 0 0,-1 0 1 0 0,1 0-1 0 0,-1 0 0 0 0,0-1 1 0 0,0-1-1 0 0,0 1 0 0 0,1-2 1 0 0,-1 1-1 0 0,0-1 0 0 0,0 0 1 0 0,-12-4-1 0 0,20 5 22 0 0,0-1-1 0 0,0 1 1 0 0,0 0 0 0 0,0-1-1 0 0,0 1 1 0 0,0-1 0 0 0,0 1-1 0 0,0-1 1 0 0,0 0 0 0 0,1 1-1 0 0,-1-1 1 0 0,0 0 0 0 0,-1-1-1 0 0,0 0-469 0 0,-4-7-2403 0 0</inkml:trace>
</inkml:ink>
</file>

<file path=ppt/ink/ink9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47.1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63 80 0 0,'34'-17'5898'0'0,"-32"16"-5037"0"0,1 1-51 0 0,1 1-611 0 0,-1 0 0 0 0,0 0-1 0 0,0 0 1 0 0,0 0-1 0 0,0 0 1 0 0,0 1-1 0 0,0-1 1 0 0,0 1 0 0 0,0 0-1 0 0,-1 0 1 0 0,1 0-1 0 0,-1 0 1 0 0,1 0 0 0 0,-1 0-1 0 0,0 1 1 0 0,0-1-1 0 0,0 1 1 0 0,0 0-1 0 0,0 0 1 0 0,0-1 0 0 0,1 7-1 0 0,7 9 407 0 0,-2 2 0 0 0,8 22-1 0 0,-15-38-565 0 0,1 3 66 0 0,5 11 988 0 0,6 30-1 0 0,-13-46-297 0 0,0-1-776 0 0,0-1 0 0 0,0 0 1 0 0,0 0-1 0 0,0 0 1 0 0,0 1-1 0 0,0-1 0 0 0,0 0 1 0 0,0 0-1 0 0,0 1 1 0 0,0-1-1 0 0,0 0 1 0 0,0 0-1 0 0,0 0 0 0 0,0 1 1 0 0,0-1-1 0 0,0 0 1 0 0,0 0-1 0 0,0 1 0 0 0,0-1 1 0 0,0 0-1 0 0,0 0 1 0 0,0 0-1 0 0,0 0 0 0 0,-1 1 1 0 0,1-1-1 0 0,0 0 1 0 0,0 0-1 0 0,0 0 1 0 0,0 0-1 0 0,-1 1 0 0 0,1-1 1 0 0,0 0-1 0 0,0 0 1 0 0,0 0-1 0 0,-1 0 0 0 0,1 0 1 0 0,0 0-1 0 0,0 0 1 0 0,0 0-1 0 0,-1 1 1 0 0,1-1-1 0 0,0 0 0 0 0,-3-3-9 0 0,1 1 0 0 0,-1-1 1 0 0,1 1-1 0 0,0-1 0 0 0,0 0 0 0 0,0 0 0 0 0,0 0 0 0 0,1 0 0 0 0,-1 0 0 0 0,1 0 0 0 0,0-1 0 0 0,-2-4 0 0 0,1-1-175 0 0,1 1 0 0 0,-1-1 0 0 0,1-17 1 0 0,1 25 147 0 0,0 0 1 0 0,-1 0 0 0 0,1 0-1 0 0,0 0 1 0 0,0 0-1 0 0,0 0 1 0 0,0 0 0 0 0,1 0-1 0 0,-1 0 1 0 0,0 0 0 0 0,0 0-1 0 0,0 0 1 0 0,1 0 0 0 0,-1 0-1 0 0,1 1 1 0 0,-1-1 0 0 0,0 0-1 0 0,1 0 1 0 0,0 0 0 0 0,-1 0-1 0 0,1 0 1 0 0,0 1 0 0 0,-1-1-1 0 0,1 0 1 0 0,0 1 0 0 0,0-1-1 0 0,-1 0 1 0 0,1 1-1 0 0,0-1 1 0 0,0 1 0 0 0,0-1-1 0 0,0 1 1 0 0,0 0 0 0 0,0-1-1 0 0,0 1 1 0 0,0 0 0 0 0,0 0-1 0 0,0-1 1 0 0,0 1 0 0 0,0 0-1 0 0,0 0 1 0 0,0 0 0 0 0,0 0-1 0 0,2 1 1 0 0,1 0 2 0 0,-1 0 1 0 0,1 0-1 0 0,0 0 0 0 0,0 0 1 0 0,-1 1-1 0 0,1 0 1 0 0,-1 0-1 0 0,5 3 1 0 0,-2 1 5 0 0,1 0 1 0 0,-1 1-1 0 0,0-1 1 0 0,-1 1-1 0 0,1 1 1 0 0,-1-1-1 0 0,7 16 1 0 0,-6-12 37 0 0,0-1 0 0 0,11 15 0 0 0,-9-7 292 0 0,0 0 746 0 0,-6-18 13 0 0,-1-13 506 0 0,-1 5-1619 0 0,0 0-1 0 0,1 0 1 0 0,0-1 0 0 0,1 1-1 0 0,0 0 1 0 0,0 0 0 0 0,0 0-1 0 0,5-9 1 0 0,-4 12-29 0 0,-1 0 0 0 0,1 1 1 0 0,0-1-1 0 0,1 0 0 0 0,-1 1 0 0 0,1 0 0 0 0,0 0 1 0 0,0 0-1 0 0,0 1 0 0 0,0-1 0 0 0,1 1 0 0 0,0 0 1 0 0,8-4-1 0 0,-7 4-15 0 0,0 0 1 0 0,1 1 0 0 0,-1-1-1 0 0,1 2 1 0 0,0-1 0 0 0,-1 1-1 0 0,1 0 1 0 0,0 0-1 0 0,0 1 1 0 0,0 0 0 0 0,0 0-1 0 0,11 2 1 0 0,5 4-80 0 0,0 0 1 0 0,37 16-1 0 0,-13-5 69 0 0,-41-15 78 0 0,1-1-1 0 0,-1 0 1 0 0,1 0 0 0 0,0-1-1 0 0,-1 0 1 0 0,1 0-1 0 0,0-1 1 0 0,9-1-1 0 0,-7-1-138 0 0,-1 1-1 0 0,0-2 0 0 0,1 1 0 0 0,-1-1 0 0 0,-1 0 1 0 0,1 0-1 0 0,0-1 0 0 0,-1 0 0 0 0,0-1 1 0 0,0 0-1 0 0,-1 0 0 0 0,0 0 0 0 0,0-1 0 0 0,0 0 1 0 0,-1 0-1 0 0,0 0 0 0 0,0 0 0 0 0,0-1 1 0 0,-1 0-1 0 0,-1 0 0 0 0,6-17 0 0 0,-8 22 84 0 0,0 0 0 0 0,-1 0 0 0 0,1 1 0 0 0,-1-1 0 0 0,0 0-1 0 0,0 0 1 0 0,0-4 0 0 0,0 7 55 0 0,0-1 0 0 0,0 1 0 0 0,0-1 0 0 0,0 0 0 0 0,0 1 0 0 0,-1-1-1 0 0,1 1 1 0 0,0-1 0 0 0,0 0 0 0 0,-1 1 0 0 0,1-1 0 0 0,0 1 0 0 0,-1-1 0 0 0,1 1 0 0 0,-1-1 0 0 0,1 1-1 0 0,-1-1 1 0 0,1 1 0 0 0,-1-1 0 0 0,1 1 0 0 0,-1 0 0 0 0,1-1 0 0 0,-1 1 0 0 0,1 0 0 0 0,-1 0 0 0 0,1-1-1 0 0,-1 1 1 0 0,0 0 0 0 0,1 0 0 0 0,-1 0 0 0 0,0 0 0 0 0,1-1 0 0 0,-1 1 0 0 0,0 0 0 0 0,1 0 0 0 0,-1 0-1 0 0,1 1 1 0 0,-1-1 0 0 0,0 0 0 0 0,1 0 0 0 0,-2 0 0 0 0,-9 3-34 0 0,1 0 1 0 0,0 0-1 0 0,-1 1 1 0 0,1 1 0 0 0,0 0-1 0 0,-14 9 1 0 0,23-13 36 0 0,0 3 16 0 0,1-3-10 0 0,0-1 0 0 0,0 0 0 0 0,0 0 0 0 0,0 1 0 0 0,0-1 0 0 0,-1 0 0 0 0,1 1 0 0 0,0-1 0 0 0,0 0 0 0 0,0 0 0 0 0,0 1 0 0 0,0-1 0 0 0,0 0 1 0 0,0 1-1 0 0,0-1 0 0 0,0 0 0 0 0,0 1 0 0 0,0-1 0 0 0,0 0 0 0 0,1 1 0 0 0,-1-1 0 0 0,0 0 0 0 0,0 0 0 0 0,0 1 0 0 0,0-1 0 0 0,0 0 0 0 0,1 0 1 0 0,-1 1-1 0 0,0-1 0 0 0,0 0 0 0 0,0 0 0 0 0,1 1 0 0 0,-1-1 0 0 0,0 0 0 0 0,0 0 0 0 0,1 0 0 0 0,-1 1 0 0 0,0-1 0 0 0,0 0 0 0 0,1 0 0 0 0,-1 0 1 0 0,0 0-1 0 0,1 0 0 0 0,-1 0 0 0 0,0 0 0 0 0,0 0 0 0 0,1 0 0 0 0,-1 0 0 0 0,0 0 0 0 0,1 0 0 0 0,-1 0 0 0 0,0 0 0 0 0,1 0 0 0 0,-1 0 0 0 0,0 0 0 0 0,1 0 1 0 0,-1 0-1 0 0,0 0 0 0 0,0 0 0 0 0,1 0 0 0 0,-1-1 0 0 0,0 1 0 0 0,1 0 0 0 0,-1 0 0 0 0,0-1 0 0 0,21-5-106 0 0,28-13 0 0 0,-18 6-64 0 0,-28 11 144 0 0,1 1 0 0 0,0-1 1 0 0,-1 1-1 0 0,1 0 0 0 0,0 0 0 0 0,-1 0 0 0 0,1 0 0 0 0,4 0 0 0 0,-1 1-7 0 0,-4 0 17 0 0,0 0-10 0 0,37 16 39 0 0,-15-4 318 0 0,-20-11-237 0 0,0 0 0 0 0,0 0 0 0 0,0 0 1 0 0,0 0-1 0 0,1-1 0 0 0,-1 0 0 0 0,0 0 0 0 0,0 0 0 0 0,1-1 0 0 0,-1 0 0 0 0,0 0 0 0 0,9-3 1 0 0,-2 0-12 0 0,0 0 0 0 0,-1-1 1 0 0,0-1-1 0 0,13-7 0 0 0,-17 7-66 0 0,1 1 0 0 0,-1-2-1 0 0,0 1 1 0 0,-1 0 0 0 0,0-1 0 0 0,0-1-1 0 0,0 1 1 0 0,-1-1 0 0 0,0 0 0 0 0,0 0-1 0 0,-1 0 1 0 0,0 0 0 0 0,0-1-1 0 0,-1 0 1 0 0,3-15 0 0 0,-2 7 12 0 0,-1-1 0 0 0,-1 0 1 0 0,-1 0-1 0 0,0 0 0 0 0,-1 0 1 0 0,-1 1-1 0 0,-4-23 0 0 0,-3 11-134 0 0,8 28 102 0 0,0 0 0 0 0,0 1 0 0 0,-1-1-1 0 0,1 0 1 0 0,0 0 0 0 0,0 1-1 0 0,-1-1 1 0 0,1 0 0 0 0,0 0 0 0 0,-1 1-1 0 0,1-1 1 0 0,-1 0 0 0 0,1 1-1 0 0,-1-1 1 0 0,1 0 0 0 0,-1 1 0 0 0,0-1-1 0 0,1 1 1 0 0,-1-1 0 0 0,0 1-1 0 0,1-1 1 0 0,-1 1 0 0 0,0 0 0 0 0,0-1-1 0 0,1 1 1 0 0,-1 0 0 0 0,0-1-1 0 0,0 1 1 0 0,1 0 0 0 0,-1 0 0 0 0,0 0-1 0 0,0 0 1 0 0,0 0 0 0 0,-1 0-1 0 0,-1 1-1 0 0,0 1-1 0 0,0-1 0 0 0,0 1 1 0 0,0 0-1 0 0,0 0 1 0 0,0 0-1 0 0,1 1 0 0 0,-1-1 1 0 0,1 0-1 0 0,-1 1 0 0 0,1 0 1 0 0,0-1-1 0 0,0 1 1 0 0,0 0-1 0 0,-1 4 0 0 0,0-1 4 0 0,1 0 0 0 0,0 0 0 0 0,0 0 1 0 0,1 0-1 0 0,-1 0 0 0 0,1 0 0 0 0,1 1 0 0 0,-1 6 0 0 0,1-3 15 0 0,1 0 0 0 0,0 0 0 0 0,0 0 1 0 0,1 0-1 0 0,0 0 0 0 0,1 0 0 0 0,0 0 0 0 0,1 0 0 0 0,0-1 1 0 0,8 15-1 0 0,-5-15 20 0 0,0 0 1 0 0,0 0 0 0 0,1-1-1 0 0,0-1 1 0 0,0 1-1 0 0,1-1 1 0 0,0-1 0 0 0,0 1-1 0 0,0-2 1 0 0,1 1 0 0 0,0-1-1 0 0,0-1 1 0 0,15 5-1 0 0,-19-7-89 0 0,0 0-1 0 0,-1-1 1 0 0,1 0-1 0 0,0 0 0 0 0,0 0 1 0 0,0-1-1 0 0,0 1 1 0 0,0-2-1 0 0,0 1 0 0 0,0-1 1 0 0,0 0-1 0 0,-1 0 1 0 0,1 0-1 0 0,0-1 0 0 0,-1 0 1 0 0,1 0-1 0 0,-1 0 1 0 0,1-1-1 0 0,-1 0 0 0 0,0 0 1 0 0,0 0-1 0 0,0 0 1 0 0,-1-1-1 0 0,1 0 0 0 0,-1 0 1 0 0,7-8-1 0 0,-5 2-202 0 0,0 1-1 0 0,-1-1 1 0 0,0-1-1 0 0,0 1 1 0 0,-1-1-1 0 0,-1 1 0 0 0,0-1 1 0 0,0 0-1 0 0,-1 0 1 0 0,2-23-1 0 0,-3-1 338 0 0,-1-1 0 0 0,-5-40 0 0 0,5 75-69 0 0,0-4 21 0 0,-1 1 0 0 0,1-1 0 0 0,-1 0 0 0 0,0 1 0 0 0,0 0 0 0 0,0-1 0 0 0,0 1 0 0 0,-1 0-1 0 0,-3-7 1 0 0,4 10-7 0 0,-1 1-20 0 0,0 0 0 0 0,1 0 1 0 0,-1 0-1 0 0,0 1 0 0 0,0-1 0 0 0,1 0 0 0 0,-1 1 1 0 0,0 0-1 0 0,0-1 0 0 0,1 1 0 0 0,-1 0 0 0 0,1 0 1 0 0,-1 0-1 0 0,1 0 0 0 0,-1 0 0 0 0,1 0 0 0 0,0 0 0 0 0,-1 1 1 0 0,1-1-1 0 0,-2 3 0 0 0,0 0 4 0 0,1 0-1 0 0,0 0 1 0 0,1 0-1 0 0,-1 0 1 0 0,1 0 0 0 0,-1 0-1 0 0,1 0 1 0 0,-1 7-1 0 0,1 3-98 0 0,0 0 0 0 0,1-1 1 0 0,1 1-1 0 0,3 25 0 0 0,1-20-377 0 0,0 1 0 0 0,1 0 0 0 0,12 26 0 0 0,17 19-3517 0 0,-18-39 1010 0 0</inkml:trace>
</inkml:ink>
</file>

<file path=ppt/ink/ink9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47.9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 14 1748 0 0,'-11'-14'3662'0'0,"17"23"-1193"0"0,19 26-658 0 0,3-1-936 0 0,-2 1 0 0 0,36 65 0 0 0,-36-59 2687 0 0,-36-67-3064 0 0,9 22-509 0 0,1-1 1 0 0,-1 1-1 0 0,1 0 1 0 0,0-1-1 0 0,0 1 1 0 0,0 0-1 0 0,0-1 1 0 0,1 1-1 0 0,0 0 1 0 0,0 0-1 0 0,0 0 1 0 0,0-1-1 0 0,1 1 1 0 0,-1 0-1 0 0,1 0 1 0 0,0 1-1 0 0,0-1 1 0 0,1 0-1 0 0,-1 1 1 0 0,1-1-1 0 0,0 1 1 0 0,0 0-1 0 0,6-6 1 0 0,-5 6-158 0 0,0 0 0 0 0,1 0 0 0 0,0 1 0 0 0,-1-1 0 0 0,1 1 0 0 0,0 0 0 0 0,0 0 1 0 0,0 1-1 0 0,0-1 0 0 0,1 1 0 0 0,-1 0 0 0 0,0 1 0 0 0,1-1 0 0 0,-1 1 0 0 0,0 0 0 0 0,1 0 0 0 0,-1 1 0 0 0,10 2 1 0 0,-1 0-1528 0 0,0 1 1 0 0,-1 1 0 0 0,26 13-1 0 0,-21-9-2056 0 0</inkml:trace>
</inkml:ink>
</file>

<file path=ppt/ink/ink9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54.4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9 9 1572 0 0,'-10'-6'3620'0'0,"10"5"-3560"0"0,0 1-1 0 0,-1 0 0 0 0,1 0 1 0 0,-1-1-1 0 0,1 1 0 0 0,0 0 1 0 0,-1 0-1 0 0,1 0 0 0 0,-1 0 1 0 0,1-1-1 0 0,-1 1 0 0 0,1 0 0 0 0,-1 0 1 0 0,1 0-1 0 0,-1 0 0 0 0,1 0 1 0 0,0 0-1 0 0,-1 0 0 0 0,1 0 1 0 0,-1 0-1 0 0,1 1 0 0 0,-1-1 1 0 0,1 0-1 0 0,-1 0 0 0 0,1 0 0 0 0,0 0 1 0 0,-1 1-1 0 0,1-1 0 0 0,-1 0 1 0 0,-4 15 943 0 0,7 23 105 0 0,-2-38-1091 0 0,43 211 2490 0 0,-8-51-1466 0 0,-9-18-379 0 0,38 217-105 0 0,-50-269-3529 0 0,-16-74-2540 0 0</inkml:trace>
</inkml:ink>
</file>

<file path=ppt/ink/ink9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54.98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377 200 0 0,'2'-8'296'0'0,"0"0"0"0"0,1 0 0 0 0,0 1 0 0 0,0 0 0 0 0,0-1 0 0 0,1 1 0 0 0,0 0 0 0 0,1 0-1 0 0,0 1 1 0 0,0 0 0 0 0,0 0 0 0 0,1 0 0 0 0,-1 0 0 0 0,1 1 0 0 0,1 0 0 0 0,-1 0 0 0 0,11-6 0 0 0,9-4-51 0 0,0 2 1 0 0,1 0-1 0 0,42-13 1 0 0,53-11 468 0 0,168-31 0 0 0,133 7-90 0 0,-410 59-572 0 0,64-8 686 0 0,0 3 1 0 0,122 6-1 0 0,-188 1-616 0 0,0 2 0 0 0,0 0 0 0 0,-1 0 0 0 0,1 1 1 0 0,0 0-1 0 0,-1 1 0 0 0,1 0 0 0 0,-1 0 0 0 0,-1 1 0 0 0,1 1 0 0 0,0 0 0 0 0,-1 0 0 0 0,-1 1 0 0 0,1 0 0 0 0,-1 0 0 0 0,0 1 0 0 0,0 0 0 0 0,-1 0 0 0 0,0 1 0 0 0,10 17 0 0 0,8 18 100 0 0,-2 1 0 0 0,-1 1 0 0 0,-3 1 0 0 0,-2 1-1 0 0,-2 0 1 0 0,17 94 0 0 0,-26-102-72 0 0,-1 1 1 0 0,-2 0-1 0 0,-4 76 0 0 0,0-102-36 0 0,-1 0-1 0 0,0 0 1 0 0,-2-1-1 0 0,1 1 1 0 0,-2-1 0 0 0,0 1-1 0 0,-1-1 1 0 0,0 0 0 0 0,-1-1-1 0 0,0 0 1 0 0,-1 0-1 0 0,-1 0 1 0 0,-16 18 0 0 0,4-12 118 0 0,-1-1 0 0 0,0 0 0 0 0,-1-2 0 0 0,0 0 0 0 0,-2-2 0 0 0,0-1 0 0 0,-39 15 0 0 0,0-5 358 0 0,-130 28 0 0 0,38-23-159 0 0,-1-7 1 0 0,-266 2 0 0 0,263-25-1803 0 0,60-4-7315 0 0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30.4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0 2048 0 0,'44'-18'7066'0'0,"-41"17"-6073"0"0,2 2 11 0 0,-3-1-833 0 0,0 0 1 0 0,1 1-1 0 0,-1 0 0 0 0,0-1 0 0 0,0 1 1 0 0,1 0-1 0 0,-1 0 0 0 0,0 0 0 0 0,0 0 1 0 0,0 1-1 0 0,0-1 0 0 0,0 1 0 0 0,0-1 1 0 0,-1 1-1 0 0,1 0 0 0 0,0-1 0 0 0,-1 1 1 0 0,1 0-1 0 0,-1 0 0 0 0,0 0 0 0 0,1 0 1 0 0,-1 0-1 0 0,0 1 0 0 0,0-1 0 0 0,-1 0 1 0 0,2 3-1 0 0,10 40 1397 0 0,11 86 1 0 0,-17-92-1330 0 0,18 131-406 0 0,-9-57-5560 0 0,-15-83-61 0 0,-2-17 763 0 0</inkml:trace>
</inkml:ink>
</file>

<file path=ppt/ink/ink9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55.32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2 81 1776 0 0,'-20'2'5008'0'0,"17"-2"-3894"0"0,-5-2 411 0 0,9-2-496 0 0,20-5-52 0 0,34-6-473 0 0,83-17 7 0 0,-49 14-3003 0 0,-86 17 2128 0 0,8 0 38 0 0</inkml:trace>
</inkml:ink>
</file>

<file path=ppt/ink/ink9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55.76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35 96 0 0,'-12'-34'9006'0'0,"29"266"-5306"0"0,0-3-931 0 0,-19-219-1814 0 0,-1-12-144 0 0,3 1-790 0 0,-1 0 0 0 0,1 0 0 0 0,0 0 0 0 0,0 0 1 0 0,-1 0-1 0 0,1 0 0 0 0,0 0 0 0 0,0 0 0 0 0,0 0 1 0 0,0 0-1 0 0,0 0 0 0 0,0 0 0 0 0,0 0 0 0 0,1 0 0 0 0,-1-1 1 0 0,5-7-35 0 0,0 1 1 0 0,0 0 0 0 0,1 0-1 0 0,0 0 1 0 0,1 1 0 0 0,0 0-1 0 0,0 0 1 0 0,0 1 0 0 0,0 0-1 0 0,1 0 1 0 0,0 1 0 0 0,1 0-1 0 0,-1 0 1 0 0,1 1 0 0 0,14-5-1 0 0,-11 5-14 0 0,0 0 0 0 0,-1 1 0 0 0,1 0 0 0 0,1 1 0 0 0,-1 0 0 0 0,0 1 0 0 0,0 0 0 0 0,1 1 0 0 0,-1 1 0 0 0,0 0 0 0 0,23 5 0 0 0,-29-5 16 0 0,0 1-1 0 0,-1 0 1 0 0,1 0 0 0 0,-1 1-1 0 0,1 0 1 0 0,-1 0-1 0 0,0 0 1 0 0,0 0-1 0 0,0 1 1 0 0,-1 0 0 0 0,1 0-1 0 0,-1 0 1 0 0,4 5-1 0 0,-6-6 12 0 0,0 0-1 0 0,-1-1 1 0 0,1 1-1 0 0,-1 0 1 0 0,0 0-1 0 0,0 0 1 0 0,0 0-1 0 0,0-1 1 0 0,0 2-1 0 0,-1-1 1 0 0,1 0-1 0 0,-1 0 1 0 0,0 0-1 0 0,0 0 1 0 0,0 0-1 0 0,0 0 1 0 0,-1 0-1 0 0,1 0 1 0 0,-1 0-1 0 0,0 0 1 0 0,1 0-1 0 0,-2 0 1 0 0,1 0-1 0 0,0 0 1 0 0,0-1-1 0 0,-3 4 1 0 0,-3 4 28 0 0,0-1 0 0 0,0 0 1 0 0,-1 0-1 0 0,0-1 0 0 0,0 0 0 0 0,-1-1 1 0 0,0 0-1 0 0,-1 0 0 0 0,1-1 0 0 0,-1 0 0 0 0,-17 7 1 0 0,12-6-420 0 0,0-1 1 0 0,0-1 0 0 0,0 0 0 0 0,-1-2 0 0 0,0 1-1 0 0,0-2 1 0 0,-24 2 0 0 0,38-4 46 0 0,0 0 0 0 0,0 0 0 0 0,1 0 1 0 0,-1 0-1 0 0,0 0 0 0 0,0-1 0 0 0,0 1 0 0 0,0 0 0 0 0,1-1 1 0 0,-1 0-1 0 0,0 1 0 0 0,0-1 0 0 0,1 0 0 0 0,-1 0 0 0 0,0 0 1 0 0,1 0-1 0 0,-1 0 0 0 0,1 0 0 0 0,-3-2 0 0 0</inkml:trace>
</inkml:ink>
</file>

<file path=ppt/ink/ink9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56.21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78 880 0 0,'5'1'1982'0'0,"0"0"-1480"0"0,0 0 0 0 0,0 0 0 0 0,0 1 0 0 0,0 0 0 0 0,0 0 0 0 0,0 0 1 0 0,0 0-1 0 0,0 1 0 0 0,-1 0 0 0 0,1 0 0 0 0,-1 0 0 0 0,0 1 0 0 0,0-1 0 0 0,0 1 1 0 0,4 6-1 0 0,7 12 221 0 0,-1 1 1 0 0,0 1-1 0 0,-2 0 1 0 0,-1 1-1 0 0,-2 0 1 0 0,13 44-1 0 0,-9 3-4671 0 0,-12-69 3334 0 0,-1-1 0 0 0,0 1 0 0 0,1-1 0 0 0,-1 1 0 0 0,0-1 0 0 0,-1 1-1 0 0,1-1 1 0 0,-1 5 0 0 0,0-3-589 0 0</inkml:trace>
  <inkml:trace contextRef="#ctx0" brushRef="#br0" timeOffset="1">91 120 1304 0 0,'-4'-16'1684'0'0,"2"-1"-416"0"0,-4 5-284 0 0,4-1-199 0 0,0 4-129 0 0,-2-2 136 0 0,0-5-700 0 0,0 0-704 0 0,0 7-696 0 0</inkml:trace>
</inkml:ink>
</file>

<file path=ppt/ink/ink9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7:56.58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22 54 1060 0 0,'4'-2'567'0'0,"0"0"-1"0"0,0 0 1 0 0,0 0 0 0 0,0 0-1 0 0,0-1 1 0 0,0 1 0 0 0,-1-1-1 0 0,0 0 1 0 0,1 0-1 0 0,-1 0 1 0 0,0-1 0 0 0,0 1-1 0 0,-1-1 1 0 0,4-5 0 0 0,-5 7-203 0 0,-1 2-334 0 0,-1-1 0 0 0,1 1 0 0 0,-1 0 0 0 0,1-1 0 0 0,0 1 0 0 0,-1 0 0 0 0,1-1 0 0 0,-1 1 0 0 0,1 0 1 0 0,-1 0-1 0 0,1-1 0 0 0,0 1 0 0 0,-1 0 0 0 0,1 0 0 0 0,-1 0 0 0 0,1 0 0 0 0,-1 0 0 0 0,0 0 0 0 0,1 0 0 0 0,-1 0 1 0 0,0 0-1 0 0,-11 5 22 0 0,0 1 0 0 0,1 0 0 0 0,0 1 0 0 0,0 0 0 0 0,0 0 0 0 0,1 2 1 0 0,0-1-1 0 0,0 1 0 0 0,1 1 0 0 0,0-1 0 0 0,1 1 0 0 0,0 1 0 0 0,1 0 1 0 0,-9 17-1 0 0,14-24-10 0 0,0 0 1 0 0,1 0 0 0 0,-1 0 0 0 0,1 1-1 0 0,0-1 1 0 0,0 0 0 0 0,1 1 0 0 0,-1-1-1 0 0,1 1 1 0 0,0-1 0 0 0,1 8-1 0 0,-1-11-31 0 0,0 0-1 0 0,1 0 1 0 0,-1 0-1 0 0,1 0 1 0 0,-1-1-1 0 0,1 1 1 0 0,-1 0 0 0 0,1 0-1 0 0,0 0 1 0 0,-1 0-1 0 0,1 0 1 0 0,0-1-1 0 0,0 1 1 0 0,0 0-1 0 0,0-1 1 0 0,-1 1-1 0 0,1-1 1 0 0,0 1-1 0 0,0-1 1 0 0,0 1-1 0 0,0-1 1 0 0,0 0-1 0 0,0 1 1 0 0,0-1-1 0 0,2 0 1 0 0,32 3 107 0 0,-19-4-137 0 0,-1 0-1 0 0,1 1 0 0 0,27 5 0 0 0,-37-4 36 0 0,1 0 0 0 0,-1 1 0 0 0,1 0 0 0 0,-1 0-1 0 0,0 1 1 0 0,0 0 0 0 0,0 0 0 0 0,0 0 0 0 0,0 1 0 0 0,-1 0-1 0 0,0 0 1 0 0,7 6 0 0 0,-7-4 83 0 0,0 1 0 0 0,0 0 0 0 0,0 0 0 0 0,-1 1-1 0 0,0-1 1 0 0,-1 1 0 0 0,1-1 0 0 0,-1 1 0 0 0,-1 0 0 0 0,0 1 0 0 0,0-1-1 0 0,-1 0 1 0 0,1 1 0 0 0,-2-1 0 0 0,1 0 0 0 0,-1 1 0 0 0,-1-1 0 0 0,-1 12-1 0 0,1-14 67 0 0,0 1-1 0 0,0 0 1 0 0,-1 0-1 0 0,0-1 1 0 0,0 1-1 0 0,0-1 1 0 0,-1 0-1 0 0,0 0 1 0 0,-1 0-1 0 0,1 0 1 0 0,-1 0-1 0 0,0-1 1 0 0,0 1-1 0 0,-1-1 1 0 0,1 0-1 0 0,-1 0 1 0 0,-1-1-1 0 0,1 0 1 0 0,0 0-1 0 0,-1 0 1 0 0,0 0-1 0 0,0-1 1 0 0,-7 3-1 0 0,9-5-34 0 0,-1 0 1 0 0,0 0-1 0 0,0 0 1 0 0,1 0-1 0 0,-1-1 1 0 0,0 0-1 0 0,0 0 1 0 0,0 0-1 0 0,1-1 1 0 0,-1 1-1 0 0,0-1 1 0 0,0 0-1 0 0,1-1 1 0 0,-1 1-1 0 0,1-1 1 0 0,-1 0-1 0 0,1 0 1 0 0,0 0-1 0 0,-1-1 1 0 0,-5-4-1 0 0,6 4-176 0 0,1-1 0 0 0,-1 1-1 0 0,1-1 1 0 0,0 1 0 0 0,0-1-1 0 0,1 0 1 0 0,-1 0 0 0 0,1 0-1 0 0,0 0 1 0 0,0-1 0 0 0,0 1 0 0 0,0 0-1 0 0,1-1 1 0 0,0 0 0 0 0,0 1-1 0 0,0-1 1 0 0,0 0 0 0 0,1 1-1 0 0,0-8 1 0 0,1 4-455 0 0,1-1 1 0 0,-1 1-1 0 0,1 0 1 0 0,1 0-1 0 0,0 0 1 0 0,0 1-1 0 0,0-1 0 0 0,1 1 1 0 0,0-1-1 0 0,7-7 1 0 0,-5 5-1841 0 0,2 1 1 0 0,14-17 0 0 0,-8 14-2768 0 0</inkml:trace>
</inkml:ink>
</file>

<file path=ppt/ink/ink9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07.62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02 115 564 0 0,'-7'-17'2079'0'0,"-1"1"0"0"0,-13-21 0 0 0,-5-8 1114 0 0,31 59-3014 0 0,0-1 0 0 0,-1 1 0 0 0,-1 0 0 0 0,-1 0 1 0 0,2 22-1 0 0,-1-11-5 0 0,3 27 262 0 0,-2 0 0 0 0,-3 0-1 0 0,-2 0 1 0 0,-2 0 0 0 0,-17 90 0 0 0,13-108-225 0 0,-2 0 0 0 0,-2-1 0 0 0,0-1 0 0 0,-2 0 0 0 0,-2 0 0 0 0,-1-2 0 0 0,-1 0 0 0 0,-1 0 0 0 0,-38 43-1 0 0,46-61-150 0 0,-1 0-1 0 0,-1-1 0 0 0,0-1 0 0 0,0 0 0 0 0,-1-1 1 0 0,0 0-1 0 0,-16 8 0 0 0,25-15-77 0 0,0 0 1 0 0,0 0-1 0 0,0 0 0 0 0,0-1 1 0 0,-1 0-1 0 0,1 0 0 0 0,0 0 1 0 0,-1 0-1 0 0,1 0 0 0 0,-1-1 1 0 0,1 0-1 0 0,0 0 0 0 0,-1 0 1 0 0,1-1-1 0 0,-1 1 0 0 0,1-1 1 0 0,0 0-1 0 0,0 0 0 0 0,-1-1 1 0 0,1 1-1 0 0,0-1 0 0 0,0 0 1 0 0,0 0-1 0 0,0 0 0 0 0,1-1 1 0 0,-1 1-1 0 0,1-1 0 0 0,-1 0 1 0 0,1 0-1 0 0,-3-4 0 0 0,1 1-53 0 0,0-1 0 0 0,1 0 0 0 0,0 0 0 0 0,1 0-1 0 0,-1-1 1 0 0,2 1 0 0 0,-1-1 0 0 0,1 0-1 0 0,0 0 1 0 0,0 0 0 0 0,1 0 0 0 0,0 0 0 0 0,0 0-1 0 0,1 0 1 0 0,0 0 0 0 0,1 0 0 0 0,0 0-1 0 0,2-11 1 0 0,1 1-56 0 0,0 0-1 0 0,1 1 1 0 0,1 0-1 0 0,1 0 1 0 0,0 0-1 0 0,1 1 0 0 0,13-19 1 0 0,-18 31 100 0 0,0 0 1 0 0,0 0-1 0 0,0 0 1 0 0,1 0-1 0 0,-1 1 0 0 0,1 0 1 0 0,0 0-1 0 0,0 0 1 0 0,0 0-1 0 0,0 0 1 0 0,0 1-1 0 0,1 0 0 0 0,-1 0 1 0 0,9-2-1 0 0,-6 2 16 0 0,1 1-1 0 0,-1 0 1 0 0,1 0 0 0 0,-1 1-1 0 0,1-1 1 0 0,-1 2-1 0 0,1-1 1 0 0,13 4-1 0 0,2 2 53 0 0,-1 1-1 0 0,1 2 0 0 0,-1 0 0 0 0,-1 1 0 0 0,21 13 0 0 0,-6 0-1325 0 0,61 51 1 0 0,-36-25-4442 0 0,-49-38 3166 0 0</inkml:trace>
</inkml:ink>
</file>

<file path=ppt/ink/ink9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07.98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5 200 808 0 0,'-4'-9'1464'0'0,"0"1"1"0"0,1-1-1 0 0,-1 0 0 0 0,2 1 1 0 0,-1-1-1 0 0,-1-17 0 0 0,3 23-1350 0 0,1 0-1 0 0,1 0 1 0 0,-1 0-1 0 0,0 0 1 0 0,1 0-1 0 0,0 0 1 0 0,-1 0-1 0 0,1 0 1 0 0,0 0-1 0 0,1 1 1 0 0,-1-1-1 0 0,0 0 1 0 0,1 1-1 0 0,-1-1 1 0 0,1 1-1 0 0,0-1 1 0 0,0 1-1 0 0,0 0 1 0 0,0 0-1 0 0,0 0 1 0 0,1 0-1 0 0,-1 0 1 0 0,1 1-1 0 0,-1-1 1 0 0,5-1-1 0 0,11-7-77 0 0,0 2-1 0 0,1 0 0 0 0,1 1 0 0 0,-1 2 0 0 0,1-1 1 0 0,0 2-1 0 0,0 1 0 0 0,24-1 0 0 0,61 4-3200 0 0,-2 10-3640 0 0,-85-7 4853 0 0</inkml:trace>
</inkml:ink>
</file>

<file path=ppt/ink/ink9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09.9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32 1132 0 0,'1'-2'1666'0'0,"0"-7"-662"0"0,3-12 3246 0 0,0 25-2612 0 0,2 14-807 0 0,3 17 106 0 0,-1-1 1 0 0,-2 1-1 0 0,1 41 0 0 0,-4 106 989 0 0,-4-113-1402 0 0,-9 71-220 0 0,6-102-683 0 0,1-19-132 0 0,1-4-1491 0 0</inkml:trace>
</inkml:ink>
</file>

<file path=ppt/ink/ink9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0.33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4 117 1232 0 0,'0'0'1302'0'0,"-3"0"-314"0"0,-7 1 1678 0 0,29-3-1051 0 0,156-14-376 0 0,284-35 456 0 0,-444 49-1111 0 0,0-1 0 0 0,27-9 0 0 0,-38 10-438 0 0,0 0 1 0 0,0-1-1 0 0,0 1 1 0 0,-1-1-1 0 0,1 1 0 0 0,-1-1 1 0 0,1 0-1 0 0,-1-1 0 0 0,3-2 1 0 0,-5 4-55 0 0,3 3-98 0 0,-1 0 5 0 0,-1 0-1 0 0,1 0 1 0 0,-1 0 0 0 0,1 0-1 0 0,-1 1 1 0 0,1-1 0 0 0,-1 1-1 0 0,0 0 1 0 0,0-1-1 0 0,0 1 1 0 0,0 0 0 0 0,0 0-1 0 0,0 0 1 0 0,-1 1-1 0 0,1-1 1 0 0,-1 0 0 0 0,1 1-1 0 0,-1-1 1 0 0,0 1-1 0 0,2 4 1 0 0,3 7 1 0 0,-1 0 0 0 0,0 1 0 0 0,-1-1 0 0 0,0 1 0 0 0,-1 0 0 0 0,1 23 0 0 0,-3-20-2535 0 0,-1-1 0 0 0,-5 34 0 0 0,3-38-1466 0 0</inkml:trace>
</inkml:ink>
</file>

<file path=ppt/ink/ink9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0.71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00 150 644 0 0,'-10'-20'1716'0'0,"0"4"-372"0"0,0-2-376 0 0,0 2-115 0 0,2 0-277 0 0,-2 3-24 0 0,0 0-216 0 0,4 3-156 0 0,-2-1-356 0 0,2 4-196 0 0,-6-2-660 0 0</inkml:trace>
</inkml:ink>
</file>

<file path=ppt/ink/ink9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1.18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13 71 128 0 0,'3'-1'1191'0'0,"1"-1"-686"0"0,-1 0 0 0 0,1 0 1 0 0,0-1-1 0 0,-1 0 0 0 0,0 1 1 0 0,0-1-1 0 0,1 0 0 0 0,-2-1 0 0 0,1 1 1 0 0,0-1-1 0 0,4-7 0 0 0,2-2 488 0 0,-8 12-639 0 0,0 0-329 0 0,-1 1-1 0 0,0-1 0 0 0,0 1 1 0 0,0-1-1 0 0,0 1 0 0 0,0-1 1 0 0,0 1-1 0 0,0-1 0 0 0,0 1 0 0 0,0-1 1 0 0,0 1-1 0 0,0-1 0 0 0,0 1 1 0 0,0-1-1 0 0,0 1 0 0 0,0-1 1 0 0,-1 1-1 0 0,1-1 0 0 0,0 1 0 0 0,0 0 1 0 0,0-1-1 0 0,-1 1 0 0 0,1-1 1 0 0,0 1-1 0 0,-1 0 0 0 0,0-1 1 0 0,-4 1-10 0 0,-1 0 0 0 0,1 1 0 0 0,-1 0 0 0 0,1 0 0 0 0,-1 0 0 0 0,1 1 0 0 0,0 0 0 0 0,0 0 0 0 0,0 0 0 0 0,0 1 1 0 0,0-1-1 0 0,0 1 0 0 0,0 0 0 0 0,1 1 0 0 0,-5 3 0 0 0,-1 2-8 0 0,0 1 1 0 0,0 0-1 0 0,0 0 0 0 0,2 1 1 0 0,-10 13-1 0 0,16-22-2 0 0,1 0 1 0 0,-1 1-1 0 0,1-1 0 0 0,0 0 0 0 0,0 1 1 0 0,-1-1-1 0 0,2 1 0 0 0,-1-1 1 0 0,0 1-1 0 0,0 0 0 0 0,1-1 1 0 0,-1 1-1 0 0,1 0 0 0 0,0-1 1 0 0,0 1-1 0 0,0 0 0 0 0,0 0 0 0 0,1-1 1 0 0,-1 1-1 0 0,1 0 0 0 0,-1-1 1 0 0,1 1-1 0 0,0-1 0 0 0,0 1 1 0 0,0-1-1 0 0,2 4 0 0 0,0-3 7 0 0,0 0 0 0 0,0 0-1 0 0,0 0 1 0 0,0-1-1 0 0,0 1 1 0 0,0-1 0 0 0,1 0-1 0 0,-1 0 1 0 0,1 0-1 0 0,-1 0 1 0 0,1-1 0 0 0,0 1-1 0 0,0-1 1 0 0,0 0-1 0 0,0 0 1 0 0,8 0 0 0 0,5 1-25 0 0,1 0 1 0 0,-1 2-1 0 0,27 8 1 0 0,-39-10 29 0 0,0 0 0 0 0,0 0 0 0 0,0 1 0 0 0,0-1 1 0 0,-1 1-1 0 0,1 0 0 0 0,-1 1 0 0 0,0-1 0 0 0,0 1 0 0 0,0 0 1 0 0,0 0-1 0 0,-1 0 0 0 0,1 0 0 0 0,-1 1 0 0 0,5 9 0 0 0,-6-7 83 0 0,1-1 0 0 0,-1 1 0 0 0,0 0 0 0 0,-1 0 0 0 0,1 0-1 0 0,-1 0 1 0 0,-1 0 0 0 0,1 0 0 0 0,-1 1 0 0 0,-1-1 0 0 0,1 0 0 0 0,-1 0 0 0 0,0 0-1 0 0,-1 0 1 0 0,-4 12 0 0 0,1-5 109 0 0,-1 1 0 0 0,-1-1 0 0 0,0 0 0 0 0,-1 0 0 0 0,-1-1 0 0 0,-11 14 0 0 0,13-19-30 0 0,-1 0 0 0 0,0-1 0 0 0,0 0 0 0 0,0 0 1 0 0,-1-1-1 0 0,-17 10 0 0 0,25-15-166 0 0,0 0 0 0 0,0 0 0 0 0,0-1 0 0 0,-1 1 0 0 0,1 0 0 0 0,0-1 1 0 0,0 1-1 0 0,-1-1 0 0 0,1 0 0 0 0,0 1 0 0 0,-1-1 0 0 0,1 0 0 0 0,0 0 0 0 0,-1 0 0 0 0,1 1 1 0 0,-1-2-1 0 0,1 1 0 0 0,0 0 0 0 0,-1 0 0 0 0,1 0 0 0 0,0-1 0 0 0,-1 1 0 0 0,1 0 1 0 0,0-1-1 0 0,0 1 0 0 0,-1-1 0 0 0,1 0 0 0 0,0 1 0 0 0,0-1 0 0 0,0 0 0 0 0,0 0 1 0 0,0 0-1 0 0,0 0 0 0 0,-1-1 0 0 0,1 1-32 0 0,0-1 0 0 0,0 0 0 0 0,1 1 0 0 0,-1-1 0 0 0,0 0 0 0 0,1 1 1 0 0,0-1-1 0 0,-1 0 0 0 0,1 0 0 0 0,0 0 0 0 0,0 1 0 0 0,0-1 0 0 0,0 0 0 0 0,0 0 0 0 0,1 0 0 0 0,-1 1 0 0 0,0-1 0 0 0,1 0 1 0 0,-1 0-1 0 0,1 1 0 0 0,0-1 0 0 0,0 0 0 0 0,1-1 0 0 0,4-7-107 0 0,1 1 0 0 0,0 1 0 0 0,1-1 0 0 0,0 1 1 0 0,0 1-1 0 0,1-1 0 0 0,-1 1 0 0 0,18-10 0 0 0,86-40-502 0 0,-89 47 531 0 0,26-13-31 0 0,7-2 43 0 0,58-35-1 0 0,-99 50 137 0 0,0 0-1 0 0,-1 0 1 0 0,0-2-1 0 0,-1 0 1 0 0,0 0-1 0 0,-1-1 1 0 0,0 0-1 0 0,14-22 1 0 0,-24 32-37 0 0,-1 0 0 0 0,0 1 0 0 0,1-1 0 0 0,-1 0 0 0 0,0 0 0 0 0,0 0 0 0 0,-1 0 0 0 0,1-1 0 0 0,-1 1-1 0 0,1 0 1 0 0,-1 0 0 0 0,0 0 0 0 0,0 0 0 0 0,0-1 0 0 0,-1 1 0 0 0,0-5 0 0 0,0 7-11 0 0,0 1 0 0 0,0-1 1 0 0,0 0-1 0 0,0 0 0 0 0,0 1 0 0 0,0-1 0 0 0,0 0 0 0 0,0 1 0 0 0,0-1 0 0 0,0 1 0 0 0,0-1 1 0 0,0 1-1 0 0,0 0 0 0 0,-2-1 0 0 0,2 1 4 0 0,-1-1 0 0 0,1 1 1 0 0,0-1-1 0 0,0 1 0 0 0,0 0 0 0 0,-1 0 1 0 0,1 0-1 0 0,0-1 0 0 0,0 1 1 0 0,-1 0-1 0 0,1 0 0 0 0,0 1 0 0 0,0-1 1 0 0,0 0-1 0 0,-1 0 0 0 0,1 1 0 0 0,-1 0 1 0 0,-3 0 24 0 0,-2 0 11 0 0,1 0 0 0 0,-1 1 0 0 0,1 0 0 0 0,-1 0 1 0 0,1 1-1 0 0,0-1 0 0 0,0 1 0 0 0,0 1 1 0 0,0-1-1 0 0,0 1 0 0 0,1 0 0 0 0,0 0 0 0 0,-1 1 1 0 0,2 0-1 0 0,-1 0 0 0 0,1 0 0 0 0,-1 0 1 0 0,1 0-1 0 0,1 1 0 0 0,-1 0 0 0 0,-3 8 1 0 0,5-9-86 0 0,0 0 1 0 0,0-1 0 0 0,1 1 0 0 0,0 0 0 0 0,-1 0 0 0 0,2 1 0 0 0,-1-1 0 0 0,1 0 0 0 0,0 0 0 0 0,0 0 0 0 0,0 0 0 0 0,0 1-1 0 0,1-1 1 0 0,0 0 0 0 0,0 0 0 0 0,1 0 0 0 0,-1 0 0 0 0,1 0 0 0 0,0-1 0 0 0,0 1 0 0 0,1 0 0 0 0,0-1 0 0 0,-1 0 0 0 0,1 1-1 0 0,1-1 1 0 0,-1 0 0 0 0,8 6 0 0 0,-7-5-419 0 0,1-1 0 0 0,0 0-1 0 0,0 0 1 0 0,1 0 0 0 0,-1-1-1 0 0,1 1 1 0 0,-1-1-1 0 0,1-1 1 0 0,0 1 0 0 0,0-1-1 0 0,1 0 1 0 0,-1 0 0 0 0,0-1-1 0 0,1 0 1 0 0,-1 0 0 0 0,0 0-1 0 0,12-1 1 0 0,-2-3-1951 0 0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30.72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 118 1860 0 0,'-6'-11'5611'0'0,"8"8"-5342"0"0,0 1 0 0 0,-1 0-1 0 0,1-1 1 0 0,0 1 0 0 0,0 0 0 0 0,1 0-1 0 0,-1 0 1 0 0,0 0 0 0 0,1 1-1 0 0,-1-1 1 0 0,1 1 0 0 0,-1-1 0 0 0,1 1-1 0 0,3-1 1 0 0,49-16 1177 0 0,-35 13-917 0 0,40-10-10 0 0,-1 3-1 0 0,105-8 1 0 0,-83 12-2732 0 0,-33 9-4943 0 0</inkml:trace>
</inkml:ink>
</file>

<file path=ppt/ink/ink9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1.59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46 1084 0 0,'2'-2'242'0'0,"0"0"0"0"0,0 0 0 0 0,1 1 0 0 0,-1-1 0 0 0,0 1 0 0 0,1-1 0 0 0,-1 1 0 0 0,0 0 0 0 0,1 0 0 0 0,0 0 0 0 0,-1 0 0 0 0,1 0 0 0 0,0 1 0 0 0,-1-1 0 0 0,1 1 0 0 0,0-1 0 0 0,0 1 0 0 0,-1 0 0 0 0,1 0 0 0 0,0 0 0 0 0,0 1 0 0 0,-1-1 0 0 0,5 2 0 0 0,-4-1-133 0 0,0 1 1 0 0,-1-1-1 0 0,1 1 0 0 0,-1-1 1 0 0,1 1-1 0 0,-1 0 1 0 0,1 0-1 0 0,-1 0 1 0 0,0 1-1 0 0,0-1 1 0 0,0 0-1 0 0,0 1 1 0 0,-1-1-1 0 0,1 1 0 0 0,-1 0 1 0 0,1-1-1 0 0,-1 1 1 0 0,0 0-1 0 0,0 0 1 0 0,1 4-1 0 0,0 5 419 0 0,0 0 0 0 0,-1 1-1 0 0,0-1 1 0 0,-1 17 0 0 0,-1-8 3005 0 0,-1-28-3033 0 0,2 7-491 0 0,0-1 1 0 0,0 1-1 0 0,0-1 0 0 0,-1 1 0 0 0,1-1 0 0 0,0 1 1 0 0,0-1-1 0 0,0 1 0 0 0,0-1 0 0 0,0 1 0 0 0,0-1 1 0 0,0 1-1 0 0,0-1 0 0 0,0 1 0 0 0,0-1 1 0 0,0 1-1 0 0,0-1 0 0 0,0 1 0 0 0,1-1 0 0 0,-1 1 1 0 0,0-1-1 0 0,7-17-28 0 0,0 1 0 0 0,2 1 1 0 0,0 0-1 0 0,0 0 0 0 0,1 0 1 0 0,1 1-1 0 0,26-26 0 0 0,-26 30-590 0 0,1 0-1 0 0,0 2 0 0 0,1-1 1 0 0,0 1-1 0 0,1 1 0 0 0,-1 1 1 0 0,2 0-1 0 0,-1 1 1 0 0,28-9-1 0 0,-28 12-1066 0 0,1 0-1 0 0,19-2 1 0 0,-13 3-710 0 0</inkml:trace>
</inkml:ink>
</file>

<file path=ppt/ink/ink9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2.06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44 360 0 0,'18'16'3034'0'0,"-15"-13"-2593"0"0,0 0 1 0 0,0 0-1 0 0,0 0 0 0 0,1-1 1 0 0,-1 1-1 0 0,1-1 0 0 0,0 0 1 0 0,-1 0-1 0 0,1 0 0 0 0,0 0 1 0 0,0-1-1 0 0,0 0 1 0 0,1 0-1 0 0,-1 0 0 0 0,0 0 1 0 0,7 0-1 0 0,6-1-230 0 0,0 0 1 0 0,-1-2-1 0 0,1 0 1 0 0,0 0-1 0 0,-1-2 1 0 0,0 0-1 0 0,0-1 1 0 0,0-1-1 0 0,0 0 1 0 0,18-11-1 0 0,-28 14-192 0 0,1-1 0 0 0,-1-1 0 0 0,0 1 0 0 0,0-1 0 0 0,-1 0 0 0 0,0 0 0 0 0,1-1 1 0 0,-2 0-1 0 0,1 0 0 0 0,-1 0 0 0 0,5-9 0 0 0,-6 10-25 0 0,-1 0 1 0 0,0 0 0 0 0,-1-1-1 0 0,1 1 1 0 0,-1-1 0 0 0,0 0-1 0 0,-1 1 1 0 0,1-1-1 0 0,-1 0 1 0 0,0 1 0 0 0,-1-1-1 0 0,1 0 1 0 0,-1 1 0 0 0,0-1-1 0 0,-1 1 1 0 0,-3-10 0 0 0,4 10-42 0 0,-1 1 1 0 0,1 0 0 0 0,-1-1-1 0 0,0 1 1 0 0,-1 0 0 0 0,1 0 0 0 0,-1 0-1 0 0,0 1 1 0 0,0-1 0 0 0,0 1 0 0 0,0-1-1 0 0,0 1 1 0 0,-1 0 0 0 0,0 0 0 0 0,1 1-1 0 0,-1-1 1 0 0,-7-3 0 0 0,9 5 29 0 0,0 1 1 0 0,-1-1-1 0 0,1 1 1 0 0,0-1-1 0 0,0 1 0 0 0,0 0 1 0 0,0 0-1 0 0,0 0 1 0 0,-1 0-1 0 0,1 0 1 0 0,0 1-1 0 0,0-1 1 0 0,0 0-1 0 0,0 1 1 0 0,0 0-1 0 0,0 0 0 0 0,0-1 1 0 0,0 1-1 0 0,0 0 1 0 0,0 0-1 0 0,0 1 1 0 0,1-1-1 0 0,-1 0 1 0 0,0 1-1 0 0,1-1 0 0 0,-1 1 1 0 0,1-1-1 0 0,0 1 1 0 0,-1 0-1 0 0,-1 3 1 0 0,-1 1-1 0 0,0 1 1 0 0,1 0-1 0 0,-1 0 1 0 0,1 0 0 0 0,1 0-1 0 0,-4 15 1 0 0,3-1 71 0 0,0 1 1 0 0,2-1-1 0 0,0 1 1 0 0,2-1-1 0 0,3 25 1 0 0,24 109 141 0 0,0-3 488 0 0,-26-136-523 0 0,-1-5 347 0 0,0 1 0 0 0,0-1 1 0 0,-1 19-1 0 0,-1-27-349 0 0,1 0 1 0 0,-1 1-1 0 0,0-1 1 0 0,1 0 0 0 0,-1 0-1 0 0,-1-1 1 0 0,1 1-1 0 0,0 0 1 0 0,-1 0 0 0 0,1 0-1 0 0,-1-1 1 0 0,0 1-1 0 0,0-1 1 0 0,0 0 0 0 0,0 1-1 0 0,0-1 1 0 0,-5 3-1 0 0,5-4-100 0 0,1 0-1 0 0,-1-1 0 0 0,1 1 0 0 0,-1-1 1 0 0,0 0-1 0 0,1 1 0 0 0,-1-1 1 0 0,1 0-1 0 0,-1 0 0 0 0,0 0 1 0 0,1 0-1 0 0,-1 0 0 0 0,0 0 0 0 0,1-1 1 0 0,-1 1-1 0 0,0 0 0 0 0,1-1 1 0 0,-1 0-1 0 0,1 1 0 0 0,-1-1 0 0 0,1 0 1 0 0,-3-1-1 0 0,0 0 14 0 0,-1-1-1 0 0,0 0 1 0 0,1 0 0 0 0,0-1 0 0 0,-7-6-1 0 0,6 4-210 0 0,0 1-1 0 0,1-1 0 0 0,0 0 1 0 0,0 0-1 0 0,1-1 0 0 0,0 1 1 0 0,0-1-1 0 0,0 0 0 0 0,1 1 1 0 0,0-1-1 0 0,0 0 0 0 0,1 0 0 0 0,0-1 1 0 0,0 1-1 0 0,1 0 0 0 0,0-8 1 0 0,0 8-318 0 0,1 1 0 0 0,0 0 0 0 0,1 0 0 0 0,-1-1 0 0 0,1 1 1 0 0,0 0-1 0 0,1 1 0 0 0,0-1 0 0 0,0 0 0 0 0,0 1 0 0 0,0-1 0 0 0,1 1 1 0 0,0 0-1 0 0,0 0 0 0 0,0 1 0 0 0,1-1 0 0 0,-1 1 0 0 0,11-8 0 0 0,4 0-2400 0 0,-1-1-869 0 0</inkml:trace>
</inkml:ink>
</file>

<file path=ppt/ink/ink9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3.36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2 582 340 0 0,'0'0'1216'0'0,"3"0"-209"0"0,4 2-295 0 0,0-1-1 0 0,1 0 1 0 0,-1 0 0 0 0,1-1-1 0 0,-1 0 1 0 0,1 0 0 0 0,13-3-1 0 0,-9 0-347 0 0,0 0 0 0 0,0-1 0 0 0,0 0-1 0 0,16-8 1 0 0,-15 5-299 0 0,-1 0 0 0 0,0-1 0 0 0,0 0 0 0 0,-1 0-1 0 0,0-2 1 0 0,0 1 0 0 0,-1-1 0 0 0,-1-1 0 0 0,10-12 0 0 0,-15 16-57 0 0,0 0 1 0 0,-1 0 0 0 0,1-1 0 0 0,-1 0 0 0 0,-1 1-1 0 0,0-1 1 0 0,0 0 0 0 0,0 0 0 0 0,-1-1-1 0 0,0 1 1 0 0,-1 0 0 0 0,0 0 0 0 0,0 0-1 0 0,-1-1 1 0 0,0 1 0 0 0,0 0 0 0 0,-1 0 0 0 0,-3-10-1 0 0,4 13-10 0 0,-1 0 0 0 0,0 0-1 0 0,0 1 1 0 0,0-1-1 0 0,-1 0 1 0 0,1 1 0 0 0,-1-1-1 0 0,0 1 1 0 0,-1 0 0 0 0,1 0-1 0 0,-1 0 1 0 0,1 0 0 0 0,-1 0-1 0 0,0 1 1 0 0,0 0-1 0 0,-1 0 1 0 0,1 0 0 0 0,-1 1-1 0 0,0-1 1 0 0,1 1 0 0 0,-1 0-1 0 0,0 0 1 0 0,0 1-1 0 0,0-1 1 0 0,-1 1 0 0 0,1 0-1 0 0,0 1 1 0 0,-10-1 0 0 0,4 2 61 0 0,0 1 1 0 0,0 0-1 0 0,0 1 1 0 0,0 0-1 0 0,0 0 1 0 0,1 1-1 0 0,-1 1 1 0 0,1 0-1 0 0,0 0 1 0 0,1 1 0 0 0,-1 0-1 0 0,1 1 1 0 0,0 0-1 0 0,-8 9 1 0 0,8-8 55 0 0,0 1-1 0 0,1 0 1 0 0,0 1 0 0 0,0 0 0 0 0,1 0 0 0 0,1 1 0 0 0,0-1 0 0 0,0 1 0 0 0,1 1 0 0 0,0-1 0 0 0,1 1 0 0 0,-4 20 0 0 0,7-21-37 0 0,0 0 0 0 0,1 0 0 0 0,1 0 1 0 0,0 0-1 0 0,0 0 0 0 0,1 0 1 0 0,0 0-1 0 0,1 0 0 0 0,0 0 1 0 0,1-1-1 0 0,0 0 0 0 0,1 1 0 0 0,0-1 1 0 0,0-1-1 0 0,1 1 0 0 0,0-1 1 0 0,1 0-1 0 0,11 11 0 0 0,-2-3 46 0 0,0-1 1 0 0,1-1-1 0 0,1 0 0 0 0,1-2 0 0 0,0 0 0 0 0,1-1 0 0 0,39 18 0 0 0,-39-21-57 0 0,0-2-1 0 0,1-1 1 0 0,0 0 0 0 0,0-2-1 0 0,1 0 1 0 0,-1-1-1 0 0,1-1 1 0 0,0-2-1 0 0,-1 0 1 0 0,1-1-1 0 0,33-6 1 0 0,-38 4-55 0 0,-1-1-1 0 0,1-1 1 0 0,-1-1 0 0 0,0 0 0 0 0,0-1 0 0 0,-1 0 0 0 0,0-2 0 0 0,0 0-1 0 0,-1 0 1 0 0,0-1 0 0 0,-1-1 0 0 0,0-1 0 0 0,-1 1 0 0 0,0-2 0 0 0,11-15 0 0 0,-5 2-115 0 0,-1-1 0 0 0,-1-1 0 0 0,-2-1 0 0 0,0 0 0 0 0,-2-1 0 0 0,10-38 0 0 0,-10 19-53 0 0,-1-1 0 0 0,-3 0 0 0 0,3-61 0 0 0,-11 97 119 0 0,2-5-21 0 0,-2 1 0 0 0,-2-28 1 0 0,2 43 42 0 0,0 0 0 0 0,-1 0 0 0 0,1 0 0 0 0,-1 0 1 0 0,0 0-1 0 0,1 0 0 0 0,-2 0 0 0 0,1 0 0 0 0,0 0 1 0 0,0 0-1 0 0,-1 1 0 0 0,0-1 0 0 0,1 0 0 0 0,-1 1 0 0 0,0 0 1 0 0,0-1-1 0 0,0 1 0 0 0,-1 0 0 0 0,1 0 0 0 0,0 0 1 0 0,-6-3-1 0 0,5 4 7 0 0,0 1-1 0 0,1-1 1 0 0,-1 1 0 0 0,0 0 0 0 0,0-1 0 0 0,0 1-1 0 0,0 1 1 0 0,1-1 0 0 0,-1 0 0 0 0,0 1 0 0 0,0-1 0 0 0,1 1-1 0 0,-1 0 1 0 0,0 0 0 0 0,1 0 0 0 0,-1 0 0 0 0,1 1 0 0 0,-1-1-1 0 0,1 1 1 0 0,-1-1 0 0 0,1 1 0 0 0,0 0 0 0 0,0 0 0 0 0,-2 3-1 0 0,-5 3 6 0 0,1 1 0 0 0,0 0 0 0 0,1 0-1 0 0,-9 16 1 0 0,7-8 9 0 0,1-1 0 0 0,0 2 0 0 0,2-1 0 0 0,0 1 0 0 0,1 0 0 0 0,0 1 0 0 0,2-1 0 0 0,0 1 0 0 0,1 0 0 0 0,1 0 0 0 0,2 33 0 0 0,0-40-23 0 0,1 0-1 0 0,1 0 1 0 0,-1 0 0 0 0,2-1-1 0 0,-1 1 1 0 0,2-1-1 0 0,0 0 1 0 0,9 17-1 0 0,-9-21-55 0 0,0 0-1 0 0,0 0 0 0 0,1 0 1 0 0,0-1-1 0 0,0 1 0 0 0,1-1 1 0 0,0-1-1 0 0,0 1 1 0 0,0-1-1 0 0,1-1 0 0 0,0 1 1 0 0,12 4-1 0 0,-7-4-82 0 0,0-1 1 0 0,1-1-1 0 0,-1 0 0 0 0,0-1 1 0 0,1 0-1 0 0,0-1 1 0 0,-1-1-1 0 0,1 0 0 0 0,0-1 1 0 0,-1 0-1 0 0,1-1 0 0 0,-1 0 1 0 0,1-2-1 0 0,12-4 1 0 0,-6 1 167 0 0,-1 0-1 0 0,0-2 1 0 0,0 0 0 0 0,-1-2 0 0 0,0 0 0 0 0,-1 0 0 0 0,0-2 0 0 0,23-22 0 0 0,-35 29 30 0 0,0 0 0 0 0,0 0-1 0 0,0 0 1 0 0,-1-1 0 0 0,0 0-1 0 0,0 0 1 0 0,0 0 0 0 0,-1 0 0 0 0,4-12-1 0 0,-7 17-43 0 0,-1 1 0 0 0,1 0 0 0 0,0 0 0 0 0,0-1 0 0 0,0 1 1 0 0,-1 0-1 0 0,1 0 0 0 0,-1 0 0 0 0,1 0 0 0 0,-1-1 0 0 0,1 1 0 0 0,-1 0 0 0 0,1 0 0 0 0,-1 0 0 0 0,0 0 0 0 0,0 0 0 0 0,0 0 0 0 0,0 0 0 0 0,1 1 0 0 0,-1-1 0 0 0,0 0 0 0 0,0 0 0 0 0,-1 1 0 0 0,1-1 0 0 0,0 0 0 0 0,0 1 0 0 0,0-1 0 0 0,0 1 0 0 0,0 0 0 0 0,-1-1 0 0 0,1 1 0 0 0,0 0 0 0 0,0 0 0 0 0,-1 0 0 0 0,1 0 0 0 0,0 0 0 0 0,0 0 0 0 0,-1 0 0 0 0,1 0 0 0 0,-1 1 0 0 0,-14 3 1 0 0,1 1 0 0 0,0 1 0 0 0,1 1 0 0 0,0 0 0 0 0,0 1 0 0 0,0 0 0 0 0,1 1 0 0 0,-17 16 0 0 0,24-20 14 0 0,0 0 0 0 0,0 0 0 0 0,1 1 0 0 0,0 0 0 0 0,0 0 0 0 0,1 0 0 0 0,0 0-1 0 0,0 1 1 0 0,0 0 0 0 0,1 0 0 0 0,0 0 0 0 0,0 0 0 0 0,0 0 0 0 0,1 1 0 0 0,0-1 0 0 0,1 1 0 0 0,0-1-1 0 0,0 1 1 0 0,1 0 0 0 0,0 9 0 0 0,0-14-8 0 0,1 1-1 0 0,0 0 1 0 0,0-1 0 0 0,0 1 0 0 0,0-1-1 0 0,0 1 1 0 0,1-1 0 0 0,0 0-1 0 0,0 1 1 0 0,0-1 0 0 0,0 0-1 0 0,0 0 1 0 0,0-1 0 0 0,1 1-1 0 0,3 3 1 0 0,-1-2-2 0 0,-1-1-1 0 0,1 0 1 0 0,1 0-1 0 0,-1 0 1 0 0,0 0-1 0 0,1-1 1 0 0,-1 0-1 0 0,12 3 1 0 0,-5-3 1 0 0,1 0 0 0 0,1 0 0 0 0,-1-2-1 0 0,0 1 1 0 0,0-2 0 0 0,0 0 0 0 0,26-5 0 0 0,-26 3-4 0 0,0-2 0 0 0,0 1 1 0 0,-1-2-1 0 0,0 0 0 0 0,0 0 0 0 0,0-1 1 0 0,0 0-1 0 0,-1-1 0 0 0,-1-1 0 0 0,1 0 1 0 0,16-19-1 0 0,1-4 158 0 0,-3-2-1 0 0,32-53 1 0 0,-55 82-133 0 0,1 0 1 0 0,1 0 0 0 0,-1 0-1 0 0,1 1 1 0 0,0-1 0 0 0,0 1-1 0 0,7-5 1 0 0,-11 9-26 0 0,0 0-1 0 0,0 0 1 0 0,1 0 0 0 0,-1 0-1 0 0,0 0 1 0 0,1 0 0 0 0,-1 0-1 0 0,0 0 1 0 0,0 0 0 0 0,1 0-1 0 0,-1 1 1 0 0,0-1 0 0 0,0 0-1 0 0,1 0 1 0 0,-1 0 0 0 0,0 1-1 0 0,0-1 1 0 0,0 0 0 0 0,1 0-1 0 0,-1 1 1 0 0,0-1 0 0 0,0 0-1 0 0,0 0 1 0 0,0 1-1 0 0,0-1 1 0 0,1 0 0 0 0,-1 0-1 0 0,0 1 1 0 0,0-1 0 0 0,0 0-1 0 0,0 1 1 0 0,0-1 0 0 0,0 0-1 0 0,0 1 1 0 0,3 11-11 0 0,1 219 1606 0 0,-6-161-1001 0 0,-8 177 1236 0 0,9-206-1346 0 0,-3 22 2389 0 0,4-62-2845 0 0,0-1 0 0 0,0 0 0 0 0,0 1 0 0 0,0-1 0 0 0,0 0-1 0 0,0 1 1 0 0,0-1 0 0 0,0 0 0 0 0,0 1 0 0 0,0-1-1 0 0,0 0 1 0 0,0 1 0 0 0,0-1 0 0 0,0 0 0 0 0,-1 1-1 0 0,1-1 1 0 0,0 0 0 0 0,0 1 0 0 0,0-1 0 0 0,0 0 0 0 0,-1 0-1 0 0,1 1 1 0 0,0-1 0 0 0,0 0 0 0 0,0 1 0 0 0,-1-1-1 0 0,1 0 1 0 0,0 0 0 0 0,0 0 0 0 0,-1 1 0 0 0,1-1-1 0 0,0 0 1 0 0,-1 0 0 0 0,1 0 0 0 0,0 0 0 0 0,-1 0 0 0 0,1 0-1 0 0,0 0 1 0 0,-1 1 0 0 0,1-1 0 0 0,0 0 0 0 0,-1 0-1 0 0,1 0 1 0 0,0 0 0 0 0,-1 0 0 0 0,1 0 0 0 0,0-1-1 0 0,-1 1 1 0 0,1 0 0 0 0,0 0 0 0 0,-1 0 0 0 0,1 0 0 0 0,0 0-1 0 0,0 0 1 0 0,-1 0 0 0 0,1-1 0 0 0,0 1 0 0 0,-1 0-1 0 0,1 0 1 0 0,0 0 0 0 0,0-1 0 0 0,-1 1 0 0 0,1 0-1 0 0,0-1 1 0 0,0 1 0 0 0,0 0 0 0 0,-1 0 0 0 0,1-1 0 0 0,-13-21 186 0 0,5 0-460 0 0,2 0 0 0 0,0-1 0 0 0,2 0 0 0 0,0 1 1 0 0,0-32-1 0 0,3 5-672 0 0,8-71-1 0 0,-2 72 316 0 0,2 1 0 0 0,17-60 0 0 0,-19 91 426 0 0,0 0 1 0 0,1-1-1 0 0,1 2 0 0 0,1-1 1 0 0,0 1-1 0 0,1 0 1 0 0,0 1-1 0 0,1 0 0 0 0,23-24 1 0 0,-27 33 113 0 0,0 0 1 0 0,0 0 0 0 0,0 1-1 0 0,1 0 1 0 0,-1 0 0 0 0,1 1-1 0 0,0 0 1 0 0,0 0 0 0 0,1 1-1 0 0,-1 0 1 0 0,13-2 0 0 0,-17 3 47 0 0,0 1 1 0 0,0-1-1 0 0,0 1 1 0 0,0 0-1 0 0,0 0 1 0 0,0 0-1 0 0,0 1 0 0 0,0-1 1 0 0,-1 1-1 0 0,1 0 1 0 0,0 0-1 0 0,0 0 1 0 0,0 0-1 0 0,0 0 1 0 0,-1 0-1 0 0,1 1 1 0 0,0-1-1 0 0,-1 1 1 0 0,0 0-1 0 0,1 0 1 0 0,-1 0-1 0 0,0 0 1 0 0,0 0-1 0 0,0 0 1 0 0,0 1-1 0 0,0-1 1 0 0,-1 1-1 0 0,1-1 1 0 0,-1 1-1 0 0,1 0 0 0 0,1 5 1 0 0,-2-4 15 0 0,0 0 0 0 0,-1-1 0 0 0,1 1 0 0 0,-1 0 0 0 0,0 0 1 0 0,0 0-1 0 0,0 0 0 0 0,-1 0 0 0 0,1 0 0 0 0,-1 0 0 0 0,0-1 0 0 0,0 1 0 0 0,-1 0 0 0 0,1 0 1 0 0,-1-1-1 0 0,1 1 0 0 0,-1-1 0 0 0,-4 6 0 0 0,-4 5-74 0 0,-1 0 0 0 0,-22 22 0 0 0,30-32 28 0 0,-16 15-600 0 0,-1-2 0 0 0,-1 0 0 0 0,-30 19 0 0 0,-31 10-5538 0 0,65-39 3491 0 0</inkml:trace>
</inkml:ink>
</file>

<file path=ppt/ink/ink9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4.67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4 218 104 0 0,'7'11'4085'0'0,"-5"10"-2965"0"0,0 0 0 0 0,-1 0 1 0 0,-1 0-1 0 0,-1 0 0 0 0,-5 29 0 0 0,-1 23 470 0 0,0-8-525 0 0,0 8 1325 0 0,7-73-2344 0 0,0 0 0 0 0,1 1 0 0 0,-1-1 0 0 0,0 1 0 0 0,0-1 0 0 0,0 0 0 0 0,0 1 0 0 0,0-1 0 0 0,0 0 0 0 0,0 1 0 0 0,0-1 0 0 0,0 0 0 0 0,0 1-1 0 0,0-1 1 0 0,0 1 0 0 0,0-1 0 0 0,0 0 0 0 0,0 1 0 0 0,-1-1 0 0 0,1 0 0 0 0,0 1 0 0 0,0-1 0 0 0,0 0 0 0 0,0 1 0 0 0,-1-1 0 0 0,1 0 0 0 0,0 0 0 0 0,0 1-1 0 0,-1-1 1 0 0,1 0 0 0 0,0 0 0 0 0,-1 1 0 0 0,1-1 0 0 0,0 0 0 0 0,0 0 0 0 0,-1 0 0 0 0,1 0 0 0 0,0 1 0 0 0,-1-1 0 0 0,1 0 0 0 0,-1 0 0 0 0,1 0-1 0 0,0 0 1 0 0,-1 0 0 0 0,1 0 0 0 0,0 0 0 0 0,-1 0 0 0 0,1 0 0 0 0,-1 0 0 0 0,1 0-29 0 0,-1-1 0 0 0,0 1 0 0 0,1-1 0 0 0,-1 1-1 0 0,0-1 1 0 0,1 1 0 0 0,-1-1 0 0 0,1 1 0 0 0,-1-1 0 0 0,1 0 0 0 0,0 1 0 0 0,-1-1 0 0 0,1 0 0 0 0,0 1 0 0 0,-1-1-1 0 0,1 0 1 0 0,0 0 0 0 0,0 1 0 0 0,-1-1 0 0 0,1 0 0 0 0,0 0 0 0 0,0 1 0 0 0,0-2 0 0 0,1-9-156 0 0,0-1 1 0 0,0 1-1 0 0,1 0 1 0 0,1 0 0 0 0,0 0-1 0 0,0 0 1 0 0,1 0-1 0 0,1 1 1 0 0,0 0 0 0 0,0 0-1 0 0,1 0 1 0 0,0 0-1 0 0,0 1 1 0 0,13-13 0 0 0,-17 20 91 0 0,0 0 1 0 0,0 0 0 0 0,1 0 0 0 0,-1 1 0 0 0,0-1-1 0 0,0 1 1 0 0,1 0 0 0 0,-1 0 0 0 0,1 0 0 0 0,-1 0 0 0 0,1 0-1 0 0,0 0 1 0 0,-1 1 0 0 0,1-1 0 0 0,0 1 0 0 0,4-1 0 0 0,-3 2 10 0 0,0-1 1 0 0,1 1 0 0 0,-1 0 0 0 0,1 0 0 0 0,-1 0-1 0 0,0 0 1 0 0,0 1 0 0 0,1 0 0 0 0,4 3-1 0 0,6 5-3 0 0,0 0-1 0 0,-1 1 0 0 0,26 26 0 0 0,-30-27 3 0 0,5 5 20 0 0,10 8-1 0 0,36 28 1 0 0,-54-45 25 0 0,0-1 0 0 0,1-1 1 0 0,0 1-1 0 0,0-1 0 0 0,0 0 1 0 0,1-1-1 0 0,-1 0 1 0 0,1-1-1 0 0,17 4 0 0 0,-16-6 6 0 0,0 0-1 0 0,0 0 0 0 0,0-1 0 0 0,-1 0 0 0 0,1-1 0 0 0,0 0 0 0 0,-1 0 0 0 0,1-1 0 0 0,-1-1 0 0 0,0 1 0 0 0,0-2 1 0 0,0 1-1 0 0,0-1 0 0 0,-1 0 0 0 0,0-1 0 0 0,8-7 0 0 0,-2 2-1 0 0,-1-2 1 0 0,0 0-1 0 0,-1 0 0 0 0,-1-1 0 0 0,0-1 1 0 0,-1 0-1 0 0,13-27 0 0 0,-14 12-64 0 0,-9 29 50 0 0,0 0-1 0 0,1 0 1 0 0,-1 0-1 0 0,0 1 0 0 0,0-1 1 0 0,0 0-1 0 0,0 0 1 0 0,0 0-1 0 0,0 0 1 0 0,0 0-1 0 0,0 0 1 0 0,0 0-1 0 0,0 1 0 0 0,0-1 1 0 0,-1 0-1 0 0,1 0 1 0 0,0 0-1 0 0,-1 0 1 0 0,1 1-1 0 0,0-1 1 0 0,-1 0-1 0 0,1 0 0 0 0,-1 1 1 0 0,1-1-1 0 0,-1 0 1 0 0,0 1-1 0 0,1-1 1 0 0,-1 0-1 0 0,0 1 1 0 0,1-1-1 0 0,-1 1 0 0 0,0-1 1 0 0,0 1-1 0 0,-1-1 1 0 0,-5 1-7 0 0,-1-1 0 0 0,1 2 0 0 0,-1-1 0 0 0,1 1 1 0 0,0 0-1 0 0,-1 0 0 0 0,1 1 0 0 0,0 0 0 0 0,0 1 1 0 0,0-1-1 0 0,0 1 0 0 0,0 1 0 0 0,0-1 0 0 0,-8 8 0 0 0,2-3 7 0 0,0 2-1 0 0,1 0 0 0 0,1 0 1 0 0,0 1-1 0 0,0 0 0 0 0,-12 17 0 0 0,22-26 7 0 0,-1 0 0 0 0,1 0 0 0 0,0 0 0 0 0,0 0 0 0 0,-1 0 0 0 0,1 0 0 0 0,1 1-1 0 0,-1-1 1 0 0,0 0 0 0 0,0 1 0 0 0,1-1 0 0 0,-1 0 0 0 0,1 1 0 0 0,0-1 0 0 0,0 0-1 0 0,0 1 1 0 0,0-1 0 0 0,0 1 0 0 0,0-1 0 0 0,1 3 0 0 0,0-4-2 0 0,0 1-1 0 0,0 0 1 0 0,0-1 0 0 0,0 1-1 0 0,1-1 1 0 0,-1 1 0 0 0,0-1 0 0 0,0 0-1 0 0,1 0 1 0 0,-1 0 0 0 0,1 1-1 0 0,-1-1 1 0 0,1 0 0 0 0,0-1 0 0 0,-1 1-1 0 0,1 0 1 0 0,0 0 0 0 0,0-1-1 0 0,-1 1 1 0 0,1-1 0 0 0,0 0 0 0 0,0 1-1 0 0,0-1 1 0 0,0 0 0 0 0,2 0-1 0 0,13-1-161 0 0,0 0-1 0 0,-1-1 0 0 0,0-1 0 0 0,1 0 0 0 0,24-10 0 0 0,22-3-391 0 0,-61 16 539 0 0,-1-1 0 0 0,1 1 0 0 0,0 0-1 0 0,0 0 1 0 0,0 0 0 0 0,0 0 0 0 0,0 0 0 0 0,-1 0 0 0 0,1 1 0 0 0,0-1 0 0 0,0 1-1 0 0,0-1 1 0 0,-1 1 0 0 0,1 0 0 0 0,0-1 0 0 0,-1 1 0 0 0,1 0 0 0 0,0 0 0 0 0,-1 0-1 0 0,1 0 1 0 0,0 2 0 0 0,2 1 5 0 0,0 1 0 0 0,0 0-1 0 0,-1 0 1 0 0,0 0-1 0 0,3 7 1 0 0,14 20 34 0 0,-18-29-17 0 0,0-1 0 0 0,0 0 1 0 0,0 0-1 0 0,1 0 1 0 0,-1 0-1 0 0,1 0 1 0 0,-1 0-1 0 0,1-1 0 0 0,0 1 1 0 0,-1-1-1 0 0,1 0 1 0 0,0 1-1 0 0,0-1 1 0 0,4 0-1 0 0,-2 0 2 0 0,0-1 1 0 0,0 0-1 0 0,0 0 0 0 0,0 0 0 0 0,-1 0 1 0 0,1-1-1 0 0,0 0 0 0 0,0 0 0 0 0,9-4 1 0 0,-8 2-14 0 0,1 0 1 0 0,-1 0-1 0 0,0-1 1 0 0,0 0-1 0 0,-1 0 1 0 0,1 0-1 0 0,-1-1 1 0 0,0 0-1 0 0,0 0 1 0 0,-1 0-1 0 0,1-1 1 0 0,4-8-1 0 0,6-9 0 0 0,19-44 0 0 0,-31 61 8 0 0,23-49-230 0 0,-25 54 196 0 0,-3 37-187 0 0,2-34 210 0 0,6 17 15 0 0,4 0 136 0 0,-4-17-131 0 0,-4-1 3 0 0,2 2-7 0 0,1-1 1 0 0,0 0-1 0 0,-1 1 1 0 0,1-1-1 0 0,0-1 1 0 0,0 1-1 0 0,0-1 1 0 0,1 0-1 0 0,-1 0 1 0 0,0-1-1 0 0,0 1 1 0 0,0-1-1 0 0,1 0 1 0 0,-1-1-1 0 0,0 1 1 0 0,0-1-1 0 0,10-3 1 0 0,36-18-35 0 0,-22 8-4 0 0,-27 14-31 0 0,1 0-26 0 0,-2 0 86 0 0,-1 0 0 0 0,1 0 0 0 0,0 0 0 0 0,-1 1 0 0 0,1-1 0 0 0,0 0 0 0 0,0 0 0 0 0,-1 1 0 0 0,1-1 0 0 0,0 1 0 0 0,-1-1 0 0 0,1 1 0 0 0,-1-1-1 0 0,1 1 1 0 0,-1-1 0 0 0,1 1 0 0 0,0-1 0 0 0,-1 1 0 0 0,0-1 0 0 0,1 1 0 0 0,-1 0 0 0 0,1-1 0 0 0,-1 1 0 0 0,0 0 0 0 0,0-1 0 0 0,1 1 0 0 0,-1 0 0 0 0,0 0 0 0 0,0-1 0 0 0,0 1 0 0 0,0 0-1 0 0,0 0 1 0 0,0-1 0 0 0,0 1 0 0 0,0 1 0 0 0,3 11-2 0 0,-2-7 22 0 0,1-1 0 0 0,-1 1-1 0 0,2 0 1 0 0,-1-1 0 0 0,5 9 0 0 0,-6-12-6 0 0,0 0 1 0 0,1-1-1 0 0,-1 1 1 0 0,1 0-1 0 0,-1 0 1 0 0,1-1-1 0 0,0 1 1 0 0,0-1 0 0 0,0 1-1 0 0,0-1 1 0 0,0 0-1 0 0,0 0 1 0 0,0 0-1 0 0,0 0 1 0 0,0 0-1 0 0,1-1 1 0 0,-1 1 0 0 0,0 0-1 0 0,0-1 1 0 0,4 1-1 0 0,1-1 5 0 0,-1 0-1 0 0,0 0 0 0 0,1 0 0 0 0,-1-1 1 0 0,1 0-1 0 0,-1 0 0 0 0,0 0 1 0 0,1-1-1 0 0,-1 0 0 0 0,0 0 1 0 0,0-1-1 0 0,0 0 0 0 0,-1 0 0 0 0,8-5 1 0 0,-5 2-45 0 0,-1-1 0 0 0,0 1 0 0 0,0-1-1 0 0,-1 0 1 0 0,0-1 0 0 0,0 0 0 0 0,-1 0 0 0 0,9-15 0 0 0,-3-4-125 0 0,0 0 1 0 0,-2-1-1 0 0,-1 0 0 0 0,-1 0 1 0 0,4-44-1 0 0,0-169 657 0 0,-11 240-494 0 0,0 1 0 0 0,0-1 1 0 0,0 1-1 0 0,1-1 0 0 0,-1 1 1 0 0,0 0-1 0 0,0-1 0 0 0,0 1 1 0 0,-1-1-1 0 0,1 1 0 0 0,0-1 1 0 0,0 1-1 0 0,0-1 0 0 0,0 1 1 0 0,0 0-1 0 0,0-1 0 0 0,-1 1 1 0 0,1-1-1 0 0,0 1 0 0 0,0 0 1 0 0,-1-1-1 0 0,1 1 0 0 0,0 0 1 0 0,-1-1-1 0 0,-6 6 134 0 0,-5 17-53 0 0,6 0-27 0 0,0 0 0 0 0,2 0 0 0 0,-2 39 0 0 0,4 71-1 0 0,2-84-337 0 0,1-3-781 0 0,-1 29-1695 0 0,-3-26-1816 0 0,1-28 832 0 0</inkml:trace>
</inkml:ink>
</file>

<file path=ppt/ink/ink9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5.00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00 1380 0 0,'4'-12'1272'0'0,"4"-1"-264"0"0,4-1-172 0 0,2-1-152 0 0,4-1-127 0 0,4 2-65 0 0,6-3-84 0 0,4 3-88 0 0,0 1-36 0 0,2 1-40 0 0,4 1-88 0 0,-2-2-172 0 0,0 4-200 0 0,-2 2-252 0 0,0-2-416 0 0,-8 6-1021 0 0,-4-5 157 0 0</inkml:trace>
</inkml:ink>
</file>

<file path=ppt/ink/ink9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5.38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8 24 980 0 0,'-4'-7'652'0'0,"-5"-7"3986"0"0,9 14-4571 0 0,0-1 1 0 0,0 1-1 0 0,-1 0 1 0 0,1 0-1 0 0,0 0 1 0 0,-1-1-1 0 0,1 1 1 0 0,0 0-1 0 0,-1 0 0 0 0,1 0 1 0 0,0 0-1 0 0,-1 0 1 0 0,1 0-1 0 0,0 0 1 0 0,-1 0-1 0 0,1-1 1 0 0,0 1-1 0 0,-1 0 1 0 0,1 1-1 0 0,0-1 0 0 0,-1 0 1 0 0,1 0-1 0 0,0 0 1 0 0,-1 0-1 0 0,1 0 1 0 0,0 0-1 0 0,-1 0 1 0 0,1 0-1 0 0,0 1 1 0 0,-1-1-1 0 0,1 0 0 0 0,0 0 1 0 0,-1 0-1 0 0,1 1 1 0 0,-1 0 7 0 0,1 1 1 0 0,-1-1 0 0 0,1 1-1 0 0,-1-1 1 0 0,1 1 0 0 0,0-1-1 0 0,0 1 1 0 0,0-1-1 0 0,0 1 1 0 0,0-1 0 0 0,0 1-1 0 0,0-1 1 0 0,1 3 0 0 0,-1 1 143 0 0,2 23 403 0 0,9 54-1 0 0,-6-54-954 0 0,2 55-1 0 0,-8 0-4499 0 0,-1-57 1585 0 0</inkml:trace>
</inkml:ink>
</file>

<file path=ppt/ink/ink9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6.66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15 142 112 0 0,'0'-11'733'0'0,"0"1"1"0"0,-1-1-1 0 0,-1 1 0 0 0,0 0 1 0 0,0-1-1 0 0,-1 1 0 0 0,-5-13 1 0 0,7 20-648 0 0,0 0 0 0 0,0 1 0 0 0,-1-1 0 0 0,1 0 0 0 0,-1 1 0 0 0,0 0 0 0 0,1-1 1 0 0,-1 1-1 0 0,0 0 0 0 0,0 0 0 0 0,0 0 0 0 0,-1 0 0 0 0,1 0 0 0 0,0 1 0 0 0,-1-1 0 0 0,1 1 1 0 0,-1-1-1 0 0,0 1 0 0 0,1 0 0 0 0,-1 0 0 0 0,0 0 0 0 0,0 0 0 0 0,1 1 0 0 0,-1-1 0 0 0,0 1 0 0 0,0 0 1 0 0,0 0-1 0 0,0 0 0 0 0,0 0 0 0 0,0 0 0 0 0,-3 1 0 0 0,-8 3 67 0 0,1 0 0 0 0,-1 1 1 0 0,1 0-1 0 0,-1 1 0 0 0,1 1 0 0 0,1 0 0 0 0,0 1 0 0 0,0 0 0 0 0,0 1 1 0 0,1 0-1 0 0,0 1 0 0 0,1 0 0 0 0,0 1 0 0 0,1 0 0 0 0,-9 13 0 0 0,15-19-124 0 0,0-1 0 0 0,1 1 0 0 0,-1 0 1 0 0,1-1-1 0 0,0 1 0 0 0,1 0 0 0 0,-1 0 0 0 0,1 1 0 0 0,0-1 0 0 0,0 0 0 0 0,0 0 0 0 0,1 1 0 0 0,0-1 0 0 0,0 0 0 0 0,1 0 0 0 0,-1 1 0 0 0,1-1 0 0 0,0 0 0 0 0,0 0 0 0 0,1 0 0 0 0,0 0 0 0 0,-1 0 0 0 0,4 5 0 0 0,-2-5-9 0 0,1 0-1 0 0,-1 0 0 0 0,1 0 0 0 0,0-1 0 0 0,0 0 0 0 0,0 0 0 0 0,1 0 0 0 0,-1 0 1 0 0,1 0-1 0 0,0-1 0 0 0,0 0 0 0 0,0 0 0 0 0,1-1 0 0 0,-1 1 0 0 0,1-1 0 0 0,-1 0 1 0 0,1-1-1 0 0,0 1 0 0 0,0-1 0 0 0,8 1 0 0 0,-6-2-33 0 0,-1 0 0 0 0,1 0-1 0 0,-1-1 1 0 0,1 0 0 0 0,-1 0 0 0 0,0 0-1 0 0,0-1 1 0 0,1 0 0 0 0,-1-1 0 0 0,-1 0-1 0 0,1 0 1 0 0,0 0 0 0 0,-1-1 0 0 0,1 0 0 0 0,11-9-1 0 0,-9 4-52 0 0,0 0-1 0 0,0 0 1 0 0,0 0-1 0 0,-1-1 1 0 0,-1-1-1 0 0,1 1 1 0 0,-2-1-1 0 0,9-19 1 0 0,-15 30 66 0 0,6-13-127 0 0,-6 17 6 0 0,-3 24 43 0 0,4-20 82 0 0,1 0 0 0 0,-1 0 0 0 0,1 0 0 0 0,1 0 0 0 0,-1 0 0 0 0,1 0 0 0 0,1-1 0 0 0,-1 1 0 0 0,1-1 0 0 0,1 0 0 0 0,7 10 0 0 0,-9-13 17 0 0,1 0 0 0 0,0 0 1 0 0,0-1-1 0 0,0 1 1 0 0,0-1-1 0 0,0 0 0 0 0,1 0 1 0 0,-1 0-1 0 0,1-1 1 0 0,0 1-1 0 0,0-1 0 0 0,0 0 1 0 0,0-1-1 0 0,0 1 1 0 0,1-1-1 0 0,-1 0 1 0 0,0-1-1 0 0,1 1 0 0 0,10-1 1 0 0,-6-1-5 0 0,0-1 1 0 0,0 0-1 0 0,0 0 0 0 0,0-1 1 0 0,-1-1-1 0 0,1 1 1 0 0,-1-2-1 0 0,1 1 0 0 0,-2-1 1 0 0,1-1-1 0 0,0 1 1 0 0,-1-1-1 0 0,0-1 0 0 0,9-9 1 0 0,67-77-128 0 0,-84 93 105 0 0,1-1 1 0 0,-1 1-1 0 0,1 0 0 0 0,-1-1 0 0 0,1 1 1 0 0,-1 0-1 0 0,1 0 0 0 0,-1-1 1 0 0,1 1-1 0 0,-1 0 0 0 0,1 0 0 0 0,-1 0 1 0 0,1 0-1 0 0,0 0 0 0 0,-1 0 1 0 0,1 0-1 0 0,-1 0 0 0 0,1 0 0 0 0,-1 0 1 0 0,1 0-1 0 0,0 0 0 0 0,-1 0 0 0 0,1 0 1 0 0,-1 1-1 0 0,1-1 0 0 0,-1 0 1 0 0,1 0-1 0 0,-1 1 0 0 0,1-1 0 0 0,-1 0 1 0 0,1 1-1 0 0,-1-1 0 0 0,1 0 1 0 0,-1 1-1 0 0,0-1 0 0 0,1 1 0 0 0,-1-1 1 0 0,0 1-1 0 0,1-1 0 0 0,-1 1 0 0 0,0-1 1 0 0,1 1-1 0 0,-1 0 0 0 0,16 32-18 0 0,-10-18 45 0 0,0-6 24 0 0,-1-1-1 0 0,1 0 1 0 0,0 0-1 0 0,1 0 1 0 0,0-1-1 0 0,0 0 1 0 0,0 0-1 0 0,1-1 0 0 0,0 0 1 0 0,17 9-1 0 0,-19-12-17 0 0,0 0-1 0 0,0-1 0 0 0,1 0 0 0 0,-1 0 1 0 0,0 0-1 0 0,1-1 0 0 0,0 0 0 0 0,-1 0 1 0 0,1-1-1 0 0,-1 0 0 0 0,1 0 0 0 0,0-1 1 0 0,-1 1-1 0 0,1-1 0 0 0,-1-1 0 0 0,1 1 1 0 0,9-5-1 0 0,-9 3 16 0 0,0 0 1 0 0,0-1-1 0 0,0 0 0 0 0,0 0 1 0 0,0-1-1 0 0,-1 0 1 0 0,0 0-1 0 0,0-1 0 0 0,-1 1 1 0 0,7-9-1 0 0,-9 10-33 0 0,0 1 0 0 0,-1-1 0 0 0,1 0 0 0 0,-1 0-1 0 0,0 0 1 0 0,0 0 0 0 0,0-1 0 0 0,-1 1 0 0 0,1 0 0 0 0,-1-1-1 0 0,0 1 1 0 0,-1-1 0 0 0,1 1 0 0 0,-1-1 0 0 0,0 0 0 0 0,0 1 0 0 0,0-1-1 0 0,0 1 1 0 0,-2-7 0 0 0,1 9-11 0 0,1 0 0 0 0,-1 1-1 0 0,1-1 1 0 0,-1 0 0 0 0,0 1-1 0 0,0-1 1 0 0,1 1 0 0 0,-1-1-1 0 0,0 1 1 0 0,-1-1 0 0 0,1 1-1 0 0,0-1 1 0 0,0 1 0 0 0,0 0-1 0 0,-1 0 1 0 0,1 0 0 0 0,-1 0-1 0 0,1 0 1 0 0,-1 0 0 0 0,1 0-1 0 0,-1 0 1 0 0,0 1 0 0 0,1-1-1 0 0,-1 1 1 0 0,0-1 0 0 0,1 1-1 0 0,-1-1 1 0 0,0 1 0 0 0,0 0-1 0 0,0 0 1 0 0,1 0 0 0 0,-1 0-1 0 0,0 0 1 0 0,0 0 0 0 0,-3 2-1 0 0,2-2-1 0 0,0 1 0 0 0,-1 0 0 0 0,1 1 0 0 0,0-1 0 0 0,0 0 0 0 0,0 1 0 0 0,0 0 0 0 0,0 0 0 0 0,0 0 0 0 0,1 0 0 0 0,-1 0 0 0 0,1 0 0 0 0,-1 1 0 0 0,1-1 0 0 0,0 1 0 0 0,0 0 0 0 0,0 0 0 0 0,-2 3 0 0 0,3-4-39 0 0,0 1 1 0 0,0-1 0 0 0,0 1 0 0 0,1-1-1 0 0,-1 1 1 0 0,1 0 0 0 0,0-1 0 0 0,-1 1 0 0 0,1 0-1 0 0,0-1 1 0 0,1 1 0 0 0,-1 0 0 0 0,0-1 0 0 0,1 1-1 0 0,1 4 1 0 0,0-2-151 0 0,0 0-1 0 0,1 0 0 0 0,-1 0 1 0 0,1 0-1 0 0,0-1 1 0 0,1 1-1 0 0,3 4 0 0 0,7 5-519 0 0,0-1-1 0 0,1 0 0 0 0,19 12 1 0 0,-32-24 683 0 0,33 25-3251 0 0,-16-15 1188 0 0</inkml:trace>
</inkml:ink>
</file>

<file path=ppt/ink/ink9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7.90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3 552 1228 0 0,'0'-3'1421'0'0,"0"-1"-680"0"0,0-1 0 0 0,0 1 0 0 0,-1 0 1 0 0,0 0-1 0 0,1-1 0 0 0,-2 1 0 0 0,1 0 0 0 0,-3-7 1 0 0,2 12-670 0 0,1 0 1 0 0,-1-1-1 0 0,1 1 1 0 0,-1 0-1 0 0,1 0 1 0 0,-1 0-1 0 0,1 0 1 0 0,0 0 0 0 0,-1 0-1 0 0,1 1 1 0 0,-1 1-1 0 0,-2 2-21 0 0,1 0 0 0 0,0 0 0 0 0,0 1 1 0 0,1-1-1 0 0,0 1 0 0 0,0 0 0 0 0,0 0 0 0 0,1 0 0 0 0,-1 0 0 0 0,1 0 0 0 0,1 0 0 0 0,-1 0 0 0 0,1 0 0 0 0,0 0 0 0 0,1 0 0 0 0,-1 0 0 0 0,1 0 0 0 0,1 0 0 0 0,-1 0 1 0 0,1 0-1 0 0,0 0 0 0 0,0-1 0 0 0,0 1 0 0 0,1-1 0 0 0,0 1 0 0 0,0-1 0 0 0,0 0 0 0 0,1 0 0 0 0,0 0 0 0 0,0-1 0 0 0,0 1 0 0 0,0-1 0 0 0,1 0 0 0 0,0 0 1 0 0,0-1-1 0 0,0 1 0 0 0,0-1 0 0 0,0 0 0 0 0,1 0 0 0 0,-1-1 0 0 0,1 0 0 0 0,0 0 0 0 0,-1 0 0 0 0,1-1 0 0 0,0 1 0 0 0,0-1 0 0 0,0-1 0 0 0,1 1 0 0 0,-1-1 0 0 0,7-1 1 0 0,-6 0-34 0 0,0 0 1 0 0,0 0-1 0 0,0-1 1 0 0,-1 0 0 0 0,1 0-1 0 0,-1-1 1 0 0,1 0-1 0 0,-1 0 1 0 0,0 0 0 0 0,0-1-1 0 0,9-7 1 0 0,-6 2-54 0 0,1 0 0 0 0,-2 0 0 0 0,1-1 0 0 0,-2 0 0 0 0,10-15 1 0 0,-16 23-45 0 0,0 4-249 0 0,-1 0 316 0 0,1 0-1 0 0,0 0 0 0 0,0 0 1 0 0,0 0-1 0 0,0 0 0 0 0,0 0 1 0 0,0-1-1 0 0,3 4 0 0 0,1-2 111 0 0,1 0-1 0 0,-1 0 1 0 0,1 0-1 0 0,0-1 1 0 0,0 0-1 0 0,-1 0 1 0 0,2 0-1 0 0,-1-1 1 0 0,0 0-1 0 0,0 0 1 0 0,0 0-1 0 0,1-1 1 0 0,-1 0-1 0 0,0 0 1 0 0,0-1-1 0 0,0 1 0 0 0,1-1 1 0 0,-1-1-1 0 0,0 1 1 0 0,0-1-1 0 0,0 0 1 0 0,0-1-1 0 0,-1 1 1 0 0,1-1-1 0 0,-1 0 1 0 0,1-1-1 0 0,-1 1 1 0 0,0-1-1 0 0,-1 0 1 0 0,1 0-1 0 0,0-1 1 0 0,-1 1-1 0 0,0-1 1 0 0,0 0-1 0 0,-1 0 0 0 0,1 0 1 0 0,-1-1-1 0 0,0 1 1 0 0,-1-1-1 0 0,3-7 1 0 0,-2 2-65 0 0,0 0 1 0 0,-2-1-1 0 0,1 1 0 0 0,-1-1 1 0 0,-1 1-1 0 0,0-1 1 0 0,-3-16-1 0 0,2 19-530 0 0,0 0-1 0 0,-1 1 1 0 0,-1 0-1 0 0,1-1 1 0 0,-1 1 0 0 0,-1 0-1 0 0,1 0 1 0 0,-1 1-1 0 0,-1-1 1 0 0,-7-9-1 0 0,53 26-4499 0 0,-8-1 5079 0 0,0-2 1 0 0,0-1-1 0 0,0-1 1 0 0,41-2-1 0 0,-60-2 155 0 0,0 0 0 0 0,1-2 0 0 0,-1 0 1 0 0,0 0-1 0 0,0-1 0 0 0,-1-1 0 0 0,1 0 0 0 0,-1-1 0 0 0,1-1 0 0 0,-2 0 0 0 0,1 0 0 0 0,-1-2 1 0 0,0 1-1 0 0,0-1 0 0 0,11-11 0 0 0,-19 15-168 0 0,0 1-1 0 0,-1-1 1 0 0,1 0-1 0 0,-1 0 1 0 0,0 0 0 0 0,0 0-1 0 0,-1 0 1 0 0,1-1-1 0 0,2-6 1 0 0,-5 10-62 0 0,1 1 0 0 0,-1-1 0 0 0,0 0 0 0 0,1 1 0 0 0,-1-1 0 0 0,0 0 0 0 0,1 0 0 0 0,-1 1 0 0 0,0-1 0 0 0,0 0 0 0 0,0 0 0 0 0,0 0 0 0 0,0 1 0 0 0,0-1 0 0 0,0 0 1 0 0,0 0-1 0 0,0 1 0 0 0,0-1 0 0 0,-1 0 0 0 0,1 0 0 0 0,0 1 0 0 0,0-1 0 0 0,-1 0 0 0 0,1 0 0 0 0,0 1 0 0 0,-1-1 0 0 0,1 0 0 0 0,-1 0 0 0 0,0 0 15 0 0,0 0-21 0 0,1 0 1 0 0,-1 0-1 0 0,0 0 1 0 0,1 1-1 0 0,-1-1 1 0 0,0 0-1 0 0,0 0 1 0 0,1 1-1 0 0,-1-1 1 0 0,0 0-1 0 0,0 1 1 0 0,0-1-1 0 0,0 1 0 0 0,0-1 1 0 0,0 1-1 0 0,0 0 1 0 0,0-1-1 0 0,0 1 1 0 0,0 0-1 0 0,0 0 1 0 0,0-1-1 0 0,0 1 1 0 0,0 0-1 0 0,0 0 1 0 0,0 0-1 0 0,0 0 0 0 0,0 1 1 0 0,-2-1-1 0 0,-29 7 25 0 0,20-2 44 0 0,-1 1-1 0 0,1 1 1 0 0,0 0-1 0 0,0 0 1 0 0,1 1-1 0 0,0 1 1 0 0,-15 16-1 0 0,21-20-25 0 0,0 0 1 0 0,0 0-1 0 0,1 1 0 0 0,0 0 0 0 0,0 0 0 0 0,0 0 1 0 0,1 0-1 0 0,0 1 0 0 0,0-1 0 0 0,1 1 0 0 0,0 0 1 0 0,0 0-1 0 0,0 0 0 0 0,1 0 0 0 0,0 0 0 0 0,0 12 0 0 0,1-14 17 0 0,1 0-1 0 0,0 0 0 0 0,0-1 0 0 0,0 1 0 0 0,0 0 1 0 0,1-1-1 0 0,-1 1 0 0 0,1-1 0 0 0,1 1 0 0 0,-1-1 0 0 0,0 0 1 0 0,1 0-1 0 0,5 6 0 0 0,-3-5 5 0 0,0 1 0 0 0,1-1 1 0 0,0 0-1 0 0,0-1 0 0 0,1 1 0 0 0,-1-1 0 0 0,14 5 1 0 0,-3-2-15 0 0,1-1 0 0 0,0 0 0 0 0,1-2 1 0 0,-1 0-1 0 0,1-1 0 0 0,20 1 0 0 0,-24-4-156 0 0,1 0-1 0 0,-1 0 0 0 0,1-2 0 0 0,-1 0 1 0 0,1-1-1 0 0,-1 0 0 0 0,0-1 0 0 0,0-1 0 0 0,0 0 1 0 0,-1-1-1 0 0,0 0 0 0 0,0-2 0 0 0,17-11 1 0 0,-15 7-13 0 0,0-1 0 0 0,0 0 0 0 0,-2-1 1 0 0,0-1-1 0 0,0-1 0 0 0,-1 0 0 0 0,-1 0 1 0 0,-1-2-1 0 0,15-29 0 0 0,-13 20 102 0 0,-1-1-1 0 0,-1 0 1 0 0,-1 0-1 0 0,-2-1 1 0 0,6-32-1 0 0,-14 58 23 0 0,1-1 0 0 0,-1 0 0 0 0,0 1 0 0 0,0-1 0 0 0,0 0 0 0 0,0 1 0 0 0,-1-1 0 0 0,1 0 0 0 0,-1 1 0 0 0,0-1 0 0 0,0 1 0 0 0,-3-7 0 0 0,3 9 7 0 0,0 0-1 0 0,0 1 1 0 0,1-1-1 0 0,-1 1 1 0 0,0-1-1 0 0,0 0 1 0 0,0 1-1 0 0,0 0 1 0 0,0-1-1 0 0,0 1 1 0 0,0 0-1 0 0,0-1 1 0 0,0 1-1 0 0,0 0 1 0 0,0 0-1 0 0,0 0 0 0 0,0 0 1 0 0,0 0-1 0 0,0 0 1 0 0,0 0-1 0 0,0 0 1 0 0,1 0-1 0 0,-1 0 1 0 0,0 1-1 0 0,0-1 1 0 0,0 0-1 0 0,0 1 1 0 0,-2 0-1 0 0,-25 13 277 0 0,20-7-254 0 0,1 1-1 0 0,0-1 1 0 0,0 1 0 0 0,1 1-1 0 0,0-1 1 0 0,1 1 0 0 0,-1 0-1 0 0,2 0 1 0 0,-1 1-1 0 0,1 0 1 0 0,1-1 0 0 0,0 1-1 0 0,-2 13 1 0 0,3-17 11 0 0,1 0 1 0 0,0 0-1 0 0,1 1 0 0 0,-1-1 1 0 0,1 1-1 0 0,1-1 0 0 0,-1 0 1 0 0,1 1-1 0 0,0-1 0 0 0,0 0 1 0 0,1 0-1 0 0,0 1 0 0 0,0-1 1 0 0,1-1-1 0 0,-1 1 0 0 0,1 0 1 0 0,0-1-1 0 0,1 1 1 0 0,-1-1-1 0 0,1 0 0 0 0,0 0 1 0 0,8 7-1 0 0,-3-5 11 0 0,1-1 0 0 0,0 1 1 0 0,0-1-1 0 0,0-1 0 0 0,1 0 0 0 0,0-1 0 0 0,0 0 1 0 0,0 0-1 0 0,1-1 0 0 0,-1-1 0 0 0,1 0 0 0 0,-1 0 1 0 0,1-1-1 0 0,0-1 0 0 0,0 0 0 0 0,-1 0 0 0 0,24-5 1 0 0,-22 3-142 0 0,0-1 0 0 0,0-1 1 0 0,0 0-1 0 0,-1 0 1 0 0,1-1-1 0 0,-1-1 1 0 0,0 0-1 0 0,-1-1 1 0 0,1 0-1 0 0,-2 0 0 0 0,1-1 1 0 0,-1-1-1 0 0,0 0 1 0 0,0 0-1 0 0,13-18 1 0 0,-11 9-105 0 0,-1-1 0 0 0,0 0 0 0 0,-2 0 1 0 0,13-36-1 0 0,-17 42 140 0 0,-2 1 1 0 0,0-1-1 0 0,0 0 1 0 0,-1 1-1 0 0,-1-1 1 0 0,0 0 0 0 0,-1 0-1 0 0,-1 0 1 0 0,-1-16-1 0 0,1 27 51 0 0,1 0 1 0 0,0 0-1 0 0,0 1 0 0 0,-1-1 1 0 0,1 1-1 0 0,-1-1 0 0 0,1 0 0 0 0,-1 1 1 0 0,0-1-1 0 0,0 1 0 0 0,1-1 0 0 0,-1 1 1 0 0,0 0-1 0 0,0-1 0 0 0,-1 1 1 0 0,1 0-1 0 0,0 0 0 0 0,0-1 0 0 0,-1 1 1 0 0,1 0-1 0 0,0 0 0 0 0,-1 1 1 0 0,1-1-1 0 0,-1 0 0 0 0,1 0 0 0 0,-1 1 1 0 0,0-1-1 0 0,1 1 0 0 0,-3-1 1 0 0,1 1 26 0 0,0 0 1 0 0,0 0-1 0 0,1 1 1 0 0,-1-1 0 0 0,0 1-1 0 0,1-1 1 0 0,-1 1 0 0 0,0 0-1 0 0,1 0 1 0 0,-1 0 0 0 0,1 1-1 0 0,-1-1 1 0 0,1 1 0 0 0,-1-1-1 0 0,1 1 1 0 0,0 0 0 0 0,-3 2-1 0 0,-2 4 28 0 0,1 0-1 0 0,-1 0 0 0 0,1 1 1 0 0,1-1-1 0 0,-1 1 1 0 0,2 1-1 0 0,-1-1 1 0 0,1 0-1 0 0,1 1 1 0 0,0 0-1 0 0,-4 19 0 0 0,3-7-15 0 0,2 1-1 0 0,0-1 0 0 0,1 1 0 0 0,3 30 0 0 0,1-27 2 0 0,1-1-1 0 0,2 1 1 0 0,0-1-1 0 0,14 36 1 0 0,50 94-1881 0 0,-21-48-4332 0 0,-39-84 2723 0 0</inkml:trace>
</inkml:ink>
</file>

<file path=ppt/ink/ink9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8.77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40 42 288 0 0,'0'-1'57'0'0,"-11"-7"825"0"0,0 1 0 0 0,-18-10 1 0 0,25 16-766 0 0,1-1 1 0 0,-1 1-1 0 0,0 0 1 0 0,0 0 0 0 0,0 0-1 0 0,1 0 1 0 0,-1 1-1 0 0,0-1 1 0 0,0 1-1 0 0,0 0 1 0 0,0 0-1 0 0,-6 1 1 0 0,9 0-78 0 0,-1-1 0 0 0,0 1 0 0 0,0-1-1 0 0,0 1 1 0 0,0 0 0 0 0,0 0 0 0 0,1 0 0 0 0,-1-1 0 0 0,0 2 0 0 0,1-1 0 0 0,-1 0 0 0 0,1 0 0 0 0,-1 0 0 0 0,1 1 0 0 0,0-1 0 0 0,-1 1 0 0 0,1-1 0 0 0,0 1-1 0 0,0 0 1 0 0,0-1 0 0 0,0 1 0 0 0,0 0 0 0 0,0 0 0 0 0,1 0 0 0 0,-1-1 0 0 0,1 1 0 0 0,-1 3 0 0 0,0-1 33 0 0,1 0 0 0 0,0-1 0 0 0,-1 1 0 0 0,2 0 0 0 0,-1 0 0 0 0,0 0 0 0 0,1 0 1 0 0,0-1-1 0 0,0 1 0 0 0,0 0 0 0 0,0-1 0 0 0,2 5 0 0 0,5 6 148 0 0,0 0 1 0 0,1-1-1 0 0,0 0 1 0 0,21 21-1 0 0,51 43 531 0 0,8 9-241 0 0,-86-84-483 0 0,-1 0 0 0 0,0 0-1 0 0,0 1 1 0 0,-1-1 0 0 0,1 1-1 0 0,0-1 1 0 0,-1 1 0 0 0,0 0-1 0 0,0-1 1 0 0,1 1 0 0 0,-1 0-1 0 0,-1 0 1 0 0,1 0 0 0 0,0 0 0 0 0,-1 0-1 0 0,0 0 1 0 0,1 0 0 0 0,-1 0-1 0 0,0 0 1 0 0,-1 3 0 0 0,0-3-7 0 0,0 0 1 0 0,-1 0-1 0 0,1 0 1 0 0,0 0-1 0 0,-1-1 1 0 0,0 1-1 0 0,0-1 1 0 0,0 1-1 0 0,0-1 1 0 0,0 0-1 0 0,0 0 1 0 0,0 0-1 0 0,-1 0 1 0 0,1 0-1 0 0,-1 0 1 0 0,0-1-1 0 0,1 1 1 0 0,-1-1-1 0 0,-5 2 1 0 0,-2 1-40 0 0,-1-1 0 0 0,1 0 1 0 0,-1-1-1 0 0,0 0 1 0 0,0 0-1 0 0,0-1 1 0 0,0-1-1 0 0,0 1 1 0 0,0-2-1 0 0,0 0 0 0 0,0 0 1 0 0,0-1-1 0 0,1 0 1 0 0,-1-1-1 0 0,-13-5 1 0 0,18 5-75 0 0,0 1 0 0 0,0-1 0 0 0,1 1 0 0 0,-1-2 0 0 0,1 1 0 0 0,0 0 0 0 0,0-1 0 0 0,0 0 0 0 0,1 0 0 0 0,-1-1 0 0 0,1 1 0 0 0,0-1 0 0 0,0 0 0 0 0,1 0 0 0 0,-1 0 0 0 0,1-1 0 0 0,0 1 0 0 0,1-1 1 0 0,-1 0-1 0 0,1 0 0 0 0,0 1 0 0 0,1-1 0 0 0,-1-1 0 0 0,1 1 0 0 0,0 0 0 0 0,1 0 0 0 0,-1 0 0 0 0,2-8 0 0 0,-1 8 24 0 0,0 0 0 0 0,1 0 1 0 0,0 0-1 0 0,0 0 0 0 0,0 0 0 0 0,1 0 0 0 0,0 0 1 0 0,0 1-1 0 0,1-1 0 0 0,-1 1 0 0 0,5-8 1 0 0,-6 13 83 0 0,-1 0 1 0 0,0-1-1 0 0,0 1 1 0 0,1-1-1 0 0,-1 1 1 0 0,0 0 0 0 0,1-1-1 0 0,-1 1 1 0 0,0 0-1 0 0,1-1 1 0 0,-1 1-1 0 0,1 0 1 0 0,-1 0 0 0 0,0-1-1 0 0,1 1 1 0 0,-1 0-1 0 0,1 0 1 0 0,-1 0 0 0 0,1 0-1 0 0,-1 0 1 0 0,1 0-1 0 0,-1-1 1 0 0,0 1-1 0 0,1 0 1 0 0,-1 0 0 0 0,1 0-1 0 0,-1 0 1 0 0,1 1-1 0 0,-1-1 1 0 0,1 0-1 0 0,-1 0 1 0 0,1 0 0 0 0,-1 0-1 0 0,1 0 1 0 0,-1 1-1 0 0,0-1 1 0 0,1 0-1 0 0,-1 0 1 0 0,1 1 0 0 0,-1-1-1 0 0,0 0 1 0 0,1 1-1 0 0,0 0 34 0 0,0 0-1 0 0,-1 0 0 0 0,1 0 1 0 0,0 0-1 0 0,0 0 1 0 0,-1 0-1 0 0,1 0 0 0 0,-1 0 1 0 0,1 1-1 0 0,-1-1 1 0 0,0 0-1 0 0,1 0 0 0 0,-1 0 1 0 0,0 3-1 0 0,0 7 80 0 0,-1-1 0 0 0,-1 1 0 0 0,0-1 1 0 0,0 0-1 0 0,-1 1 0 0 0,-4 11 0 0 0,-31 59-857 0 0,20-45-1810 0 0,16-31 1012 0 0,-1 7 156 0 0</inkml:trace>
</inkml:ink>
</file>

<file path=ppt/ink/ink9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9.47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318 940 0 0,'46'-20'1590'0'0,"79"-39"806"0"0,-111 51-2190 0 0,1 0 0 0 0,-2-2 0 0 0,1 0 0 0 0,-1 0 0 0 0,-1-1 0 0 0,12-13 1 0 0,-21 21-163 0 0,-2 2-26 0 0,0 0 0 0 0,-1 0 0 0 0,1 0 0 0 0,0 0 0 0 0,0-1 0 0 0,0 1 0 0 0,-1 0 0 0 0,1 0 0 0 0,-1 0 0 0 0,1-1 0 0 0,-1 1 0 0 0,1 0 0 0 0,-1-1 0 0 0,0 1 0 0 0,0-3 0 0 0,-1-9 92 0 0,1 12-94 0 0,-1-1 0 0 0,0 1 0 0 0,0 0 0 0 0,0 0 0 0 0,0 0 0 0 0,0 0 0 0 0,0 1 0 0 0,0-1 0 0 0,0 0 0 0 0,0 0 0 0 0,0 1 0 0 0,0-1 0 0 0,0 0 0 0 0,-1 1 0 0 0,1-1 0 0 0,0 1 0 0 0,0 0 0 0 0,-1-1 0 0 0,1 1 0 0 0,0 0 0 0 0,-3 0 0 0 0,-31 1 368 0 0,26 2-267 0 0,0 0-1 0 0,-1 0 0 0 0,1 1 0 0 0,1 0 0 0 0,-1 0 1 0 0,0 1-1 0 0,1 1 0 0 0,0-1 0 0 0,0 1 1 0 0,-7 8-1 0 0,9-9-36 0 0,1 0 1 0 0,0 1-1 0 0,0-1 0 0 0,1 1 1 0 0,0 0-1 0 0,0 0 1 0 0,0 1-1 0 0,1-1 1 0 0,0 1-1 0 0,0 0 0 0 0,0 0 1 0 0,1 0-1 0 0,-2 12 1 0 0,3-14-48 0 0,1-1 1 0 0,0 0 0 0 0,0 1 0 0 0,0-1-1 0 0,1 0 1 0 0,0 1 0 0 0,-1-1 0 0 0,2 0-1 0 0,-1 0 1 0 0,0 1 0 0 0,1-1 0 0 0,0 0-1 0 0,0-1 1 0 0,4 8 0 0 0,-2-5-5 0 0,1-1-1 0 0,0 0 1 0 0,0 0-1 0 0,0 0 1 0 0,0-1-1 0 0,1 1 1 0 0,0-1-1 0 0,8 5 1 0 0,2-2-5 0 0,1 1 0 0 0,0-2 0 0 0,-1 0 0 0 0,2-1 0 0 0,-1-1 0 0 0,25 3 0 0 0,-24-5-7 0 0,-1-1 1 0 0,1-1-1 0 0,0 0 0 0 0,0-2 1 0 0,-1 1-1 0 0,1-2 1 0 0,-1-1-1 0 0,0 0 0 0 0,23-9 1 0 0,-28 8-5 0 0,1-1 1 0 0,-1 0-1 0 0,0-1 1 0 0,0 0-1 0 0,-1-1 1 0 0,0-1-1 0 0,0 0 1 0 0,-1 0-1 0 0,0-1 1 0 0,-1 0-1 0 0,0 0 1 0 0,11-18-1 0 0,35-50 842 0 0,-51 104-730 0 0,-25 247 2777 0 0,7-64-648 0 0,14-207-2105 0 0,0 0 1 0 0,0 0 0 0 0,-1 0 0 0 0,1 0 0 0 0,-1 0-1 0 0,1 0 1 0 0,-1 0 0 0 0,0 0 0 0 0,0-1-1 0 0,0 1 1 0 0,0 0 0 0 0,-2 3 0 0 0,3-5-134 0 0,-1 0 0 0 0,1 0-1 0 0,0 0 1 0 0,-1 1 0 0 0,1-1 0 0 0,0 0 0 0 0,0 0 0 0 0,-1 0 0 0 0,1 0 0 0 0,0 1 0 0 0,-1-1 0 0 0,1 0-1 0 0,0 0 1 0 0,-1 0 0 0 0,1 0 0 0 0,0 0 0 0 0,-1 0 0 0 0,1 0 0 0 0,0 0 0 0 0,-1 0 0 0 0,1 0-1 0 0,0 0 1 0 0,-1 0 0 0 0,1 0 0 0 0,0 0 0 0 0,-1 0 0 0 0,1 0 0 0 0,-1-1 0 0 0,1 1-10 0 0,-1-1 0 0 0,0 0 0 0 0,0 0 0 0 0,0 0 0 0 0,0 1-1 0 0,1-1 1 0 0,-1 0 0 0 0,0 0 0 0 0,1 0 0 0 0,-1 0 0 0 0,1 0 0 0 0,-2-2 0 0 0,-4-15-274 0 0,0 1 0 0 0,1-1-1 0 0,1 0 1 0 0,1 0 0 0 0,1-1 0 0 0,0 1 0 0 0,1-34-1 0 0,4 12-372 0 0,1-1-1 0 0,15-58 0 0 0,-12 68 238 0 0,2 1 1 0 0,1 1-1 0 0,1-1 1 0 0,28-48-1 0 0,-31 64 278 0 0,0 0-1 0 0,1 1 1 0 0,1 1-1 0 0,0 0 1 0 0,0 0 0 0 0,1 1-1 0 0,1 0 1 0 0,0 1-1 0 0,1 0 1 0 0,-1 1 0 0 0,21-11-1 0 0,-25 16 63 0 0,0 1-1 0 0,0 1 1 0 0,1 0 0 0 0,-1 0-1 0 0,0 0 1 0 0,1 1 0 0 0,-1 0 0 0 0,17 1-1 0 0,-22 0 48 0 0,0 1 1 0 0,0-1-1 0 0,1 1 0 0 0,-1-1 0 0 0,0 1 0 0 0,0 0 1 0 0,-1 0-1 0 0,1 0 0 0 0,0 1 0 0 0,0-1 0 0 0,0 1 1 0 0,2 2-1 0 0,-3-3 14 0 0,-1 1 0 0 0,0-1-1 0 0,1 1 1 0 0,-1-1 0 0 0,0 1 0 0 0,0 0 0 0 0,0-1 0 0 0,0 1 0 0 0,0 0 0 0 0,-1 0 0 0 0,1 0-1 0 0,0 0 1 0 0,-1 0 0 0 0,0 0 0 0 0,1 0 0 0 0,-1 0 0 0 0,0 0 0 0 0,0 0 0 0 0,0 0-1 0 0,0 3 1 0 0,-1 0 8 0 0,0 1 0 0 0,-1 0 0 0 0,1-1 0 0 0,-1 1 0 0 0,0-1 0 0 0,-1 0 0 0 0,1 1 0 0 0,-1-1 0 0 0,0 0 0 0 0,0-1 0 0 0,-1 1 0 0 0,1 0-1 0 0,-8 6 1 0 0,-6 5-169 0 0,-39 28-1 0 0,45-35 79 0 0,-95 60-1898 0 0,13-9-4071 0 0,91-59 5460 0 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31.1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 37 700 0 0,'-1'-2'2211'0'0,"-15"-31"4514"0"0,15 32-6127 0 0,0 2 29 0 0,-4 13 34 0 0,1-1 1 0 0,0 1-1 0 0,0 0 1 0 0,2 0-1 0 0,-1 1 1 0 0,1 24-1 0 0,0 30 300 0 0,2-1-1 0 0,16 109 0 0 0,-16-176-961 0 0,6 35 130 0 0,1 0-1 0 0,16 48 1 0 0,-20-75-414 0 0,0-1 1 0 0,0 1-1 0 0,1-1 1 0 0,1 0-1 0 0,-1 0 1 0 0,1 0-1 0 0,0 0 1 0 0,1-1-1 0 0,0 0 1 0 0,0 0-1 0 0,1-1 1 0 0,0 1-1 0 0,0-1 1 0 0,0-1-1 0 0,10 6 1 0 0,-13-9-352 0 0,0-1 1 0 0,1 1-1 0 0,-1-1 1 0 0,1-1-1 0 0,-1 1 1 0 0,1 0-1 0 0,-1-1 1 0 0,1 0-1 0 0,-1 0 1 0 0,1-1-1 0 0,5 0 1 0 0,5-4-3540 0 0</inkml:trace>
</inkml:ink>
</file>

<file path=ppt/ink/ink9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19.88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35 97 1116 0 0,'4'-8'712'0'0,"-1"1"-1"0"0,0-1 1 0 0,3-12 0 0 0,-6 17-566 0 0,1 1 0 0 0,-1-1-1 0 0,0 0 1 0 0,1 1 0 0 0,-1-1 0 0 0,-1 0 0 0 0,1 1 0 0 0,0-1 0 0 0,-1 1 0 0 0,1-1 0 0 0,-1 1 0 0 0,0-1 0 0 0,1 1 0 0 0,-3-5 0 0 0,2 7-112 0 0,0-1 0 0 0,1 0 1 0 0,-1 0-1 0 0,0 0 0 0 0,0 1 1 0 0,0-1-1 0 0,0 0 0 0 0,1 1 0 0 0,-1-1 1 0 0,0 0-1 0 0,0 1 0 0 0,0 0 0 0 0,0-1 1 0 0,0 1-1 0 0,-1-1 0 0 0,1 1 0 0 0,0 0 1 0 0,0 0-1 0 0,0 0 0 0 0,0 0 1 0 0,0 0-1 0 0,0 0 0 0 0,-2 0 0 0 0,-25 6 493 0 0,14 2-395 0 0,0-1 0 0 0,1 2-1 0 0,0 0 1 0 0,1 1 0 0 0,0 0-1 0 0,0 0 1 0 0,1 2 0 0 0,0-1-1 0 0,1 1 1 0 0,1 1 0 0 0,0 0-1 0 0,0 0 1 0 0,2 1 0 0 0,-1-1 0 0 0,2 2-1 0 0,0-1 1 0 0,-8 28 0 0 0,12-12 37 0 0,2-29-157 0 0,0 0-1 0 0,0 1 1 0 0,0-1 0 0 0,1 0-1 0 0,-1 0 1 0 0,0 0 0 0 0,1 0 0 0 0,-1 0-1 0 0,1 0 1 0 0,-1 0 0 0 0,1 0-1 0 0,-1 0 1 0 0,1-1 0 0 0,0 1 0 0 0,-1 0-1 0 0,1 0 1 0 0,0 0 0 0 0,0-1-1 0 0,0 1 1 0 0,-1 0 0 0 0,1-1 0 0 0,2 2-1 0 0,-2-2-7 0 0,1 0 0 0 0,-1 1-1 0 0,1-1 1 0 0,-1 0-1 0 0,1 0 1 0 0,-1 0 0 0 0,1 0-1 0 0,-1 0 1 0 0,1 0 0 0 0,-1-1-1 0 0,1 1 1 0 0,-1 0-1 0 0,0-1 1 0 0,1 1 0 0 0,-1-1-1 0 0,0 0 1 0 0,1 1 0 0 0,-1-1-1 0 0,2-1 1 0 0,23-18 61 0 0,-24 18-59 0 0,12-13 6 0 0,-1 1 1 0 0,0-1-1 0 0,11-20 0 0 0,16-17 206 0 0,-26 41-257 0 0,-13 11 38 0 0,-1 0 0 0 0,0 0 0 0 0,1 0 0 0 0,-1 0 0 0 0,1 0 0 0 0,-1 0 0 0 0,0 0-1 0 0,1 0 1 0 0,-1 0 0 0 0,1 0 0 0 0,-1 0 0 0 0,0 0 0 0 0,1 0 0 0 0,-1 0 0 0 0,1 0 0 0 0,-1 0 0 0 0,0 1 0 0 0,1-1 0 0 0,-1 0-1 0 0,0 0 1 0 0,1 0 0 0 0,-1 1 0 0 0,0-1 0 0 0,1 1 0 0 0,1 2 6 0 0,0 0 0 0 0,-1 0 0 0 0,1 0-1 0 0,-1 0 1 0 0,0 0 0 0 0,0 0 0 0 0,1 6 0 0 0,9 30 116 0 0,13 45-1053 0 0,-20-73-31 0 0,0-1 0 0 0,1 0-1 0 0,0-1 1 0 0,0 1 0 0 0,13 16 0 0 0,-8-15-737 0 0</inkml:trace>
</inkml:ink>
</file>

<file path=ppt/ink/ink9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20.67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501 8 0 0,'6'-7'416'0'0,"0"0"1"0"0,1 0-1 0 0,0 0 1 0 0,0 1-1 0 0,0 0 1 0 0,15-9-1 0 0,-17 12-228 0 0,0 1 0 0 0,1-1 1 0 0,-1 1-1 0 0,1 0 0 0 0,-1 0 0 0 0,1 1 0 0 0,-1-1 0 0 0,1 1 0 0 0,0 1 0 0 0,0-1 0 0 0,9 1 0 0 0,-13 0-136 0 0,0 0 0 0 0,0 1-1 0 0,0-1 1 0 0,0 1 0 0 0,0-1-1 0 0,0 1 1 0 0,0-1 0 0 0,0 1-1 0 0,0 0 1 0 0,0 0-1 0 0,-1 0 1 0 0,1 0 0 0 0,0 0-1 0 0,0 1 1 0 0,-1-1 0 0 0,1 0-1 0 0,-1 1 1 0 0,0-1 0 0 0,1 1-1 0 0,-1 0 1 0 0,0-1-1 0 0,0 1 1 0 0,0 0 0 0 0,0 0-1 0 0,0-1 1 0 0,0 1 0 0 0,0 0-1 0 0,-1 0 1 0 0,1 0 0 0 0,-1 0-1 0 0,1 3 1 0 0,-1 1 112 0 0,1-1 0 0 0,-1 1 1 0 0,0-1-1 0 0,0 0 0 0 0,-1 1 1 0 0,0-1-1 0 0,0 0 0 0 0,0 1 1 0 0,-1-1-1 0 0,-1 5 0 0 0,0-5 11 0 0,1 0 0 0 0,-1 0 0 0 0,0-1 0 0 0,-1 1 0 0 0,1-1 0 0 0,-1 0 0 0 0,0 0-1 0 0,0 0 1 0 0,0 0 0 0 0,0-1 0 0 0,-1 1 0 0 0,1-1 0 0 0,-6 3 0 0 0,7-5 98 0 0,2-1-237 0 0,0 0-1 0 0,0 0 0 0 0,0 0 0 0 0,0 0 0 0 0,-1 0 1 0 0,1 0-1 0 0,0-1 0 0 0,0 1 0 0 0,0 0 0 0 0,0-1 1 0 0,0 1-1 0 0,0 0 0 0 0,0-1 0 0 0,0 0 1 0 0,0 1-1 0 0,0-1 0 0 0,-1-1 0 0 0,2 2-33 0 0,0-1-1 0 0,-1 1 0 0 0,1-1 1 0 0,0 0-1 0 0,0 0 1 0 0,0 1-1 0 0,-1-1 1 0 0,1 0-1 0 0,0 1 1 0 0,0-1-1 0 0,0 0 0 0 0,0 1 1 0 0,1-1-1 0 0,-1 0 1 0 0,0 0-1 0 0,0 1 1 0 0,0-1-1 0 0,0 0 0 0 0,1 1 1 0 0,-1-1-1 0 0,0 1 1 0 0,1-1-1 0 0,-1 0 1 0 0,0 1-1 0 0,1-1 0 0 0,-1 1 1 0 0,1-1-1 0 0,0 0 1 0 0,7-8-97 0 0,-1 1 0 0 0,2 0 0 0 0,-1 1 0 0 0,1 0 0 0 0,0 0 0 0 0,0 1 0 0 0,1 0 0 0 0,0 0 1 0 0,17-6-1 0 0,10-2-119 0 0,53-13 0 0 0,-70 22 194 0 0,121-27-115 0 0,21-5 155 0 0,-136 29 140 0 0,0-1-1 0 0,0-1 0 0 0,46-26 1 0 0,-71 36-157 0 0,-1-1 0 0 0,1 1 0 0 0,0 0 0 0 0,-1-1 0 0 0,1 0 1 0 0,-1 1-1 0 0,1-1 0 0 0,-1 1 0 0 0,1-1 0 0 0,-1 0 0 0 0,1 1 1 0 0,-1-1-1 0 0,0 0 0 0 0,1 1 0 0 0,-1-1 0 0 0,0 0 0 0 0,0 1 0 0 0,1-1 1 0 0,-1 0-1 0 0,0 0 0 0 0,0-1 0 0 0,0 2 2 0 0,0 0-1 0 0,0-1 1 0 0,-1 1 0 0 0,1 0-1 0 0,0-1 1 0 0,0 1 0 0 0,0-1-1 0 0,-1 1 1 0 0,1 0 0 0 0,0 0-1 0 0,0-1 1 0 0,-1 1 0 0 0,1 0-1 0 0,0-1 1 0 0,-1 1 0 0 0,1 0-1 0 0,0 0 1 0 0,-1-1 0 0 0,1 1-1 0 0,0 0 1 0 0,-1 0 0 0 0,1 0-1 0 0,0 0 1 0 0,-1 0 0 0 0,1 0-1 0 0,-1-1 1 0 0,1 1 0 0 0,-1 0-1 0 0,1 0 1 0 0,0 0 0 0 0,-1 0-1 0 0,1 0 1 0 0,-1 0 0 0 0,1 1-1 0 0,0-1 1 0 0,-1 0 0 0 0,1 0-1 0 0,-1 0 1 0 0,1 0 0 0 0,0 0-1 0 0,-1 1 1 0 0,1-1 0 0 0,0 0-1 0 0,-1 0 1 0 0,-20 7-1 0 0,0 1 0 0 0,0 1 0 0 0,0 0 0 0 0,-18 13 0 0 0,28-15-15 0 0,-1 1-1 0 0,1 0 0 0 0,1 1 1 0 0,0 0-1 0 0,0 1 0 0 0,1 0 1 0 0,0 0-1 0 0,-9 14 0 0 0,16-22 20 0 0,1 0-1 0 0,0 0 1 0 0,0 0 0 0 0,0 0-1 0 0,0 0 1 0 0,0 0-1 0 0,0 0 1 0 0,1 0-1 0 0,-1 1 1 0 0,1-1-1 0 0,-1 0 1 0 0,1 0 0 0 0,0 1-1 0 0,0-1 1 0 0,0 0-1 0 0,0 0 1 0 0,1 5-1 0 0,-1-5-21 0 0,1-1-1 0 0,0 1 0 0 0,0 0 0 0 0,0-1 1 0 0,0 1-1 0 0,0-1 0 0 0,0 1 1 0 0,1-1-1 0 0,-1 1 0 0 0,0-1 1 0 0,1 0-1 0 0,-1 0 0 0 0,1 1 0 0 0,-1-1 1 0 0,1 0-1 0 0,-1 0 0 0 0,3 0 1 0 0,1 1-117 0 0,1 0 0 0 0,-1 0 0 0 0,1-1 0 0 0,0 1 0 0 0,-1-1 0 0 0,1-1 0 0 0,0 1 1 0 0,0-1-1 0 0,-1 0 0 0 0,1 0 0 0 0,0-1 0 0 0,8-2 0 0 0,-8 2 57 0 0,0-1 1 0 0,0-1-1 0 0,0 1 0 0 0,0-1 0 0 0,0 0 0 0 0,-1-1 0 0 0,0 1 1 0 0,0-1-1 0 0,0 0 0 0 0,0 0 0 0 0,0-1 0 0 0,-1 1 1 0 0,0-1-1 0 0,0 0 0 0 0,0 0 0 0 0,-1-1 0 0 0,4-6 0 0 0,-6 11 490 0 0,-4 5-228 0 0,3-4-182 0 0,-1 0-1 0 0,1 0 0 0 0,0 0 0 0 0,-1 0 1 0 0,1 1-1 0 0,0-1 0 0 0,0 0 0 0 0,-1 0 1 0 0,1 0-1 0 0,0 1 0 0 0,0-1 0 0 0,-1 0 1 0 0,1 0-1 0 0,0 1 0 0 0,0-1 1 0 0,0 0-1 0 0,0 0 0 0 0,-1 1 0 0 0,1-1 1 0 0,0 0-1 0 0,0 1 0 0 0,0-1 0 0 0,0 0 1 0 0,0 1-1 0 0,0-1 0 0 0,0 1 0 0 0,-1 2 36 0 0,1 1 0 0 0,-1-1 0 0 0,1 1 0 0 0,0-1 0 0 0,0 1 0 0 0,1-1 0 0 0,-1 1 0 0 0,1-1 0 0 0,0 1 0 0 0,0-1 0 0 0,0 0 0 0 0,0 1 0 0 0,0-1 0 0 0,1 0 0 0 0,0 0 0 0 0,-1 0 0 0 0,1 0 0 0 0,0 0 0 0 0,0 0 0 0 0,1-1 0 0 0,-1 1 0 0 0,1-1 0 0 0,-1 1 0 0 0,1-1 0 0 0,0 0 0 0 0,0 0 0 0 0,0 0 0 0 0,0 0-1 0 0,0-1 1 0 0,0 1 0 0 0,0-1 0 0 0,1 0 0 0 0,3 1 0 0 0,1 0-28 0 0,0 0 0 0 0,1 0 0 0 0,-1-1 1 0 0,0 0-1 0 0,1 0 0 0 0,-1-1 0 0 0,0 0 0 0 0,1-1 0 0 0,-1 0 0 0 0,0 0 0 0 0,1-1 0 0 0,-1 0 0 0 0,11-4 0 0 0,-11 2-3 0 0,0-1-1 0 0,-1 1 1 0 0,1-1 0 0 0,-1-1-1 0 0,0 1 1 0 0,-1-1-1 0 0,1 0 1 0 0,-1-1 0 0 0,-1 1-1 0 0,1-1 1 0 0,-1 0 0 0 0,0-1-1 0 0,0 1 1 0 0,-1-1 0 0 0,5-14-1 0 0,3-11-1 0 0,-1 1-1 0 0,10-59 1 0 0,-16 65-16 0 0,33-190 2375 0 0,-35 199-2073 0 0,0 1 312 0 0,-2 19-14 0 0,-2 29 305 0 0,1-15-707 0 0,7 136 653 0 0,0 21-1531 0 0,-8-144-1520 0 0,-1-1 0 0 0,-1 0 0 0 0,-13 54 0 0 0,12-69 75 0 0,-2-3-289 0 0</inkml:trace>
</inkml:ink>
</file>

<file path=ppt/ink/ink9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8:21.4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575 684 0 0,'0'-4'114'0'0,"1"0"-1"0"0,-1 1 1 0 0,1-1-1 0 0,0 0 1 0 0,0 1-1 0 0,0-1 1 0 0,1 1-1 0 0,-1-1 1 0 0,1 1-1 0 0,0-1 1 0 0,0 1 0 0 0,0 0-1 0 0,0 0 1 0 0,0 0-1 0 0,1 0 1 0 0,-1 0-1 0 0,1 1 1 0 0,0-1-1 0 0,0 1 1 0 0,0 0-1 0 0,0-1 1 0 0,0 1 0 0 0,1 1-1 0 0,-1-1 1 0 0,8-2-1 0 0,8-3 196 0 0,0 1-1 0 0,0 0 1 0 0,35-4 0 0 0,-34 7-43 0 0,131-21 1021 0 0,111-25 1690 0 0,-246 44-2638 0 0,0-1-1 0 0,0 0 1 0 0,0-1 0 0 0,-1-1 0 0 0,24-16 0 0 0,-39 24-335 0 0,1-1 0 0 0,-1 1 0 0 0,0 0 0 0 0,1 0 0 0 0,-1 0 0 0 0,1-1 0 0 0,-1 1 0 0 0,0 0 0 0 0,1 0 0 0 0,-1-1 0 0 0,0 1 0 0 0,1 0 0 0 0,-1-1 0 0 0,0 1 0 0 0,1 0 1 0 0,-1-1-1 0 0,0 1 0 0 0,0 0 0 0 0,0-1 0 0 0,1 1 0 0 0,-1-1 0 0 0,0 1 0 0 0,0-1 0 0 0,0 1 0 0 0,0 0 0 0 0,0-1 0 0 0,0 1 0 0 0,1-2 0 0 0,-12-2 88 0 0,-17 5-48 0 0,20 1-55 0 0,0 0 0 0 0,0 1-1 0 0,0 0 1 0 0,1 0 0 0 0,-1 1 0 0 0,1 0 0 0 0,0 0-1 0 0,0 0 1 0 0,-11 10 0 0 0,13-9-2 0 0,-7 10-21 0 0,11-14 37 0 0,1 0 0 0 0,0 0 0 0 0,0-1 0 0 0,-1 1 1 0 0,1 0-1 0 0,0 0 0 0 0,0-1 0 0 0,0 1 0 0 0,0 0 0 0 0,0 0 0 0 0,0-1 0 0 0,0 1 1 0 0,0 0-1 0 0,1 0 0 0 0,-1-1 0 0 0,0 1 0 0 0,0 0 0 0 0,0-1 0 0 0,1 1 1 0 0,-1 0-1 0 0,1 0 0 0 0,-1-1 0 0 0,1 2 0 0 0,0-1-6 0 0,1 0 0 0 0,-1 0 0 0 0,1 0-1 0 0,0-1 1 0 0,-1 1 0 0 0,1 0 0 0 0,0 0 0 0 0,-1-1 0 0 0,1 1 0 0 0,0-1-1 0 0,0 0 1 0 0,-1 1 0 0 0,1-1 0 0 0,0 0 0 0 0,3 0 0 0 0,28-1 65 0 0,-21-1-21 0 0,0 0-1 0 0,0-1 1 0 0,0 0 0 0 0,0-1-1 0 0,0 0 1 0 0,-1-1-1 0 0,0 0 1 0 0,18-11 0 0 0,-24 13-35 0 0,1-1 0 0 0,-1 0 0 0 0,0 0 0 0 0,0-1 0 0 0,0 1 0 0 0,-1-1 0 0 0,1 0 0 0 0,-1 0 0 0 0,0 0 0 0 0,-1-1 0 0 0,1 0 0 0 0,-1 0 0 0 0,0 1 1 0 0,0-2-1 0 0,-1 1 0 0 0,0 0 0 0 0,2-11 0 0 0,-3 15-11 0 0,-1 0 1 0 0,0 0 0 0 0,1 0 0 0 0,-1 1-1 0 0,0-1 1 0 0,0 0 0 0 0,-1 0-1 0 0,1 0 1 0 0,0 0 0 0 0,-1 0 0 0 0,1 0-1 0 0,-1 0 1 0 0,1 0 0 0 0,-1 0-1 0 0,0 1 1 0 0,0-1 0 0 0,0 0-1 0 0,0 0 1 0 0,0 1 0 0 0,0-1 0 0 0,0 1-1 0 0,-1-1 1 0 0,1 1 0 0 0,-1 0-1 0 0,1-1 1 0 0,-1 1 0 0 0,1 0 0 0 0,-1 0-1 0 0,0 0 1 0 0,1 0 0 0 0,-1 0-1 0 0,0 0 1 0 0,0 1 0 0 0,0-1-1 0 0,0 1 1 0 0,1-1 0 0 0,-1 1 0 0 0,0-1-1 0 0,0 1 1 0 0,-2 0 0 0 0,-3 0 42 0 0,0 0 0 0 0,-1 0 0 0 0,1 0 0 0 0,0 1 0 0 0,0 0 0 0 0,0 1 0 0 0,0-1 0 0 0,0 1 0 0 0,-12 6 0 0 0,8-2 19 0 0,0 0 0 0 0,0 1 0 0 0,1 1 0 0 0,0-1 0 0 0,0 2 0 0 0,1-1 0 0 0,0 1 0 0 0,0 1 0 0 0,1 0 0 0 0,1 0 0 0 0,-1 0 0 0 0,-7 17 0 0 0,12-22-33 0 0,0 1 0 0 0,0 0 0 0 0,1 1 0 0 0,0-1-1 0 0,0 0 1 0 0,0 1 0 0 0,1-1 0 0 0,0 1-1 0 0,1 0 1 0 0,-1-1 0 0 0,1 1 0 0 0,0-1 0 0 0,1 1-1 0 0,0 0 1 0 0,0-1 0 0 0,0 1 0 0 0,1-1 0 0 0,-1 0-1 0 0,2 1 1 0 0,-1-1 0 0 0,1 0 0 0 0,0 0 0 0 0,0 0-1 0 0,1-1 1 0 0,4 8 0 0 0,1-4 30 0 0,0-1 0 0 0,0 1 1 0 0,1-1-1 0 0,-1-1 0 0 0,2 0 0 0 0,-1 0 0 0 0,1-1 1 0 0,0 0-1 0 0,1-1 0 0 0,-1 0 0 0 0,1-1 0 0 0,19 4 1 0 0,-6-2-3 0 0,0-1 0 0 0,0-2 1 0 0,0-1-1 0 0,1-1 1 0 0,30-2-1 0 0,-41 0-58 0 0,0-1 1 0 0,1-1-1 0 0,-1 0 0 0 0,0-1 0 0 0,-1-1 0 0 0,1 0 0 0 0,-1-1 0 0 0,0 0 0 0 0,0-1 1 0 0,0-1-1 0 0,-1 0 0 0 0,15-13 0 0 0,-10 5-72 0 0,-1-1 0 0 0,-1 0 0 0 0,0-1-1 0 0,-2 0 1 0 0,0-1 0 0 0,-1-1 0 0 0,14-28 0 0 0,97-218-582 0 0,-87 182 523 0 0,-26 63 13 0 0,-10 20 116 0 0,0 3 56 0 0,0 0-25 0 0,0 0 0 0 0,-1 1 0 0 0,1-1 0 0 0,-1 0 0 0 0,0 1 0 0 0,1-1 0 0 0,-1 1 0 0 0,0-1 0 0 0,0 1 0 0 0,-1-1 0 0 0,1 1 0 0 0,-1 3 0 0 0,-10 36 297 0 0,6-28-256 0 0,-7 27 269 0 0,-3 1 0 0 0,-1-2 0 0 0,-2 0 0 0 0,-23 38 0 0 0,29-57-140 0 0,-2-1 1 0 0,0 0-1 0 0,-2-1 1 0 0,0-1 0 0 0,-1 0-1 0 0,-1-1 1 0 0,0-1-1 0 0,-36 24 1 0 0,50-37-243 0 0,0 0-1 0 0,-1-1 1 0 0,1 1 0 0 0,-1-1 0 0 0,0 0-1 0 0,0 0 1 0 0,0-1 0 0 0,0 1-1 0 0,0-1 1 0 0,0 0 0 0 0,0-1 0 0 0,0 1-1 0 0,0-1 1 0 0,-1 0 0 0 0,1 0 0 0 0,0-1-1 0 0,0 1 1 0 0,-6-2 0 0 0,10 1 26 0 0,1 1 1 0 0,0 0 0 0 0,-1-1-1 0 0,1 1 1 0 0,0 0-1 0 0,0 0 1 0 0,-1-1 0 0 0,1 1-1 0 0,0-1 1 0 0,0 1 0 0 0,0 0-1 0 0,-1-1 1 0 0,1 1-1 0 0,0 0 1 0 0,0-1 0 0 0,0 1-1 0 0,0-1 1 0 0,0 1-1 0 0,0 0 1 0 0,0-1 0 0 0,0 1-1 0 0,0-1 1 0 0,0 1-1 0 0,0 0 1 0 0,0-1 0 0 0,0 1-1 0 0,0-1 1 0 0,0 1-1 0 0,0 0 1 0 0,1-1 0 0 0,-1 0-1 0 0,5-10-270 0 0,-2 6 221 0 0,1 1-1 0 0,0 1 0 0 0,1-1 0 0 0,-1 0 0 0 0,1 1 1 0 0,-1 0-1 0 0,1 0 0 0 0,0 1 0 0 0,0-1 1 0 0,0 1-1 0 0,0 0 0 0 0,1 0 0 0 0,-1 1 0 0 0,1-1 1 0 0,-1 1-1 0 0,1 0 0 0 0,-1 1 0 0 0,11 0 0 0 0,5 0 32 0 0,0 1 0 0 0,0 2 0 0 0,34 7 0 0 0,-34-5-543 0 0,1 2 0 0 0,-1 0-1 0 0,28 15 1 0 0,22 18-5188 0 0,-51-28 2597 0 0</inkml:trace>
</inkml:ink>
</file>

<file path=ppt/ink/ink9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9:17.35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8 189 1132 0 0,'-4'0'1376'0'0,"-52"-5"3979"0"0,52 5-4941 0 0,1 0-98 0 0,-7 2 47 0 0,17 1 271 0 0,24 3-180 0 0,453-4 615 0 0,-247-4-772 0 0,-113 0 1340 0 0,-123 3-1624 0 0,0-1 0 0 0,0 0-1 0 0,-1 0 1 0 0,1 0 0 0 0,0 0 0 0 0,0 0-1 0 0,0 0 1 0 0,0-1 0 0 0,-1 1 0 0 0,1 0-1 0 0,0 0 1 0 0,0-1 0 0 0,0 1 0 0 0,-1 0 0 0 0,1-1-1 0 0,0 1 1 0 0,-1-1 0 0 0,1 1 0 0 0,0-1-1 0 0,-1 1 1 0 0,1-1 0 0 0,0 1 0 0 0,-1-1-1 0 0,1 0 1 0 0,-1 1 0 0 0,1-1 0 0 0,-1 0-1 0 0,1 1 1 0 0,-1-1 0 0 0,0 0 0 0 0,1 0-1 0 0,-1 1 1 0 0,0-1 0 0 0,0 0 0 0 0,1 0-1 0 0,-1 0 1 0 0,0 1 0 0 0,0-1 0 0 0,0 0-1 0 0,0 0 1 0 0,0 0 0 0 0,0 0 0 0 0,0 0-1 0 0,0 1 1 0 0,-1-3 0 0 0,0-1-26 0 0,-1 0 0 0 0,0 0 1 0 0,0 0-1 0 0,0 0 0 0 0,0 0 0 0 0,-4-5 1 0 0,-97-123-480 0 0,101 130 440 0 0,18 7-142 0 0,-14-3 189 0 0,0-1 0 0 0,0 1-1 0 0,0 0 1 0 0,0 0 0 0 0,0 0 0 0 0,0 0 0 0 0,-1 0-1 0 0,1 0 1 0 0,-1 0 0 0 0,0 1 0 0 0,1-1-1 0 0,0 4 1 0 0,11 31-60 0 0,-13-36 61 0 0,2 7 24 0 0,0-1 0 0 0,-1 0 0 0 0,0 1 0 0 0,-1-1 0 0 0,1 1 0 0 0,-1-1-1 0 0,-1 1 1 0 0,1-1 0 0 0,-1 1 0 0 0,-1-1 0 0 0,1 1 0 0 0,-1-1 0 0 0,-1 0-1 0 0,1 0 1 0 0,-1 0 0 0 0,0 0 0 0 0,-1 0 0 0 0,-4 6 0 0 0,-7 8-208 0 0,-1-2 1 0 0,-1 1-1 0 0,-38 32 0 0 0,5-5-2993 0 0,37-30-1300 0 0</inkml:trace>
</inkml:ink>
</file>

<file path=ppt/ink/ink9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6:35.1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2 43 644 0 0,'0'0'752'0'0,"-14"-9"184"0"0,4 0-336 0 0,0 2-272 0 0,2-2-304 0 0,-2 0-1452 0 0</inkml:trace>
</inkml:ink>
</file>

<file path=ppt/ink/ink9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05.5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4 0 536 0 0,'0'0'3954'0'0,"-13"5"-1858"0"0,9 1-1845 0 0,1 0 1 0 0,0 0 0 0 0,0 1-1 0 0,0-1 1 0 0,1 1-1 0 0,0-1 1 0 0,-3 13-1 0 0,-4 54 621 0 0,8-58-654 0 0,-9 179 1900 0 0,9-112-451 0 0,-25 155-1 0 0,22-212-1251 0 0,2-14 218 0 0,0-1 0 0 0,0 1 0 0 0,-6 14 0 0 0,8-25-608 0 0,0 1-1 0 0,0-1 1 0 0,0 1 0 0 0,0 0 0 0 0,-1-1 0 0 0,1 1 0 0 0,0-1 0 0 0,0 0 0 0 0,0 1-1 0 0,-1-1 1 0 0,1 1 0 0 0,0-1 0 0 0,-1 1 0 0 0,1-1 0 0 0,0 1 0 0 0,-1-1 0 0 0,1 0-1 0 0,-1 1 1 0 0,1-1 0 0 0,0 0 0 0 0,-1 1 0 0 0,1-1 0 0 0,-1 0 0 0 0,1 0 0 0 0,-1 1 0 0 0,1-1-1 0 0,-1 0 1 0 0,1 0 0 0 0,-1 0 0 0 0,1 0 0 0 0,-1 0 0 0 0,1 0 0 0 0,-1 0 0 0 0,1 0-1 0 0,-1 0 1 0 0,0 0 0 0 0,1 0 0 0 0,-1 0 0 0 0,1 0 0 0 0,-1 0 0 0 0,1 0 0 0 0,-1-1 0 0 0,0 1-1 0 0,0-1-29 0 0,0 0 0 0 0,0 0 0 0 0,0 0 0 0 0,0 0 0 0 0,0 0 0 0 0,0 0 0 0 0,1 0 0 0 0,-1 0-1 0 0,0 0 1 0 0,1 0 0 0 0,-1 0 0 0 0,1-1 0 0 0,-1 1 0 0 0,0-2 0 0 0,1-2-35 0 0,0 0 0 0 0,0 0 0 0 0,0 0 0 0 0,0 0 1 0 0,1 0-1 0 0,0 1 0 0 0,0-1 0 0 0,0 0 0 0 0,1 0 0 0 0,-1 1 1 0 0,1-1-1 0 0,3-4 0 0 0,3-7-118 0 0,20-27 1 0 0,-19 31 77 0 0,1 1 1 0 0,0-1-1 0 0,1 1 1 0 0,0 1-1 0 0,1 0 0 0 0,0 1 1 0 0,1 0-1 0 0,0 1 1 0 0,0 0-1 0 0,0 1 0 0 0,26-9 1 0 0,-30 12 8 0 0,1 1 0 0 0,-1 1 0 0 0,1-1 1 0 0,0 2-1 0 0,0-1 0 0 0,0 1 0 0 0,0 1 1 0 0,0 0-1 0 0,0 0 0 0 0,0 1 0 0 0,0 1 1 0 0,0-1-1 0 0,0 1 0 0 0,0 1 0 0 0,0 0 1 0 0,-1 0-1 0 0,0 1 0 0 0,16 9 0 0 0,-22-12 66 0 0,-1 1 0 0 0,1 0-1 0 0,0 0 1 0 0,0 0 0 0 0,-1 0-1 0 0,1 0 1 0 0,-1 0 0 0 0,0 1-1 0 0,0-1 1 0 0,0 1 0 0 0,0 0-1 0 0,0 0 1 0 0,-1-1 0 0 0,1 1-1 0 0,-1 0 1 0 0,1 0 0 0 0,-1 1-1 0 0,0-1 1 0 0,0 0-1 0 0,-1 0 1 0 0,1 0 0 0 0,-1 1-1 0 0,1 3 1 0 0,-2-3 24 0 0,0-1 0 0 0,1 1 0 0 0,-1-1 0 0 0,-1 1 0 0 0,1-1 0 0 0,0 1 0 0 0,-1-1 0 0 0,0 0 0 0 0,1 0 0 0 0,-1 0 0 0 0,0 0 0 0 0,-1 0 0 0 0,1 0 0 0 0,-1 0 0 0 0,1-1 0 0 0,-1 1 0 0 0,0-1 0 0 0,0 0 0 0 0,0 0 0 0 0,-5 3 0 0 0,-7 3 45 0 0,-1 0 0 0 0,0-2 0 0 0,0 1-1 0 0,-1-2 1 0 0,1 0 0 0 0,-1-1 0 0 0,-27 2 0 0 0,14-3-622 0 0,0-2 1 0 0,0-1 0 0 0,-44-5 0 0 0,68 4-393 0 0,-1 0 0 0 0,1 0 0 0 0,0-1 0 0 0,-9-3 0 0 0,15 4 783 0 0,-4-4-2169 0 0,4 5 2169 0 0,0-1 0 0 0,0 1 0 0 0,-1-1 0 0 0,1 1 0 0 0,0-1 0 0 0,0 1 0 0 0,0-1 0 0 0,0 1 0 0 0,0-1 0 0 0,1 0 0 0 0</inkml:trace>
</inkml:ink>
</file>

<file path=ppt/ink/ink9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05.9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 392 0 0,'2'-1'294'0'0,"-1"0"-1"0"0,1 1 1 0 0,-1-1-1 0 0,0 1 1 0 0,1-1-1 0 0,-1 1 1 0 0,1-1-1 0 0,-1 1 1 0 0,1 0-1 0 0,-1 0 1 0 0,1 0 0 0 0,0 0-1 0 0,-1 0 1 0 0,1 0-1 0 0,-1 1 1 0 0,1-1-1 0 0,1 1 1 0 0,-2 0-216 0 0,-1-1 0 0 0,1 1 0 0 0,-1 0 1 0 0,0-1-1 0 0,1 1 0 0 0,-1 0 0 0 0,0 0 1 0 0,1-1-1 0 0,-1 1 0 0 0,0 0 0 0 0,0 0 0 0 0,0 0 1 0 0,0-1-1 0 0,0 1 0 0 0,0 0 0 0 0,0 0 0 0 0,0 0 1 0 0,0 0-1 0 0,0-1 0 0 0,0 1 0 0 0,-1 1 0 0 0,-2 13 297 0 0,1-1-3 0 0,1 0-1 0 0,0 0 1 0 0,1 0-1 0 0,1 0 1 0 0,0 0-1 0 0,5 24 1 0 0,-4-32-270 0 0,0-1 0 0 0,0 0 0 0 0,0 1 1 0 0,0-1-1 0 0,1 0 0 0 0,0 0 1 0 0,0 0-1 0 0,0-1 0 0 0,1 1 1 0 0,0-1-1 0 0,-1 0 0 0 0,2 0 1 0 0,-1 0-1 0 0,0 0 0 0 0,1-1 1 0 0,-1 1-1 0 0,1-1 0 0 0,0 0 0 0 0,6 2 1 0 0,-3-2 0 0 0,-1 0 0 0 0,1 0 0 0 0,0-1 0 0 0,0 0 0 0 0,0-1 0 0 0,0 0 0 0 0,1 0 0 0 0,-1 0 0 0 0,0-1 0 0 0,11-1 0 0 0,-15 0-54 0 0,-1 1-1 0 0,1-1 1 0 0,-1 0 0 0 0,1 0-1 0 0,-1 0 1 0 0,1 0 0 0 0,-1-1 0 0 0,0 1-1 0 0,0-1 1 0 0,0 0 0 0 0,0 0-1 0 0,0 0 1 0 0,0 0 0 0 0,0-1 0 0 0,-1 1-1 0 0,1-1 1 0 0,-1 1 0 0 0,1-1-1 0 0,-1 0 1 0 0,0 0 0 0 0,0 0-1 0 0,-1 0 1 0 0,1-1 0 0 0,-1 1 0 0 0,1 0-1 0 0,1-7 1 0 0,-2 5 6 0 0,0 0 1 0 0,0-1-1 0 0,0 1 1 0 0,-1 0-1 0 0,1-1 1 0 0,-1 1-1 0 0,-1 0 1 0 0,1-1-1 0 0,-1 1 1 0 0,0 0-1 0 0,0-1 1 0 0,0 1-1 0 0,-1 0 0 0 0,0 0 1 0 0,0 0-1 0 0,-5-8 1 0 0,3 7-80 0 0,0 1 1 0 0,0-1-1 0 0,0 1 0 0 0,-1 0 1 0 0,0 1-1 0 0,0-1 1 0 0,-1 1-1 0 0,1 0 0 0 0,-1 0 1 0 0,0 1-1 0 0,0-1 1 0 0,-12-4-1 0 0,3 3-819 0 0,0 1-1 0 0,-1 0 1 0 0,-17-2-1 0 0,29 6 130 0 0,0 0-75 0 0,1 1 326 0 0,-6 1 368 0 0</inkml:trace>
</inkml:ink>
</file>

<file path=ppt/ink/ink9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06.2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5 956 0 0,'12'-7'3334'0'0,"-10"6"-3122"0"0,-1 1-1 0 0,0-1 0 0 0,0 0 1 0 0,1 0-1 0 0,-1 0 0 0 0,0 1 1 0 0,1-1-1 0 0,-1 1 0 0 0,1-1 1 0 0,-1 1-1 0 0,1 0 0 0 0,-1-1 1 0 0,1 1-1 0 0,-1 0 0 0 0,1 0 1 0 0,-1 0-1 0 0,1 0 0 0 0,-1 0 1 0 0,1 1-1 0 0,-1-1 0 0 0,1 0 1 0 0,-1 1-1 0 0,3 0 0 0 0,-3 0-86 0 0,0 1-1 0 0,-1-1 1 0 0,1 1 0 0 0,0 0-1 0 0,0-1 1 0 0,-1 1-1 0 0,1 0 1 0 0,-1-1-1 0 0,0 1 1 0 0,1 0 0 0 0,-1-1-1 0 0,0 1 1 0 0,0 0-1 0 0,0 2 1 0 0,0-2 118 0 0,-2 153 3621 0 0,-2-52-2525 0 0,9 35-356 0 0,-3-115-929 0 0,1 0 1 0 0,1-1 0 0 0,1 0-1 0 0,9 23 1 0 0,-14-43-168 0 0,1 1 1 0 0,0-1-1 0 0,0 0 0 0 0,0 0 0 0 0,0 0 1 0 0,0 0-1 0 0,0 0 0 0 0,1 0 0 0 0,-1 0 1 0 0,1-1-1 0 0,-1 1 0 0 0,1 0 0 0 0,0-1 1 0 0,0 1-1 0 0,-1-1 0 0 0,1 0 0 0 0,0 0 1 0 0,0 1-1 0 0,0-1 0 0 0,0 0 1 0 0,1-1-1 0 0,-1 1 0 0 0,0 0 0 0 0,3 0 1 0 0,-1-1-560 0 0,1 0 1 0 0,-1 0-1 0 0,1 0 1 0 0,-1-1-1 0 0,1 0 1 0 0,-1 0-1 0 0,1 0 1 0 0,-1 0-1 0 0,0-1 1 0 0,1 1-1 0 0,5-5 1 0 0,8-4-3982 0 0</inkml:trace>
</inkml:ink>
</file>

<file path=ppt/ink/ink9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06.6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8 151 964 0 0,'-75'-26'7202'0'0,"74"26"-7154"0"0,0 0 0 0 0,1 0 0 0 0,-1 0 0 0 0,0-1 0 0 0,1 1-1 0 0,-1 0 1 0 0,0 0 0 0 0,1-1 0 0 0,-1 1 0 0 0,0 0 0 0 0,1-1 0 0 0,-1 1 0 0 0,1-1 0 0 0,-1 1-1 0 0,1-1 1 0 0,-1 1 0 0 0,0-2 0 0 0,5-5 584 0 0,16-3-256 0 0,36-7-132 0 0,56-12 0 0 0,6 0 479 0 0,-22 4 1358 0 0,-94 25-2046 0 0,0 0 0 0 0,0 0 1 0 0,0 0-1 0 0,0 0 0 0 0,0 0 1 0 0,0 0-1 0 0,0 1 0 0 0,0-1 1 0 0,-1 1-1 0 0,1 0 0 0 0,0-1 0 0 0,0 1 1 0 0,0 0-1 0 0,-1 0 0 0 0,1 0 1 0 0,0 0-1 0 0,-1 0 0 0 0,1 0 0 0 0,-1 1 1 0 0,1-1-1 0 0,-1 1 0 0 0,0-1 1 0 0,1 1-1 0 0,-1-1 0 0 0,0 1 1 0 0,0 0-1 0 0,0-1 0 0 0,0 1 0 0 0,-1 0 1 0 0,2 2-1 0 0,3 16 311 0 0,0 0 1 0 0,-1 1-1 0 0,-1-1 0 0 0,-1 1 1 0 0,-1-1-1 0 0,-2 30 0 0 0,0-21-44 0 0,-3 83 4199 0 0,7-117-4439 0 0,-1 1 1 0 0,1-1 0 0 0,-1 1 0 0 0,1 0-1 0 0,0 0 1 0 0,1 0 0 0 0,6-6 0 0 0,-1 1-64 0 0,0 0 0 0 0,1 1 0 0 0,-1 0 0 0 0,2 1 0 0 0,17-10 0 0 0,-22 15-93 0 0,0 1 0 0 0,0 0-1 0 0,-1 1 1 0 0,1-1 0 0 0,0 1 0 0 0,0 0-1 0 0,0 1 1 0 0,0 0 0 0 0,0-1-1 0 0,-1 2 1 0 0,1-1 0 0 0,0 1-1 0 0,-1 0 1 0 0,1 0 0 0 0,5 3 0 0 0,-4-1-296 0 0,-1 0 0 0 0,0 0 0 0 0,0 0 0 0 0,0 1 0 0 0,-1-1 0 0 0,0 1 0 0 0,0 1 0 0 0,0-1 0 0 0,0 1 0 0 0,-1 0 0 0 0,0 0 0 0 0,0 0 0 0 0,3 7 0 0 0,-4-6-775 0 0,-1 0 0 0 0,1 0 0 0 0,-1-1 1 0 0,-1 1-1 0 0,1 1 0 0 0,-1-1 0 0 0,0 14 1 0 0</inkml:trace>
</inkml:ink>
</file>

<file path=ppt/ink/ink9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07.1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1 91 2288 0 0,'0'-3'2026'0'0,"-2"-37"4381"0"0,2 39-6384 0 0,0 1 0 0 0,0 0 0 0 0,0-1 0 0 0,0 1 0 0 0,0 0 0 0 0,0-1 0 0 0,0 1 0 0 0,0 0-1 0 0,0 0 1 0 0,0-1 0 0 0,0 1 0 0 0,0 0 0 0 0,0-1 0 0 0,-1 1 0 0 0,1 0 0 0 0,0 0 0 0 0,0-1 0 0 0,0 1 0 0 0,0 0 0 0 0,-1 0 0 0 0,1 0 0 0 0,0-1 0 0 0,0 1 0 0 0,-1 0 0 0 0,1 0-1 0 0,0 0 1 0 0,0-1 0 0 0,-1 1 0 0 0,1 0 0 0 0,0 0 0 0 0,0 0 0 0 0,-1 0 0 0 0,1 0 0 0 0,0 0 0 0 0,-1 0 0 0 0,1 0 0 0 0,0 0 0 0 0,-1 0 0 0 0,1 0 0 0 0,0 0 0 0 0,0 0 0 0 0,-1 0-1 0 0,1 0 1 0 0,0 0 0 0 0,-1 0 0 0 0,1 0 0 0 0,0 0 0 0 0,-1 0 0 0 0,1 0 0 0 0,0 1 0 0 0,0-1 0 0 0,-1 0 0 0 0,1 0 0 0 0,0 0 0 0 0,0 0 0 0 0,-1 1 0 0 0,1-1 0 0 0,0 0 0 0 0,0 0-1 0 0,0 1 1 0 0,0-1 0 0 0,-1 1 0 0 0,0 0 80 0 0,-1 0 0 0 0,0 0-1 0 0,1 1 1 0 0,0-1-1 0 0,-1 1 1 0 0,1 0 0 0 0,0-1-1 0 0,0 1 1 0 0,-1 0 0 0 0,0 2-1 0 0,-2 9 196 0 0,0-1 0 0 0,1 1 1 0 0,0 0-1 0 0,0 0 0 0 0,2 0 0 0 0,0 0 0 0 0,0 0 0 0 0,2 15 0 0 0,-1-27-267 0 0,0 1-1 0 0,0-1 1 0 0,0 0 0 0 0,0 0-1 0 0,1 0 1 0 0,-1 1-1 0 0,0-1 1 0 0,1 0 0 0 0,-1 0-1 0 0,1 0 1 0 0,-1 0 0 0 0,1 0-1 0 0,-1 0 1 0 0,1 0-1 0 0,0 0 1 0 0,-1 0 0 0 0,1 0-1 0 0,0 0 1 0 0,0 0-1 0 0,0-1 1 0 0,0 1 0 0 0,0 0-1 0 0,0 0 1 0 0,0-1 0 0 0,0 1-1 0 0,0-1 1 0 0,0 1-1 0 0,0-1 1 0 0,0 1 0 0 0,0-1-1 0 0,0 0 1 0 0,1 0 0 0 0,-1 1-1 0 0,0-1 1 0 0,0 0-1 0 0,0 0 1 0 0,1 0 0 0 0,-1 0-1 0 0,0 0 1 0 0,0-1-1 0 0,0 1 1 0 0,2-1 0 0 0,5-1-38 0 0,-1 0 0 0 0,0-1 0 0 0,0 0 0 0 0,0 0 0 0 0,7-5 0 0 0,-12 6 10 0 0,57-43-768 0 0,-58 44 615 0 0,8 12-258 0 0,-7-5 361 0 0,0 1 66 0 0,0 0 0 0 0,0 0 0 0 0,0 0 0 0 0,1 0 1 0 0,0-1-1 0 0,1 1 0 0 0,0-1 0 0 0,0 0 1 0 0,0 0-1 0 0,0 0 0 0 0,11 10 0 0 0,-10-12 114 0 0,0-1-1 0 0,0 1 1 0 0,0-1-1 0 0,0 0 1 0 0,0 0-1 0 0,1-1 1 0 0,-1 0-1 0 0,1 0 1 0 0,0 0-1 0 0,0 0 1 0 0,-1-1 0 0 0,1 0-1 0 0,7 0 1 0 0,-11-1-59 0 0,1 0 0 0 0,0-1 0 0 0,-1 1 0 0 0,1-1 1 0 0,-1 0-1 0 0,1 1 0 0 0,-1-1 0 0 0,1-1 0 0 0,-1 1 0 0 0,1 0 1 0 0,-1 0-1 0 0,0-1 0 0 0,0 0 0 0 0,0 1 0 0 0,0-1 0 0 0,0 0 1 0 0,0 0-1 0 0,0 0 0 0 0,0 0 0 0 0,-1 0 0 0 0,1 0 0 0 0,-1-1 1 0 0,2-2-1 0 0,0-3-19 0 0,-1 0-1 0 0,0 0 1 0 0,0-1 0 0 0,-1 1-1 0 0,0 0 1 0 0,0-1 0 0 0,-1 1-1 0 0,0 0 1 0 0,-1-1 0 0 0,0 1 0 0 0,0 0-1 0 0,-1-1 1 0 0,0 1 0 0 0,0 0-1 0 0,-5-10 1 0 0,5 10-292 0 0,-1 1 0 0 0,-1 0-1 0 0,0 0 1 0 0,0 0 0 0 0,0 1-1 0 0,0-1 1 0 0,-1 1 0 0 0,0 0-1 0 0,-1 0 1 0 0,1 1 0 0 0,-1 0-1 0 0,0 0 1 0 0,-1 0 0 0 0,1 1-1 0 0,-1-1 1 0 0,-11-4 0 0 0,13 7-244 0 0,1 1-1 0 0,-1 0 1 0 0,1 0 0 0 0,-1 0-1 0 0,0 1 1 0 0,1-1 0 0 0,-1 1-1 0 0,0 0 1 0 0,1 1 0 0 0,-1-1 0 0 0,0 1-1 0 0,1 0 1 0 0,-1 0 0 0 0,1 0-1 0 0,-1 0 1 0 0,1 1 0 0 0,-7 4-1 0 0,10-6 345 0 0,1 0-1 0 0,-1 1 1 0 0,1-1-1 0 0,-1 0 0 0 0,1 1 1 0 0,-1-1-1 0 0,1 1 0 0 0,0-1 1 0 0,-1 0-1 0 0,1 1 1 0 0,0-1-1 0 0,-1 1 0 0 0,1-1 1 0 0,0 1-1 0 0,-1-1 0 0 0,1 1 1 0 0,0 0-1 0 0,0-1 1 0 0,0 1-1 0 0,0 0 0 0 0,-1 1-401 0 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31.4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0 179 896 0 0,'-62'-4'4156'0'0,"-63"-3"2132"0"0,122 7-5344 0 0,6-1-579 0 0,206-39 1586 0 0,-35 8-945 0 0,-143 24-728 0 0,1 2-1 0 0,51-2 1 0 0,-80 8-229 0 0,0-1 1 0 0,0 2-1 0 0,-1-1 1 0 0,1 0-1 0 0,0 1 0 0 0,0-1 1 0 0,0 1-1 0 0,-1 0 1 0 0,1 0-1 0 0,0 0 1 0 0,-1 0-1 0 0,1 0 0 0 0,-1 1 1 0 0,1-1-1 0 0,-1 1 1 0 0,1 0-1 0 0,-1-1 0 0 0,0 1 1 0 0,0 0-1 0 0,0 1 1 0 0,0-1-1 0 0,0 0 1 0 0,2 4-1 0 0,0 3 36 0 0,-1-1 0 0 0,1 1 0 0 0,-1 1 0 0 0,-1-1 1 0 0,3 16-1 0 0,-3-14-9 0 0,1 1 1 0 0,7 20-1 0 0,-7-27 39 0 0,-1 1 0 0 0,1-1 1 0 0,1 0-1 0 0,-1 0 0 0 0,1 0 0 0 0,0 0 0 0 0,0 0 0 0 0,0-1 0 0 0,1 1 1 0 0,-1-1-1 0 0,1-1 0 0 0,0 1 0 0 0,0-1 0 0 0,1 1 0 0 0,-1-2 1 0 0,1 1-1 0 0,-1 0 0 0 0,1-1 0 0 0,0 0 0 0 0,0-1 0 0 0,10 3 1 0 0,-13-4-66 0 0,1 1 1 0 0,-1-1-1 0 0,0 0 1 0 0,1 0-1 0 0,-1 0 1 0 0,0 0-1 0 0,0-1 1 0 0,1 1-1 0 0,-1-1 1 0 0,0 0-1 0 0,0 0 1 0 0,6-3-1 0 0,-1 2 85 0 0,-2-1-66 0 0,1 0 1 0 0,-1 0-1 0 0,0 0 0 0 0,0-1 0 0 0,0 0 1 0 0,-1 0-1 0 0,1 0 0 0 0,-1-1 0 0 0,0 0 1 0 0,0 0-1 0 0,0 0 0 0 0,-1-1 1 0 0,0 0-1 0 0,0 1 0 0 0,0-1 0 0 0,-1-1 1 0 0,0 1-1 0 0,0 0 0 0 0,0-1 0 0 0,1-6 1 0 0,-2 5-223 0 0,0 0 0 0 0,-1 0-1 0 0,0 0 1 0 0,-1 0 0 0 0,1 0 0 0 0,-1 0 0 0 0,-1 0 0 0 0,1 1 0 0 0,-2-1 0 0 0,1 0-1 0 0,-1 0 1 0 0,0 0 0 0 0,0 1 0 0 0,-1-1 0 0 0,0 1 0 0 0,-1 0 0 0 0,-6-12 0 0 0,7 16-141 0 0,0-1 1 0 0,0 1 0 0 0,0 0-1 0 0,0 0 1 0 0,0 0 0 0 0,0 0-1 0 0,-1 1 1 0 0,0-1 0 0 0,1 1-1 0 0,-1 0 1 0 0,0 0 0 0 0,0 0 0 0 0,0 1-1 0 0,0-1 1 0 0,0 1 0 0 0,-7-1-1 0 0,-1 0-1338 0 0,0 1 0 0 0,1 0 0 0 0,-1 1 0 0 0,-23 3-1 0 0,9 1-3204 0 0</inkml:trace>
</inkml:ink>
</file>

<file path=ppt/ink/ink9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08.1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6 147 316 0 0,'2'-1'401'0'0,"3"0"197"0"0,-1 0-1 0 0,0 0 1 0 0,1-1 0 0 0,-1 0-1 0 0,0 0 1 0 0,0 0 0 0 0,0 0-1 0 0,-1 0 1 0 0,1-1 0 0 0,0 0-1 0 0,-1 0 1 0 0,0 0 0 0 0,5-5-1 0 0,-7 6 88 0 0,-2-3 94 0 0,1 4-764 0 0,0 1 0 0 0,0 0-1 0 0,0 0 1 0 0,0-1 0 0 0,0 1-1 0 0,0 0 1 0 0,0 0-1 0 0,0-1 1 0 0,0 1 0 0 0,0 0-1 0 0,0 0 1 0 0,0-1 0 0 0,0 1-1 0 0,-1 0 1 0 0,1 0-1 0 0,0-1 1 0 0,0 1 0 0 0,0 0-1 0 0,0 0 1 0 0,0-1 0 0 0,0 1-1 0 0,-1 0 1 0 0,1 0 0 0 0,0 0-1 0 0,0 0 1 0 0,0-1-1 0 0,0 1 1 0 0,-1 0 0 0 0,1 0-1 0 0,0 0 1 0 0,0 0 0 0 0,-1 0-1 0 0,1-1 1 0 0,0 1-1 0 0,0 0 1 0 0,-1 0 0 0 0,1 0-1 0 0,-7 0 83 0 0,1 0-1 0 0,-1 1 1 0 0,1-1 0 0 0,-1 1-1 0 0,1 1 1 0 0,-1-1-1 0 0,1 1 1 0 0,0 0-1 0 0,0 0 1 0 0,0 1-1 0 0,0 0 1 0 0,0 0-1 0 0,0 1 1 0 0,-9 6 0 0 0,9-5-60 0 0,0-1 1 0 0,1 1 0 0 0,-1 0-1 0 0,1 1 1 0 0,0-1 0 0 0,1 1 0 0 0,-1 0-1 0 0,1 0 1 0 0,0 1 0 0 0,0-1-1 0 0,1 1 1 0 0,0 0 0 0 0,-3 9 0 0 0,6-14-22 0 0,-1 0 0 0 0,1 0 0 0 0,-1 0 0 0 0,1 0 1 0 0,0 1-1 0 0,0-1 0 0 0,0 0 0 0 0,0 0 0 0 0,0 0 1 0 0,0 1-1 0 0,1-1 0 0 0,-1 0 0 0 0,1 0 0 0 0,-1 0 1 0 0,1 0-1 0 0,0 0 0 0 0,0 0 0 0 0,0 0 1 0 0,0 0-1 0 0,0 0 0 0 0,0 0 0 0 0,1 0 0 0 0,-1-1 1 0 0,1 1-1 0 0,-1 0 0 0 0,1-1 0 0 0,0 0 0 0 0,-1 1 1 0 0,1-1-1 0 0,0 0 0 0 0,0 0 0 0 0,0 0 1 0 0,0 0-1 0 0,0 0 0 0 0,0 0 0 0 0,0 0 0 0 0,3 0 1 0 0,2 0-59 0 0,0 1 1 0 0,1-1 0 0 0,-1 0 0 0 0,1-1 0 0 0,-1 0-1 0 0,1 0 1 0 0,-1 0 0 0 0,1-1 0 0 0,13-3 0 0 0,-13 2 24 0 0,0-1 0 0 0,0 0 0 0 0,0 0 0 0 0,-1-1 1 0 0,1 0-1 0 0,-1 0 0 0 0,0-1 0 0 0,0 0 1 0 0,-1 0-1 0 0,0-1 0 0 0,1 1 0 0 0,-2-1 0 0 0,1-1 1 0 0,-1 1-1 0 0,0-1 0 0 0,0 0 0 0 0,-1 0 1 0 0,1 0-1 0 0,-2-1 0 0 0,1 0 0 0 0,-1 1 0 0 0,0-1 1 0 0,2-11-1 0 0,-7-4 321 0 0,2 23-303 0 0,0-1 1 0 0,0 1 0 0 0,0-1-1 0 0,0 1 1 0 0,0-1 0 0 0,0 1-1 0 0,-1 0 1 0 0,1-1 0 0 0,0 1-1 0 0,0-1 1 0 0,0 1 0 0 0,0 0-1 0 0,-1-1 1 0 0,1 1 0 0 0,0 0-1 0 0,0-1 1 0 0,-1 1 0 0 0,1 0-1 0 0,0-1 1 0 0,0 1-1 0 0,-1 0 1 0 0,1-1 0 0 0,0 1-1 0 0,-1 0 1 0 0,1 0 0 0 0,-1 0-1 0 0,1-1 1 0 0,0 1 0 0 0,-1 0-1 0 0,1 0 1 0 0,0 0 0 0 0,-1 0-1 0 0,1 0 1 0 0,-1 0 0 0 0,1 0-1 0 0,-1 0 1 0 0,1 0 0 0 0,0 0-1 0 0,-1 0 1 0 0,1 0 0 0 0,-1 0-1 0 0,1 0 1 0 0,0 0 0 0 0,-1 0-1 0 0,0 0 1 0 0,-1 2 8 0 0,0 0-1 0 0,0-1 1 0 0,0 1 0 0 0,1 0 0 0 0,-1 0-1 0 0,0 0 1 0 0,1 0 0 0 0,0 0 0 0 0,-1 0-1 0 0,1 1 1 0 0,0-1 0 0 0,0 0 0 0 0,0 1-1 0 0,0-1 1 0 0,0 1 0 0 0,1-1 0 0 0,-1 1-1 0 0,1-1 1 0 0,0 5 0 0 0,-1-4 35 0 0,1 1-1 0 0,0-1 1 0 0,0 1 0 0 0,1-1-1 0 0,-1 0 1 0 0,1 1 0 0 0,-1-1-1 0 0,1 1 1 0 0,0-1 0 0 0,0 0 0 0 0,1 0-1 0 0,-1 1 1 0 0,3 2 0 0 0,-2-4-6 0 0,0 0 0 0 0,0 0 0 0 0,1 0 0 0 0,-1-1 0 0 0,0 1 0 0 0,1-1 0 0 0,0 0 0 0 0,-1 0 0 0 0,1 0 0 0 0,-1 0 0 0 0,6 1 0 0 0,-6-1-25 0 0,5 0 23 0 0,0-1 0 0 0,1 1 1 0 0,-1-2-1 0 0,0 1 1 0 0,1-1-1 0 0,-1 0 0 0 0,0 0 1 0 0,0-1-1 0 0,14-4 1 0 0,-13 3-28 0 0,0 0 0 0 0,0-1 0 0 0,0 0 1 0 0,0 0-1 0 0,-1-1 0 0 0,1 0 0 0 0,-1 0 1 0 0,0 0-1 0 0,9-10 0 0 0,2-6 123 0 0,27-37 1 0 0,-7 8 1176 0 0,-16 19-758 0 0,-21 30-534 0 0,-9 12-72 0 0,4 1 125 0 0,2 0-1 0 0,0 0 1 0 0,0 0-1 0 0,1 0 0 0 0,1 0 1 0 0,0 0-1 0 0,0 0 1 0 0,2 1-1 0 0,-1-1 0 0 0,1 0 1 0 0,1-1-1 0 0,0 1 1 0 0,1 0-1 0 0,8 18 1 0 0,-9-24-35 0 0,0 0 1 0 0,0-1-1 0 0,0 1 1 0 0,1 0-1 0 0,0-1 1 0 0,0 0-1 0 0,0 0 1 0 0,1 0 0 0 0,0-1-1 0 0,0 1 1 0 0,0-1-1 0 0,0 0 1 0 0,1-1-1 0 0,-1 1 1 0 0,1-1-1 0 0,0 0 1 0 0,0 0-1 0 0,0-1 1 0 0,1 0 0 0 0,-1 0-1 0 0,1 0 1 0 0,-1-1-1 0 0,1 0 1 0 0,-1 0-1 0 0,1-1 1 0 0,-1 0-1 0 0,1 0 1 0 0,10-2-1 0 0,-8 1-93 0 0,1-2-1 0 0,-1 1 0 0 0,0-1 0 0 0,1 0 0 0 0,-1-1 1 0 0,-1 0-1 0 0,1-1 0 0 0,15-10 0 0 0,-1-2-405 0 0,33-35 0 0 0,-20 18 177 0 0,-35 34 263 0 0,-1-1 1 0 0,1 0 0 0 0,-1 1 0 0 0,1-1 0 0 0,0 0-1 0 0,-1 1 1 0 0,1-1 0 0 0,0 1 0 0 0,-1 0 0 0 0,1-1-1 0 0,0 1 1 0 0,0-1 0 0 0,-1 1 0 0 0,1 0 0 0 0,0 0-1 0 0,0-1 1 0 0,0 1 0 0 0,0 0 0 0 0,-1 0 0 0 0,1 0-1 0 0,0 0 1 0 0,0 0 0 0 0,0 0 0 0 0,1 0 0 0 0,-1 1 11 0 0,-1 0 0 0 0,1-1 1 0 0,0 1-1 0 0,-1 0 0 0 0,1-1 1 0 0,-1 1-1 0 0,1 0 1 0 0,-1 0-1 0 0,1-1 0 0 0,-1 1 1 0 0,1 0-1 0 0,-1 0 0 0 0,0 0 1 0 0,0 0-1 0 0,1 0 0 0 0,-1 0 1 0 0,0 0-1 0 0,0 1 1 0 0,1 9 11 0 0,-1-1 1 0 0,0 1-1 0 0,-2 11 1 0 0,1-16-20 0 0,-3 48 336 0 0,-3-1 0 0 0,-2 0 0 0 0,-22 70 0 0 0,25-104-193 0 0,-1 0 0 0 0,-1-1 1 0 0,0 1-1 0 0,-2-1 0 0 0,0-1 0 0 0,-1 0 0 0 0,0 0 1 0 0,-2-1-1 0 0,0-1 0 0 0,0 0 0 0 0,-2-1 0 0 0,-19 16 0 0 0,28-26-23 0 0,0 0 0 0 0,0 0-1 0 0,-1 0 1 0 0,1-1-1 0 0,-1 0 1 0 0,0 0-1 0 0,0 0 1 0 0,0-1-1 0 0,-1 0 1 0 0,1-1 0 0 0,0 0-1 0 0,-1 0 1 0 0,-10 0-1 0 0,13-1-84 0 0,0-1-1 0 0,0 0 0 0 0,0 0 1 0 0,0 0-1 0 0,0-1 0 0 0,0 1 1 0 0,0-1-1 0 0,1 0 0 0 0,-1 0 1 0 0,1-1-1 0 0,-1 1 0 0 0,1-1 1 0 0,0 0-1 0 0,0-1 0 0 0,0 1 1 0 0,0-1-1 0 0,1 1 0 0 0,0-1 1 0 0,-1 0-1 0 0,-2-5 0 0 0,1 1-290 0 0,0 0 0 0 0,1 0-1 0 0,0 0 1 0 0,1 0 0 0 0,0-1-1 0 0,0 1 1 0 0,1-1 0 0 0,0 0 0 0 0,0 0-1 0 0,1 0 1 0 0,0 0 0 0 0,0 0-1 0 0,1 0 1 0 0,1 0 0 0 0,-1 0-1 0 0,2 0 1 0 0,-1 0 0 0 0,1 1 0 0 0,0-1-1 0 0,4-8 1 0 0,0 3-671 0 0,0 0 0 0 0,1 1 0 0 0,0 0 0 0 0,1 0 0 0 0,0 1 0 0 0,1 0 0 0 0,1 1 0 0 0,0 0 0 0 0,0 0-1 0 0,1 1 1 0 0,17-12 0 0 0,-5 6-963 0 0</inkml:trace>
</inkml:ink>
</file>

<file path=ppt/ink/ink9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08.5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4 187 612 0 0,'10'-9'396'0'0,"44"-42"2987"0"0,-49 45-2980 0 0,0 0 1 0 0,0 0 0 0 0,0-1-1 0 0,-1 0 1 0 0,0 0-1 0 0,6-12 1 0 0,-9 15-281 0 0,1 0-1 0 0,-1-1 1 0 0,0 1 0 0 0,0 0-1 0 0,0 0 1 0 0,0-5 0 0 0,-1 7-65 0 0,0-1 42 0 0,-1 2-73 0 0,1-1 1 0 0,-1 1 0 0 0,1-1-1 0 0,-1 1 1 0 0,0-1 0 0 0,0 1-1 0 0,1 0 1 0 0,-1-1 0 0 0,0 1-1 0 0,0 0 1 0 0,0 0-1 0 0,0 0 1 0 0,-1 0 0 0 0,1 0-1 0 0,0 0 1 0 0,0 0 0 0 0,-1 0-1 0 0,1 0 1 0 0,0 0 0 0 0,-1 1-1 0 0,1-1 1 0 0,-1 0 0 0 0,-2 0-1 0 0,-1 0-7 0 0,-1 0-1 0 0,1 1 1 0 0,0-1-1 0 0,-1 1 1 0 0,1 0-1 0 0,0 0 1 0 0,-1 1-1 0 0,1 0 1 0 0,0 0-1 0 0,0 0 1 0 0,0 0-1 0 0,0 1 1 0 0,-7 2-1 0 0,10-3-1 0 0,0 0 1 0 0,1 0-1 0 0,-1 0 1 0 0,0 1-1 0 0,0-1 1 0 0,0 0-1 0 0,1 1 1 0 0,-1-1-1 0 0,1 1 1 0 0,-1 0-1 0 0,1-1 1 0 0,0 1-1 0 0,-1 0 0 0 0,1 0 1 0 0,0 0-1 0 0,0 0 1 0 0,0 0-1 0 0,1 0 1 0 0,-1 0-1 0 0,0 0 1 0 0,1 0-1 0 0,-1 0 1 0 0,1 0-1 0 0,0 0 1 0 0,0 1-1 0 0,0-1 0 0 0,0 0 1 0 0,0 0-1 0 0,0 0 1 0 0,0 1-1 0 0,1-1 1 0 0,-1 0-1 0 0,1 0 1 0 0,0 0-1 0 0,1 3 1 0 0,4 8 154 0 0,1 1 0 0 0,1-2 0 0 0,0 1 0 0 0,1-1 0 0 0,1 0 0 0 0,18 18 0 0 0,-11-11 55 0 0,17 23-1 0 0,-27-32-37 0 0,-1-1 0 0 0,0 1 0 0 0,-1 0 0 0 0,0 1 1 0 0,6 20-1 0 0,-10-29-125 0 0,0 1 0 0 0,0 0 0 0 0,-1 0 1 0 0,1 0-1 0 0,-1-1 0 0 0,0 1 0 0 0,0 0 1 0 0,0 0-1 0 0,0 0 0 0 0,-1 0 0 0 0,1 0 0 0 0,-1 0 1 0 0,1-1-1 0 0,-1 1 0 0 0,0 0 0 0 0,0 0 1 0 0,0-1-1 0 0,-1 1 0 0 0,1-1 0 0 0,-1 1 1 0 0,1-1-1 0 0,-1 0 0 0 0,0 1 0 0 0,0-1 1 0 0,0 0-1 0 0,0 0 0 0 0,0 0 0 0 0,-4 2 1 0 0,-1 0 50 0 0,0 0 0 0 0,0-1 0 0 0,-1 1 0 0 0,1-2 0 0 0,-1 1 1 0 0,0-1-1 0 0,0 0 0 0 0,0-1 0 0 0,0 1 0 0 0,0-2 0 0 0,-12 1 1 0 0,10-1-815 0 0,1-1 1 0 0,-1 0 0 0 0,1-1 0 0 0,-1 1 0 0 0,-9-5 0 0 0,18 6 569 0 0,1 0-1 0 0,-1 0 0 0 0,0-1 1 0 0,1 1-1 0 0,-1-1 0 0 0,1 1 1 0 0,-1 0-1 0 0,1-1 0 0 0,-1 1 0 0 0,1-1 1 0 0,-1 1-1 0 0,1-1 0 0 0,-1 1 1 0 0,1-1-1 0 0,-1 1 0 0 0,1-1 1 0 0,-1 0-1 0 0,0-17-6895 0 0</inkml:trace>
</inkml:ink>
</file>

<file path=ppt/ink/ink9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08.8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8 3 140 0 0,'11'-2'8927'0'0,"-10"3"-8800"0"0,-1 1 1 0 0,1-1-1 0 0,-1 0 0 0 0,0 1 1 0 0,0-1-1 0 0,0 1 0 0 0,0-1 1 0 0,0 1-1 0 0,0-1 1 0 0,0 1-1 0 0,0-1 0 0 0,0 1 1 0 0,-1-1-1 0 0,1 1 1 0 0,0-1-1 0 0,-1 1 0 0 0,0-1 1 0 0,1 0-1 0 0,-2 3 0 0 0,-21 33 830 0 0,13-20-645 0 0,-66 107-129 0 0,62-105-2536 0 0,0-1 1 0 0,-21 19 0 0 0,21-23-1253 0 0</inkml:trace>
</inkml:ink>
</file>

<file path=ppt/ink/ink9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0.1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9 12 804 0 0,'-14'-6'3881'0'0,"12"5"-3740"0"0,1 1-1 0 0,0-1 1 0 0,-1 1-1 0 0,1 0 0 0 0,-1-1 1 0 0,1 1-1 0 0,-1 0 1 0 0,1 0-1 0 0,-1 0 1 0 0,1 0-1 0 0,-1 0 1 0 0,1 0-1 0 0,-1 0 1 0 0,1 1-1 0 0,0-1 1 0 0,-1 0-1 0 0,1 1 1 0 0,-1 0-1 0 0,1-1 1 0 0,0 1-1 0 0,-1-1 1 0 0,1 1-1 0 0,-2 1 1 0 0,1 1 37 0 0,-1-1 1 0 0,1 1 0 0 0,0-1 0 0 0,0 1 0 0 0,0 0 0 0 0,0 0 0 0 0,1 0-1 0 0,-1 0 1 0 0,1 0 0 0 0,-2 3 0 0 0,-1 7 227 0 0,1 1 1 0 0,0-1-1 0 0,1 1 0 0 0,-1 19 1 0 0,2-15-229 0 0,1 0 1 0 0,1-1-1 0 0,1 1 1 0 0,0 0-1 0 0,1-1 1 0 0,1 0-1 0 0,1 0 1 0 0,0 0-1 0 0,1 0 1 0 0,1-1-1 0 0,1 0 0 0 0,0 0 1 0 0,1-1-1 0 0,1 0 1 0 0,14 18-1 0 0,-21-30-125 0 0,0 0-1 0 0,0 0 1 0 0,0 0-1 0 0,1 0 1 0 0,-1-1-1 0 0,1 1 1 0 0,0-1-1 0 0,-1 0 1 0 0,1 0-1 0 0,0 0 0 0 0,0-1 1 0 0,0 1-1 0 0,1-1 1 0 0,-1 0-1 0 0,0 0 1 0 0,0 0-1 0 0,1-1 1 0 0,4 1-1 0 0,-6-2-29 0 0,0 1 0 0 0,0-1-1 0 0,0 1 1 0 0,0-1 0 0 0,0 0 0 0 0,0 0-1 0 0,0 0 1 0 0,0-1 0 0 0,0 1-1 0 0,0-1 1 0 0,-1 1 0 0 0,1-1 0 0 0,-1 0-1 0 0,1 0 1 0 0,2-3 0 0 0,4-4 5 0 0,-2 1 0 0 0,11-17 0 0 0,-13 19-8 0 0,4-8-4 0 0,-1 0-1 0 0,11-29 0 0 0,2 0-57 0 0,-19 38 10 0 0,2-1-88 0 0,-3 8 1 0 0,-2-1 117 0 0,2 1-1 0 0,-1-1 1 0 0,0 0-1 0 0,0 0 0 0 0,0 0 1 0 0,0 0-1 0 0,1 0 1 0 0,-1 1-1 0 0,0-1 1 0 0,1 0-1 0 0,-1 0 0 0 0,1 0 1 0 0,0 0-1 0 0,-1 0 1 0 0,2 1-1 0 0,3 3 70 0 0,0-1 1 0 0,0 0-1 0 0,0 0 1 0 0,1-1-1 0 0,0 1 0 0 0,-1-1 1 0 0,1 0-1 0 0,1-1 0 0 0,-1 1 1 0 0,0-1-1 0 0,0 0 0 0 0,1-1 1 0 0,-1 0-1 0 0,1 0 0 0 0,0 0 1 0 0,-1-1-1 0 0,1 0 0 0 0,0 0 1 0 0,-1 0-1 0 0,1-1 0 0 0,7-2 1 0 0,-9 2 1 0 0,0 0 0 0 0,0 0 0 0 0,-1-1 0 0 0,1 0 0 0 0,0 0 0 0 0,-1 0 0 0 0,1 0 0 0 0,-1-1 0 0 0,0 0 0 0 0,0 0 0 0 0,0 0 0 0 0,0 0 1 0 0,0 0-1 0 0,-1-1 0 0 0,0 0 0 0 0,1 0 0 0 0,-1 0 0 0 0,-1 0 0 0 0,1 0 0 0 0,0 0 0 0 0,-1-1 0 0 0,0 0 0 0 0,0 1 0 0 0,-1-1 0 0 0,1 0 1 0 0,-1 0-1 0 0,0 0 0 0 0,0 1 0 0 0,0-7 0 0 0,-1 1-153 0 0,0 0 0 0 0,0 1-1 0 0,-1-1 1 0 0,0 0 0 0 0,-1 0 0 0 0,0 1 0 0 0,-1-1 0 0 0,-4-12 0 0 0,4 16-358 0 0,0 0 1 0 0,0 0-1 0 0,-1 0 1 0 0,1 1-1 0 0,-1-1 1 0 0,0 1-1 0 0,-1 0 1 0 0,-4-5-1 0 0,-8-9-3360 0 0,62 27-4759 0 0,-32-3 9251 0 0,-9-4-735 0 0,86 26 897 0 0,-77-24-148 0 0,0-1 0 0 0,0-1 0 0 0,1 0 0 0 0,-1-1 0 0 0,21-2 0 0 0,-26 1-471 0 0,0 0 0 0 0,0-1 0 0 0,-1 1 0 0 0,1-2 0 0 0,-1 1 0 0 0,1-1 0 0 0,-1 0 0 0 0,0-1 0 0 0,0 0 0 0 0,-1 0 0 0 0,1 0 0 0 0,-1-1 0 0 0,0 0 0 0 0,0 0 0 0 0,0-1 0 0 0,5-7 0 0 0,-10 13-225 0 0,-1 0-1 0 0,0 0 0 0 0,0 0 1 0 0,1-1-1 0 0,-1 1 0 0 0,0 0 1 0 0,0 0-1 0 0,0-1 0 0 0,0 1 0 0 0,0 0 1 0 0,1-1-1 0 0,-1 1 0 0 0,0 0 1 0 0,0 0-1 0 0,0-1 0 0 0,0 1 1 0 0,0 0-1 0 0,0-1 0 0 0,0 1 0 0 0,0 0 1 0 0,0-1-1 0 0,0 1 0 0 0,0 0 1 0 0,0-1-1 0 0,0 1 0 0 0,0 0 1 0 0,0-1-1 0 0,-1 1 0 0 0,1 0 0 0 0,0 0 1 0 0,0-1-1 0 0,0 1 0 0 0,0 0 1 0 0,-1 0-1 0 0,1-1 0 0 0,0 1 0 0 0,0 0 1 0 0,0 0-1 0 0,-1-1 0 0 0,1 1 1 0 0,0 0-1 0 0,0 0 0 0 0,-1 0 1 0 0,1 0-1 0 0,0-1 0 0 0,-1 1 0 0 0,1 0 1 0 0,0 0-1 0 0,0 0 0 0 0,-1 0 1 0 0,1 0-1 0 0,0 0 0 0 0,-1 0 1 0 0,1 0-1 0 0,0 0 0 0 0,-1 0 0 0 0,1 0 1 0 0,-15-1 46 0 0,10 1-22 0 0,0 1 1 0 0,0 0 0 0 0,0 1-1 0 0,0-1 1 0 0,1 1 0 0 0,-1 0-1 0 0,1 0 1 0 0,-1 0 0 0 0,1 1-1 0 0,-8 5 1 0 0,1 1 151 0 0,1 0-1 0 0,-15 16 1 0 0,19-19-66 0 0,1 0 1 0 0,0 0-1 0 0,0 1 0 0 0,1 0 1 0 0,-1 0-1 0 0,2 0 1 0 0,-1 0-1 0 0,1 0 0 0 0,0 1 1 0 0,1 0-1 0 0,-3 10 0 0 0,4-14-76 0 0,1 1-1 0 0,0-1 1 0 0,0 0-1 0 0,0 1 1 0 0,1-1-1 0 0,0 0 1 0 0,-1 1-1 0 0,1-1 1 0 0,1 0-1 0 0,-1 0 1 0 0,1 0-1 0 0,-1 0 1 0 0,1 0-1 0 0,0 0 1 0 0,1 0-1 0 0,-1-1 1 0 0,1 1-1 0 0,-1-1 1 0 0,1 0-1 0 0,0 1 1 0 0,0-1-1 0 0,6 4 1 0 0,1 0-365 0 0,0 0 1 0 0,1 0-1 0 0,0-1 1 0 0,0 0-1 0 0,1-1 1 0 0,0 0-1 0 0,-1-1 1 0 0,15 3-1 0 0,-11-4-1445 0 0,0 0-1 0 0,0-1 1 0 0,23 0 0 0 0,-20-2-1825 0 0</inkml:trace>
</inkml:ink>
</file>

<file path=ppt/ink/ink9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1.0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2 54 452 0 0,'4'-13'4372'0'0,"-4"11"-4221"0"0,0 1-1 0 0,0-1 0 0 0,0 0 0 0 0,0 1 0 0 0,0-1 1 0 0,-1 0-1 0 0,1 1 0 0 0,-1-1 0 0 0,1 1 0 0 0,-1-1 0 0 0,0 1 1 0 0,1-1-1 0 0,-1 1 0 0 0,0-1 0 0 0,0 1 0 0 0,0 0 1 0 0,0-1-1 0 0,0 1 0 0 0,0 0 0 0 0,0 0 0 0 0,-1 0 1 0 0,1 0-1 0 0,0 0 0 0 0,-1 0 0 0 0,1 0 0 0 0,-1 0 0 0 0,1 1 1 0 0,-1-1-1 0 0,1 0 0 0 0,-1 1 0 0 0,1-1 0 0 0,-1 1 1 0 0,0 0-1 0 0,-2-1 0 0 0,-3 2-9 0 0,-1-1 1 0 0,1 2 0 0 0,0-1-1 0 0,0 1 1 0 0,-1 0-1 0 0,1 0 1 0 0,1 1 0 0 0,-1 0-1 0 0,0 0 1 0 0,-6 4-1 0 0,4-1-16 0 0,0 0-1 0 0,0 1 1 0 0,1 0-1 0 0,0 0 0 0 0,0 1 1 0 0,1 0-1 0 0,-7 9 1 0 0,9-11-72 0 0,1 0 1 0 0,1 0-1 0 0,-1 0 1 0 0,1 0-1 0 0,0 1 1 0 0,1-1-1 0 0,0 1 1 0 0,0 0-1 0 0,0 0 1 0 0,0 0-1 0 0,0 8 1 0 0,2-10-27 0 0,0 0 1 0 0,1 0 0 0 0,-1 0-1 0 0,1 0 1 0 0,0 0 0 0 0,0 0-1 0 0,1-1 1 0 0,-1 1 0 0 0,1 0-1 0 0,0-1 1 0 0,0 1-1 0 0,0-1 1 0 0,1 0 0 0 0,0 0-1 0 0,0 0 1 0 0,0 0 0 0 0,4 4-1 0 0,0-1-1 0 0,0-1-1 0 0,1-1 0 0 0,-1 0 0 0 0,1 0 1 0 0,0 0-1 0 0,1-1 0 0 0,-1 0 1 0 0,0-1-1 0 0,1 0 0 0 0,0 0 1 0 0,0-1-1 0 0,0 0 0 0 0,0 0 1 0 0,0-1-1 0 0,0 0 0 0 0,1-1 1 0 0,10-1-1 0 0,-2 0-6 0 0,-1-1 0 0 0,1 0 1 0 0,-1-2-1 0 0,0 0 0 0 0,0-1 1 0 0,0 0-1 0 0,-1-2 0 0 0,18-8 1 0 0,-17 5 1 0 0,0 0-1 0 0,-1-1 1 0 0,21-18 0 0 0,-31 24 18 0 0,0-1-1 0 0,0 0 1 0 0,0-1-1 0 0,-1 1 0 0 0,0-1 1 0 0,0 0-1 0 0,-1 0 1 0 0,0 0-1 0 0,0-1 1 0 0,3-10-1 0 0,-6 16-38 0 0,0 0-1 0 0,-1 1 0 0 0,1-1 0 0 0,-1 0 1 0 0,1 0-1 0 0,-1 0 0 0 0,0 0 1 0 0,0 0-1 0 0,0 1 0 0 0,0-1 0 0 0,0 0 1 0 0,0 0-1 0 0,-1 0 0 0 0,1 0 1 0 0,-1 0-1 0 0,1 1 0 0 0,-1-1 0 0 0,0 0 1 0 0,1 0-1 0 0,-1 1 0 0 0,0-1 1 0 0,0 0-1 0 0,0 1 0 0 0,-1-1 0 0 0,1 1 1 0 0,0 0-1 0 0,0-1 0 0 0,-1 1 0 0 0,1 0 1 0 0,-1 0-1 0 0,1 0 0 0 0,-1 0 1 0 0,1 0-1 0 0,-1 0 0 0 0,0 0 0 0 0,0 0 1 0 0,1 1-1 0 0,-1-1 0 0 0,0 1 1 0 0,0-1-1 0 0,0 1 0 0 0,0 0 0 0 0,1 0 1 0 0,-1-1-1 0 0,0 1 0 0 0,0 1 1 0 0,0-1-1 0 0,0 0 0 0 0,-2 1 0 0 0,-6 0-4 0 0,1 1 0 0 0,-1 1 1 0 0,0 0-1 0 0,1 0 0 0 0,0 1 0 0 0,-11 5 0 0 0,16-7 8 0 0,0 0 0 0 0,0 1 0 0 0,0-1 0 0 0,1 1 0 0 0,-1-1 0 0 0,1 1 0 0 0,-1 0 0 0 0,1 0 0 0 0,0 1 0 0 0,0-1 1 0 0,1 1-1 0 0,-1 0 0 0 0,1-1 0 0 0,0 1 0 0 0,0 0 0 0 0,0 0 0 0 0,-2 6 0 0 0,4-9 2 0 0,0 0 1 0 0,-1 0-1 0 0,1 0 1 0 0,0 0-1 0 0,0 0 1 0 0,0 0-1 0 0,-1 0 1 0 0,1 0-1 0 0,0 0 1 0 0,0 0-1 0 0,1 0 0 0 0,-1 0 1 0 0,0 0-1 0 0,0 0 1 0 0,0 0-1 0 0,1 0 1 0 0,-1 0-1 0 0,0 0 1 0 0,1 0-1 0 0,-1 0 0 0 0,1-1 1 0 0,-1 1-1 0 0,1 0 1 0 0,0 0-1 0 0,-1 0 1 0 0,1 0-1 0 0,0-1 1 0 0,-1 1-1 0 0,1 0 1 0 0,0-1-1 0 0,0 1 0 0 0,0-1 1 0 0,0 1-1 0 0,0-1 1 0 0,0 1-1 0 0,-1-1 1 0 0,1 1-1 0 0,0-1 1 0 0,0 0-1 0 0,0 0 0 0 0,0 1 1 0 0,0-1-1 0 0,1 0 1 0 0,-1 0-1 0 0,0 0 1 0 0,1 0-1 0 0,6-1 14 0 0,0 1-1 0 0,1-1 1 0 0,-1 0-1 0 0,13-5 1 0 0,-16 5-9 0 0,29-13 154 0 0,-30 12-117 0 0,0 0 0 0 0,0 0 0 0 0,0 1 0 0 0,1-1 1 0 0,-1 1-1 0 0,0 0 0 0 0,0 0 0 0 0,7 0 0 0 0,-10 1-44 0 0,1 0 0 0 0,-1 1 0 0 0,0-1-1 0 0,1 1 1 0 0,-1-1 0 0 0,0 1 0 0 0,0-1-1 0 0,0 1 1 0 0,1 0 0 0 0,-1-1 0 0 0,0 1 0 0 0,0 0-1 0 0,0 0 1 0 0,0 0 0 0 0,0 0 0 0 0,-1 0-1 0 0,1 0 1 0 0,0 0 0 0 0,0 0 0 0 0,-1 0-1 0 0,1 1 1 0 0,0-1 0 0 0,-1 0 0 0 0,1 0-1 0 0,-1 1 1 0 0,1 1 0 0 0,9 42-218 0 0,-9-33-118 0 0,2 4-1740 0 0,1 1 0 0 0,9 26 0 0 0,-4-32-2156 0 0</inkml:trace>
</inkml:ink>
</file>

<file path=ppt/ink/ink9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1.7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 1088 0 0,'7'-9'4457'0'0,"-7"8"-4244"0"0,1 1-1 0 0,1 1-17 0 0,0 0-1 0 0,-1 1 1 0 0,1-1 0 0 0,-1 1-1 0 0,1 0 1 0 0,-1-1 0 0 0,0 1 0 0 0,0 0-1 0 0,0-1 1 0 0,0 1 0 0 0,0 0 0 0 0,0 0-1 0 0,0 0 1 0 0,0 0 0 0 0,-1 0-1 0 0,1 0 1 0 0,-1 0 0 0 0,0 0 0 0 0,1 1-1 0 0,-1 2 1 0 0,1 56 2145 0 0,-1-47-1780 0 0,0 2 127 0 0,1 7 1737 0 0,-6 41 1907 0 0,13-90-3801 0 0,24-39-291 0 0,-28 58-259 0 0,0 1-1 0 0,1-1 0 0 0,0 1 1 0 0,0 0-1 0 0,0 1 1 0 0,0-1-1 0 0,8-5 0 0 0,-10 10 10 0 0,-1 0-1 0 0,0 0 1 0 0,0 0-1 0 0,1 0 1 0 0,-1 1-1 0 0,1-1 0 0 0,-1 1 1 0 0,1-1-1 0 0,-1 1 1 0 0,1 0-1 0 0,-1 0 1 0 0,0 0-1 0 0,4 1 1 0 0,31 7-322 0 0,-28-4-6 0 0,-1 1 1 0 0,1 0-1 0 0,-1 0 1 0 0,0 0 0 0 0,0 1-1 0 0,0 0 1 0 0,7 9-1 0 0,3 5-2380 0 0,20 27-1 0 0,-5-4-4217 0 0,-27-36 3914 0 0</inkml:trace>
</inkml:ink>
</file>

<file path=ppt/ink/ink9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2.1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8 96 1024 0 0,'-14'-95'9964'0'0,"12"96"-9797"0"0,1 1 0 0 0,-1 0 0 0 0,1 0 0 0 0,0 0 0 0 0,0 1 0 0 0,-1-1 0 0 0,1 0 0 0 0,0 0 0 0 0,-1 5 0 0 0,-59 228 1916 0 0,28-98-1791 0 0,-11 29-4187 0 0,27-121-1504 0 0,12-34 2064 0 0</inkml:trace>
</inkml:ink>
</file>

<file path=ppt/ink/ink9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2.7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222 1428 0 0,'-4'-3'855'0'0,"1"0"-1"0"0,-1 0 1 0 0,1-1 0 0 0,0 1-1 0 0,0-1 1 0 0,0 0 0 0 0,1 0-1 0 0,-4-6 1 0 0,6 9-813 0 0,0 1-1 0 0,0-1 0 0 0,0 0 1 0 0,0 0-1 0 0,0 0 0 0 0,1 1 1 0 0,-1-1-1 0 0,0 0 0 0 0,0 1 1 0 0,1-1-1 0 0,-1 0 1 0 0,1 1-1 0 0,-1-1 0 0 0,0 0 1 0 0,1 1-1 0 0,-1-1 0 0 0,1 1 1 0 0,0-1-1 0 0,-1 1 0 0 0,1-1 1 0 0,-1 1-1 0 0,1-1 1 0 0,0 1-1 0 0,0-1 0 0 0,16-9 297 0 0,12-2-63 0 0,0 2 0 0 0,1 1 1 0 0,54-10-1 0 0,93 2 824 0 0,-163 17-933 0 0,0 0-1 0 0,0 0 1 0 0,-1 2-1 0 0,1 0 1 0 0,0 0-1 0 0,-1 1 1 0 0,0 1-1 0 0,0 0 1 0 0,17 8-1 0 0,-24-9-109 0 0,0 0 0 0 0,-1 1-1 0 0,1-1 1 0 0,-1 1-1 0 0,0 0 1 0 0,0 1 0 0 0,0-1-1 0 0,0 1 1 0 0,-1 0-1 0 0,0 0 1 0 0,0 1 0 0 0,0-1-1 0 0,-1 1 1 0 0,1 0-1 0 0,-1-1 1 0 0,-1 2 0 0 0,1-1-1 0 0,-1 0 1 0 0,0 0 0 0 0,-1 1-1 0 0,2 9 1 0 0,-2-9-12 0 0,0 1 0 0 0,-1-1 1 0 0,0 1-1 0 0,0-1 1 0 0,-1 1-1 0 0,0-1 0 0 0,0 1 1 0 0,0-1-1 0 0,-4 10 0 0 0,3-13-19 0 0,0-1-1 0 0,1 1 0 0 0,-1-1 0 0 0,-1 1 1 0 0,1-1-1 0 0,0 0 0 0 0,-1 0 1 0 0,0 0-1 0 0,0 0 0 0 0,0 0 0 0 0,0 0 1 0 0,0-1-1 0 0,0 0 0 0 0,-1 1 0 0 0,1-1 1 0 0,-1-1-1 0 0,1 1 0 0 0,-6 1 1 0 0,8-2-56 0 0,-1 0 1 0 0,0-1 0 0 0,1 1 0 0 0,-1 0 0 0 0,0-1-1 0 0,0 0 1 0 0,0 0 0 0 0,1 1 0 0 0,-1-1 0 0 0,0 0-1 0 0,0 0 1 0 0,0-1 0 0 0,0 1 0 0 0,1 0 0 0 0,-1 0-1 0 0,0-1 1 0 0,0 0 0 0 0,1 1 0 0 0,-1-1 0 0 0,0 0-1 0 0,1 1 1 0 0,-1-1 0 0 0,0 0 0 0 0,1 0 0 0 0,-1-1-1 0 0,1 1 1 0 0,0 0 0 0 0,-1 0 0 0 0,1-1 0 0 0,0 1-1 0 0,0 0 1 0 0,0-1 0 0 0,0 1 0 0 0,0-1 0 0 0,0 0 0 0 0,0 1-1 0 0,1-1 1 0 0,-1 0 0 0 0,0 0 0 0 0,1 1 0 0 0,0-1-1 0 0,-1 0 1 0 0,1 0 0 0 0,0 0 0 0 0,0 1 0 0 0,0-1-1 0 0,0 0 1 0 0,0 0 0 0 0,0 0 0 0 0,1 1 0 0 0,-1-1-1 0 0,0 0 1 0 0,1 0 0 0 0,0 0 0 0 0,-1 1 0 0 0,1-1-1 0 0,0 0 1 0 0,2-2 0 0 0,4-5-70 0 0,0 0 1 0 0,0 1-1 0 0,1 0 0 0 0,1 0 1 0 0,-1 1-1 0 0,1 0 1 0 0,0 1-1 0 0,1 0 0 0 0,0 0 1 0 0,0 1-1 0 0,0 0 0 0 0,17-5 1 0 0,8-2-14 0 0,1 2 0 0 0,53-8 1 0 0,-14 7 100 0 0,-41 8 208 0 0,-1-2-1 0 0,1-2 1 0 0,-1-1 0 0 0,49-18-1 0 0,-71 21-21 0 0,-1-1 0 0 0,0 0 0 0 0,0 0 0 0 0,9-9-1 0 0,-15 12-96 0 0,-1 0 0 0 0,1 0-1 0 0,-1 0 1 0 0,0-1 0 0 0,0 0-1 0 0,0 1 1 0 0,0-1 0 0 0,-1 0-1 0 0,1 0 1 0 0,-1-1 0 0 0,0 1-1 0 0,2-6 1 0 0,-4 9-70 0 0,0 0-1 0 0,1 0 1 0 0,-1 1 0 0 0,0-1 0 0 0,0 0 0 0 0,0 0 0 0 0,0 0-1 0 0,0 0 1 0 0,0 0 0 0 0,0 0 0 0 0,0 0 0 0 0,0 0-1 0 0,-1 0 1 0 0,1 0 0 0 0,0 1 0 0 0,0-1 0 0 0,-1 0 0 0 0,1 0-1 0 0,-1 0 1 0 0,1 0 0 0 0,-1 1 0 0 0,1-1 0 0 0,-1 0 0 0 0,1 0-1 0 0,-1 1 1 0 0,0-1 0 0 0,0 0 0 0 0,-1 0-3 0 0,0 0 0 0 0,0 0 1 0 0,0 0-1 0 0,0 1 0 0 0,1-1 1 0 0,-1 1-1 0 0,0-1 0 0 0,0 1 1 0 0,-1 0-1 0 0,1 0 0 0 0,-4 0 0 0 0,-6 1-5 0 0,1 1 0 0 0,-1 0 0 0 0,-14 5-1 0 0,24-6 7 0 0,-14 4-5 0 0,1 0 0 0 0,0 2 0 0 0,0-1 0 0 0,1 2 0 0 0,-17 11 0 0 0,22-13 16 0 0,1 0 1 0 0,0 0 0 0 0,0 1-1 0 0,1 0 1 0 0,0 1 0 0 0,0 0-1 0 0,1 0 1 0 0,0 0 0 0 0,-7 12-1 0 0,12-19-9 0 0,1 0 0 0 0,-1 0 0 0 0,1 0 0 0 0,0 0-1 0 0,-1 0 1 0 0,1 1 0 0 0,0-1 0 0 0,-1 0 0 0 0,1 0-1 0 0,0 0 1 0 0,0 0 0 0 0,0 1 0 0 0,0-1 0 0 0,0 0-1 0 0,0 0 1 0 0,1 0 0 0 0,-1 0 0 0 0,0 1 0 0 0,0-1-1 0 0,1 0 1 0 0,-1 0 0 0 0,1 0 0 0 0,-1 0 0 0 0,1 0-1 0 0,-1 0 1 0 0,1 0 0 0 0,0 0 0 0 0,0 0 0 0 0,-1 0-1 0 0,3 1 1 0 0,12 7 28 0 0,-10-7-65 0 0,1 0 0 0 0,0-1 0 0 0,0 1 0 0 0,-1-1 1 0 0,1-1-1 0 0,0 1 0 0 0,0-1 0 0 0,0 0 0 0 0,0-1 0 0 0,0 1 0 0 0,0-1 1 0 0,0 0-1 0 0,-1 0 0 0 0,1-1 0 0 0,0 0 0 0 0,-1 0 0 0 0,9-5 0 0 0,9-4-286 0 0,-2-2-1 0 0,38-29 1 0 0,-27 19 357 0 0,-19 13-32 0 0,-13 10-11 0 0,0 0 1 0 0,0 0-1 0 0,0 0 1 0 0,0 0-1 0 0,0 0 1 0 0,0 1-1 0 0,0-1 1 0 0,0 0 0 0 0,0 0-1 0 0,0 0 1 0 0,0 0-1 0 0,1 0 1 0 0,-1 0-1 0 0,0 0 1 0 0,0 0-1 0 0,0 0 1 0 0,0 0-1 0 0,0 1 1 0 0,0-1-1 0 0,0 0 1 0 0,0 0-1 0 0,0 0 1 0 0,1 0-1 0 0,-1 0 1 0 0,0 0 0 0 0,0 0-1 0 0,0 0 1 0 0,0 0-1 0 0,0 0 1 0 0,0 0-1 0 0,0 0 1 0 0,1 0-1 0 0,-1 0 1 0 0,0 0-1 0 0,0 0 1 0 0,0 0-1 0 0,0 0 1 0 0,0 0-1 0 0,0 0 1 0 0,0 0 0 0 0,1-1-1 0 0,-3 23-5 0 0,2-17 22 0 0,0 0 0 0 0,0 0 1 0 0,1 0-1 0 0,0-1 0 0 0,0 1 0 0 0,0 0 0 0 0,0-1 0 0 0,4 8 0 0 0,-4-9 5 0 0,1-1 0 0 0,-1 0 1 0 0,1 1-1 0 0,0-1 0 0 0,-1 0 1 0 0,1 0-1 0 0,0 0 0 0 0,1 0 1 0 0,-1 0-1 0 0,0 0 0 0 0,1-1 1 0 0,-1 1-1 0 0,1-1 0 0 0,-1 0 0 0 0,1 1 1 0 0,-1-1-1 0 0,1 0 0 0 0,5 0 1 0 0,-2 0 5 0 0,1 0 0 0 0,0-1 0 0 0,0 0 0 0 0,0 0 0 0 0,0-1 0 0 0,-1 0 0 0 0,1 0 0 0 0,0 0-1 0 0,0-1 1 0 0,-1 0 0 0 0,0 0 0 0 0,1-1 0 0 0,-1 0 0 0 0,0 0 0 0 0,0 0 0 0 0,0-1 0 0 0,-1 0 0 0 0,1 0 0 0 0,-1-1 0 0 0,8-7 0 0 0,41-39 2718 0 0,-52 50-2264 0 0,3 4-366 0 0,-5-3-111 0 0,0 0-1 0 0,1 0 1 0 0,-1 0-1 0 0,0 0 1 0 0,0 0 0 0 0,1 0-1 0 0,-1 0 1 0 0,0 0-1 0 0,1 0 1 0 0,-1 0-1 0 0,0 1 1 0 0,0-1 0 0 0,1 0-1 0 0,-1 0 1 0 0,0 0-1 0 0,0 0 1 0 0,1 0-1 0 0,-1 1 1 0 0,0-1-1 0 0,0 0 1 0 0,0 0 0 0 0,1 1-1 0 0,-1-1 1 0 0,0 0-1 0 0,0 0 1 0 0,0 1-1 0 0,0-1 1 0 0,1 0 0 0 0,-1 0-1 0 0,0 1 1 0 0,0-1-1 0 0,0 0 1 0 0,0 0-1 0 0,0 1 1 0 0,0-1 0 0 0,0 1-1 0 0,0 23-69 0 0,-5 38-1 0 0,-6-19-3265 0 0,9-36 1418 0 0,-1-1-1 0 0,0 1 1 0 0,-1-1 0 0 0,-5 9 0 0 0</inkml:trace>
</inkml:ink>
</file>

<file path=ppt/ink/ink9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3.0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8 135 1580 0 0,'-9'-13'2482'0'0,"-28"-41"4436"0"0,5-1-6042 0 0,32 55-986 0 0,0-1 0 0 0,0 1 0 0 0,0-1 0 0 0,0 1 0 0 0,0-1 0 0 0,0 1 0 0 0,0 0 0 0 0,0-1 0 0 0,1 1 0 0 0,-1-1 0 0 0,0 1 0 0 0,0 0 0 0 0,0-1 0 0 0,1 1 0 0 0,-1 0 0 0 0,0-1 0 0 0,0 1 0 0 0,1 0 0 0 0,-1-1 0 0 0,0 1 0 0 0,0 0 0 0 0,1 0 0 0 0,-1-1 0 0 0,1 1 0 0 0,-1 0 0 0 0,0 0 0 0 0,1-1 0 0 0,-1 1 0 0 0,0 0 0 0 0,1 0 0 0 0,-1 0 1 0 0,1 0-1 0 0,-1 0 0 0 0,0 0 0 0 0,1 0 0 0 0,-1 0 0 0 0,1 0 0 0 0,-1 0 0 0 0,1 0 0 0 0,12-2-2373 0 0</inkml:trace>
</inkml:ink>
</file>

<file path=ppt/ink/ink9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3.4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35 1 816 0 0,'13'40'5021'0'0,"12"76"0"0"0,-17-86-3290 0 0,-6-24-691 0 0,0 0 1 0 0,-1 0-1 0 0,0 1 1 0 0,1 7-1 0 0,13-22-594 0 0,-9 3-364 0 0,1 0 1 0 0,-1-1-1 0 0,9-9 1 0 0,10-11-40 0 0,-16 18-52 0 0,1 1 0 0 0,-1 0 0 0 0,1 0 0 0 0,1 1 0 0 0,-1 0 0 0 0,1 1-1 0 0,0 0 1 0 0,0 0 0 0 0,1 1 0 0 0,13-2 0 0 0,-19 6 2 0 0,-1 0-1 0 0,0 0 1 0 0,1 0-1 0 0,-1 1 1 0 0,0 0-1 0 0,0 1 0 0 0,0-1 1 0 0,0 1-1 0 0,0 0 1 0 0,0 0-1 0 0,0 0 1 0 0,0 1-1 0 0,-1-1 1 0 0,1 1-1 0 0,-1 0 0 0 0,0 1 1 0 0,0-1-1 0 0,0 1 1 0 0,4 4-1 0 0,2 4-9 0 0,-1-1-1 0 0,0 1 0 0 0,0 1 0 0 0,-2-1 1 0 0,10 21-1 0 0,9 35-2479 0 0,-12-22-2461 0 0,-12-40 3856 0 0,1 2-2015 0 0</inkml:trace>
  <inkml:trace contextRef="#ctx0" brushRef="#br0" timeOffset="1">209 562 548 0 0,'-36'8'2493'0'0,"-1"0"884"0"0,0 1-1 0 0,-51 19 1 0 0,88-27-3313 0 0,-1-1-1 0 0,0 0 0 0 0,1 0 0 0 0,-1 0 1 0 0,1 0-1 0 0,-1 0 0 0 0,1 1 1 0 0,0-1-1 0 0,-1 0 0 0 0,1 0 1 0 0,-1 1-1 0 0,1-1 0 0 0,-1 0 1 0 0,1 1-1 0 0,0-1 0 0 0,-1 1 0 0 0,1-1 1 0 0,0 0-1 0 0,-1 1 0 0 0,1-1 1 0 0,0 1-1 0 0,0-1 0 0 0,-1 1 1 0 0,1-1-1 0 0,0 2 0 0 0,10 4 563 0 0,31 0-426 0 0,-36-5-72 0 0,217 11-2757 0 0,-105-8-3718 0 0,-84-2 1956 0 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33.4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7 121 152 0 0,'-1'-1'174'0'0,"1"-1"-1"0"0,-1 1 0 0 0,1-1 1 0 0,-1 1-1 0 0,1-1 1 0 0,-1 1-1 0 0,0-1 1 0 0,0 1-1 0 0,0 0 1 0 0,0 0-1 0 0,0-1 1 0 0,0 1-1 0 0,0 0 1 0 0,0 0-1 0 0,0 0 1 0 0,-1 0-1 0 0,1 0 1 0 0,0 0-1 0 0,-1 1 1 0 0,1-1-1 0 0,0 0 1 0 0,-1 1-1 0 0,1-1 1 0 0,-1 1-1 0 0,1-1 1 0 0,-1 1-1 0 0,0 0 1 0 0,1-1-1 0 0,-1 1 1 0 0,1 0-1 0 0,-1 0 1 0 0,1 0-1 0 0,-1 1 1 0 0,0-1-1 0 0,1 0 1 0 0,-1 0-1 0 0,-2 2 1 0 0,-5 0 182 0 0,0 1 1 0 0,0 0-1 0 0,1 0 0 0 0,-17 9 1 0 0,-1 3 159 0 0,1 1 1 0 0,1 1-1 0 0,0 1 0 0 0,1 2 1 0 0,2 0-1 0 0,-37 43 0 0 0,45-48-330 0 0,1 2 0 0 0,1-1 0 0 0,0 2 0 0 0,1-1 0 0 0,1 1-1 0 0,1 1 1 0 0,1 0 0 0 0,0 0 0 0 0,2 0 0 0 0,0 1-1 0 0,-3 21 1 0 0,8-33-95 0 0,-1-1-1 0 0,1 1 1 0 0,0 0-1 0 0,1 0 0 0 0,0-1 1 0 0,0 1-1 0 0,1-1 1 0 0,-1 1-1 0 0,2-1 1 0 0,-1 1-1 0 0,1-1 0 0 0,0 0 1 0 0,6 10-1 0 0,-3-9-10 0 0,0 0 1 0 0,0 0-1 0 0,1-1 0 0 0,0 0 1 0 0,0 0-1 0 0,1-1 0 0 0,-1 0 1 0 0,2 0-1 0 0,12 7 0 0 0,-4-4-17 0 0,0-2 0 0 0,0 0 0 0 0,1-1 0 0 0,0 0-1 0 0,0-2 1 0 0,1 0 0 0 0,-1-1 0 0 0,1-1 0 0 0,-1 0 0 0 0,32-3 0 0 0,-31 0-51 0 0,1-2 0 0 0,0 0 0 0 0,-1-2 1 0 0,0 0-1 0 0,0-1 0 0 0,-1 0 0 0 0,1-2 1 0 0,-1 0-1 0 0,-1-1 0 0 0,0-1 0 0 0,0-1 1 0 0,-1 0-1 0 0,25-22 0 0 0,-25 16-114 0 0,0 1-1 0 0,-1-2 0 0 0,-1 0 1 0 0,-1-1-1 0 0,0 0 1 0 0,-1-1-1 0 0,-2 0 1 0 0,0-1-1 0 0,-1 0 0 0 0,-1-1 1 0 0,8-32-1 0 0,-6 10-154 0 0,7-68 1 0 0,-15 89 308 0 0,-1-1 0 0 0,-2 0 0 0 0,0 1 0 0 0,-7-41 0 0 0,7 60-43 0 0,0 0-1 0 0,0 0 1 0 0,0 0-1 0 0,0 0 1 0 0,-1 0-1 0 0,1 0 1 0 0,-1 0-1 0 0,0 0 1 0 0,-1 0-1 0 0,1 1 1 0 0,0-1-1 0 0,-1 1 0 0 0,0 0 1 0 0,0-1-1 0 0,-4-2 1 0 0,6 5-9 0 0,0 1 0 0 0,0-1 0 0 0,-1 1 0 0 0,1 0 0 0 0,0-1 0 0 0,-1 1-1 0 0,1 0 1 0 0,0 0 0 0 0,-1 0 0 0 0,1 0 0 0 0,0 0 0 0 0,-1 0 0 0 0,1 0 0 0 0,0 0 0 0 0,-1 1 0 0 0,1-1 0 0 0,-2 1 0 0 0,0 0 0 0 0,-2 0 8 0 0,-1 1 0 0 0,1 0 0 0 0,0 0 1 0 0,0 1-1 0 0,0-1 0 0 0,1 1 0 0 0,-1 0 0 0 0,0 0 0 0 0,1 0 0 0 0,0 1 0 0 0,0 0 0 0 0,0 0 0 0 0,-6 7 0 0 0,1 1 52 0 0,1 0-1 0 0,0 0 0 0 0,-12 24 1 0 0,12-19 12 0 0,2 1 1 0 0,0-1-1 0 0,1 1 0 0 0,0 0 1 0 0,2 0-1 0 0,0 0 0 0 0,1 1 1 0 0,0-1-1 0 0,2 1 0 0 0,0-1 1 0 0,2 1-1 0 0,0-1 0 0 0,7 32 1 0 0,-5-36-35 0 0,0 0 1 0 0,1-1-1 0 0,1 0 1 0 0,0 0 0 0 0,0 0-1 0 0,1-1 1 0 0,1 1-1 0 0,0-2 1 0 0,1 1 0 0 0,0-1-1 0 0,0-1 1 0 0,1 0-1 0 0,1 0 1 0 0,0-1 0 0 0,0 0-1 0 0,1-1 1 0 0,0 0-1 0 0,17 8 1 0 0,-19-12-33 0 0,0 0 0 0 0,0-1 0 0 0,1 0 0 0 0,-1-1 0 0 0,1 0 0 0 0,-1 0 0 0 0,1-1 0 0 0,-1-1 0 0 0,1 0 0 0 0,0 0 0 0 0,-1-1 0 0 0,1 0 1 0 0,-1-1-1 0 0,1 0 0 0 0,-1-1 0 0 0,0 0 0 0 0,0-1 0 0 0,0 0 0 0 0,12-6 0 0 0,-11 4-58 0 0,0-1-1 0 0,0 0 1 0 0,-1 0 0 0 0,0-1 0 0 0,-1-1 0 0 0,1 0 0 0 0,-2 0-1 0 0,1 0 1 0 0,-1-1 0 0 0,-1 0 0 0 0,0-1 0 0 0,0 0-1 0 0,-1 0 1 0 0,0 0 0 0 0,7-23 0 0 0,-12 31 33 0 0,0-1 1 0 0,-1 1 0 0 0,1-1-1 0 0,-1 0 1 0 0,0 1-1 0 0,0-1 1 0 0,0 1-1 0 0,0-1 1 0 0,-2-6-1 0 0,2 9 13 0 0,-1-1 0 0 0,1 1 0 0 0,-1 0 0 0 0,1-1 0 0 0,-1 1 0 0 0,1 0 0 0 0,-1 0 0 0 0,0 0 0 0 0,1-1 0 0 0,-1 1 0 0 0,0 0 0 0 0,0 0 0 0 0,0 0 0 0 0,0 0 0 0 0,0 0 0 0 0,0 1 0 0 0,0-1 0 0 0,0 0-1 0 0,0 0 1 0 0,-1 1 0 0 0,1-1 0 0 0,0 1 0 0 0,0-1 0 0 0,-1 1 0 0 0,1-1 0 0 0,0 1 0 0 0,-1 0 0 0 0,1 0 0 0 0,0-1 0 0 0,-1 1 0 0 0,1 0 0 0 0,-3 1 0 0 0,-5-1-12 0 0,1 2 1 0 0,-1-1 0 0 0,1 1-1 0 0,0 1 1 0 0,0-1-1 0 0,-1 2 1 0 0,2-1 0 0 0,-16 9-1 0 0,18-9 14 0 0,1 0 0 0 0,-1 1 0 0 0,0-1 0 0 0,1 1 0 0 0,0 0 0 0 0,0 0 0 0 0,0 0 0 0 0,1 1-1 0 0,-1-1 1 0 0,1 1 0 0 0,0 0 0 0 0,0 0 0 0 0,1 0 0 0 0,0 0 0 0 0,-3 9 0 0 0,4-12 9 0 0,1 0-1 0 0,-1 0 1 0 0,1 0 0 0 0,-1 1-1 0 0,1-1 1 0 0,0 0-1 0 0,0 0 1 0 0,0 0 0 0 0,0 1-1 0 0,1-1 1 0 0,-1 0 0 0 0,0 0-1 0 0,1 0 1 0 0,0 1 0 0 0,-1-1-1 0 0,1 0 1 0 0,0 0 0 0 0,0 0-1 0 0,0 0 1 0 0,0-1 0 0 0,1 1-1 0 0,-1 0 1 0 0,2 2 0 0 0,0-2-5 0 0,0 0 0 0 0,0 1 0 0 0,0-1 0 0 0,1 0 0 0 0,-1 0 0 0 0,0-1 0 0 0,1 1 0 0 0,0-1 0 0 0,-1 0 0 0 0,1 0 0 0 0,6 1 0 0 0,-7-2-49 0 0,1 1 0 0 0,-1-1-1 0 0,1 0 1 0 0,-1-1 0 0 0,1 1 0 0 0,-1-1 0 0 0,1 0-1 0 0,-1 1 1 0 0,1-1 0 0 0,5-3 0 0 0,35-19-509 0 0,-31 15 389 0 0,27-13-381 0 0,-37 21 497 0 0,15 30-268 0 0,-12-16 214 0 0,-3-6 276 0 0,1 0 1 0 0,0 0 0 0 0,9 12 0 0 0,-12-18-107 0 0,0 0 1 0 0,1-1 0 0 0,-1 1-1 0 0,1-1 1 0 0,0 1-1 0 0,-1-1 1 0 0,1 1 0 0 0,0-1-1 0 0,0 0 1 0 0,0 0-1 0 0,0 0 1 0 0,0 0 0 0 0,0 0-1 0 0,0 0 1 0 0,1-1-1 0 0,-1 1 1 0 0,0-1 0 0 0,0 1-1 0 0,4-1 1 0 0,2 0-22 0 0,0 0 1 0 0,-1-1-1 0 0,1 0 0 0 0,-1 0 1 0 0,0 0-1 0 0,1-1 1 0 0,-1-1-1 0 0,0 1 1 0 0,0-1-1 0 0,0 0 0 0 0,0-1 1 0 0,-1 1-1 0 0,1-2 1 0 0,-1 1-1 0 0,0 0 0 0 0,0-1 1 0 0,9-11-1 0 0,-8 6-31 0 0,-1 1 1 0 0,0-2-1 0 0,0 1 0 0 0,-1 0 0 0 0,-1-1 0 0 0,0 0 1 0 0,0 0-1 0 0,-1-1 0 0 0,2-16 0 0 0,-1-7-145 0 0,-1-60 0 0 0,-3 83 74 0 0,0 9 10 0 0,0 3 48 0 0,0 0 0 0 0,0 0 0 0 0,0 0-1 0 0,0 0 1 0 0,-1 0 0 0 0,1-1 0 0 0,0 1 0 0 0,0 0 0 0 0,0 0 0 0 0,0 0 0 0 0,0 0 0 0 0,0 0 0 0 0,0 0 0 0 0,0-1 0 0 0,0 1 0 0 0,0 0 0 0 0,0 0 0 0 0,0 0 0 0 0,0 0 0 0 0,0 0 0 0 0,0 0 0 0 0,0-1 0 0 0,0 1 0 0 0,0 0 0 0 0,0 0 0 0 0,0 0 0 0 0,0 0 0 0 0,0 0 0 0 0,0 0 0 0 0,0 0 0 0 0,0-1 0 0 0,1 1 0 0 0,-1 0 0 0 0,0 0 0 0 0,0 0 0 0 0,0 0 0 0 0,0 0 0 0 0,0 0 0 0 0,0 0 0 0 0,0 0 0 0 0,0 0 0 0 0,0-1 0 0 0,1 1 0 0 0,-1 0 0 0 0,0 0 0 0 0,0 0 0 0 0,0 0 0 0 0,0 0 0 0 0,0 0 0 0 0,0 0 0 0 0,1 0 0 0 0,-1 0 0 0 0,0 0 0 0 0,0 0 0 0 0,0 0 0 0 0,0 0 0 0 0,0 0 0 0 0,0 0 0 0 0,1 0 0 0 0,-1 0 0 0 0,0 0 0 0 0,0 0 0 0 0,8 11-49 0 0,10 26 28 0 0,-15-29-2 0 0,5 8 11 0 0,-1 1 1 0 0,0 1-1 0 0,-2-1 1 0 0,0 1 0 0 0,3 24-1 0 0,-7-31 37 0 0,0-1 0 0 0,-1 1 0 0 0,0-1 0 0 0,0 1 0 0 0,-1 0 0 0 0,-1-1-1 0 0,0 0 1 0 0,0 1 0 0 0,-1-1 0 0 0,-6 15 0 0 0,4-1 34 0 0,5-12-445 0 0,0-12 371 0 0,0 0-1 0 0,0 1 1 0 0,0-1-1 0 0,0 0 1 0 0,1 0-1 0 0,-1 0 1 0 0,0 1-1 0 0,0-1 1 0 0,0 0-1 0 0,0 0 1 0 0,0 0-1 0 0,0 0 1 0 0,0 1-1 0 0,1-1 1 0 0,-1 0-1 0 0,0 0 1 0 0,0 0-1 0 0,0 0 1 0 0,0 0-1 0 0,1 1 1 0 0,-1-1-1 0 0,0 0 1 0 0,0 0-1 0 0,0 0 1 0 0,1 0-1 0 0,-1 0 1 0 0,0 0-1 0 0,0 0 1 0 0,0 0-1 0 0,1 0 1 0 0,-1 0-1 0 0,0 0 1 0 0,0 0-1 0 0,0 0 1 0 0,1 0-1 0 0,-1 0 1 0 0,0 0-1 0 0,13-4-286 0 0,-1-1 0 0 0,0 0-1 0 0,0-1 1 0 0,0 0-1 0 0,-1-1 1 0 0,1 0 0 0 0,-2-1-1 0 0,14-11 1 0 0,76-83-629 0 0,-79 79 908 0 0,73-81 1892 0 0,-93 102-1769 0 0,2 3-66 0 0,-1-1-27 0 0,-1 1 0 0 0,1 0-1 0 0,-1 0 1 0 0,1-1 0 0 0,-1 1 0 0 0,1 1 0 0 0,-1-1 0 0 0,0 0 0 0 0,0 0 0 0 0,1 0 0 0 0,-1 1 0 0 0,0-1 0 0 0,0 0 0 0 0,0 1 0 0 0,0-1 0 0 0,-1 1 0 0 0,1-1 0 0 0,0 1 0 0 0,-1-1 0 0 0,1 1 0 0 0,-1 0 0 0 0,1-1-1 0 0,-1 1 1 0 0,0 0 0 0 0,0 2 0 0 0,6 32 550 0 0,-2 1 0 0 0,-1 66 0 0 0,-3-91-456 0 0,-1-1 0 0 0,0 1 0 0 0,-1 0 0 0 0,0-1 0 0 0,-1 1 0 0 0,-1-1 0 0 0,0 0 0 0 0,0 0 0 0 0,-1 0 0 0 0,0-1-1 0 0,-1 1 1 0 0,-13 17 0 0 0,17-25-179 0 0,-1 0 0 0 0,0 0 0 0 0,0 0 0 0 0,0 0 0 0 0,-1-1 0 0 0,1 1 0 0 0,-1-1 0 0 0,1 0 0 0 0,-1 0-1 0 0,0 0 1 0 0,0-1 0 0 0,0 1 0 0 0,0-1 0 0 0,0 0 0 0 0,-4 1 0 0 0,5-2-137 0 0,1 0 0 0 0,0 0 0 0 0,0 0 0 0 0,0 0 0 0 0,-1-1 0 0 0,1 1 0 0 0,0-1 0 0 0,0 1-1 0 0,0-1 1 0 0,0 0 0 0 0,-1 0 0 0 0,1 0 0 0 0,1 0 0 0 0,-1 0 0 0 0,0 0 0 0 0,0-1 0 0 0,0 1 0 0 0,0 0 0 0 0,1-1 0 0 0,-1 0 0 0 0,1 1 0 0 0,-1-1 0 0 0,1 0 0 0 0,0 0 0 0 0,0 0 0 0 0,0 0 0 0 0,0 0 0 0 0,0 0 0 0 0,-1-3 0 0 0,-4-11-2844 0 0,3-3-1002 0 0</inkml:trace>
</inkml:ink>
</file>

<file path=ppt/ink/ink9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4.4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2 15 1652 0 0,'13'-13'5454'0'0,"-12"12"-5286"0"0,-1 1 0 0 0,1 0 1 0 0,-1 0-1 0 0,0 0 0 0 0,1 0 1 0 0,-1 0-1 0 0,1 0 1 0 0,-1 0-1 0 0,0 0 0 0 0,1 0 1 0 0,-1 0-1 0 0,1 0 0 0 0,0 0 1 0 0,-6 20 1136 0 0,0 0 0 0 0,-8 21-1 0 0,-8 25 246 0 0,15-39-1211 0 0,1 1 0 0 0,2-1 0 0 0,1 0 0 0 0,1 1 0 0 0,1 0 0 0 0,1-1 1 0 0,6 29-1 0 0,-5-40-552 0 0,2 0 0 0 0,0 0 0 0 0,1-1 0 0 0,0 0 0 0 0,1 0 1 0 0,1 0-1 0 0,0-1 0 0 0,1 0 0 0 0,1 0 0 0 0,0-1 0 0 0,1 0 1 0 0,0-1-1 0 0,17 16 0 0 0,-25-26-331 0 0,1 1 0 0 0,0-1 0 0 0,0 0 0 0 0,1 0 0 0 0,-1 0 0 0 0,0-1 1 0 0,1 1-1 0 0,-1-1 0 0 0,1 1 0 0 0,-1-1 0 0 0,1 0 0 0 0,-1-1 0 0 0,1 1 0 0 0,0-1 0 0 0,6 1 0 0 0,4-5-3009 0 0</inkml:trace>
</inkml:ink>
</file>

<file path=ppt/ink/ink9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5.0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5 30 408 0 0,'-82'-4'6912'0'0,"69"6"-5630"0"0,19 1-115 0 0,23 1-410 0 0,108-8 775 0 0,146-25 0 0 0,-280 28-1511 0 0,0 1 1 0 0,0 0 0 0 0,0 0-1 0 0,0 0 1 0 0,0 0-1 0 0,0 0 1 0 0,0 1 0 0 0,0 0-1 0 0,-1-1 1 0 0,1 1-1 0 0,0 0 1 0 0,0 0-1 0 0,0 0 1 0 0,-1 1 0 0 0,1-1-1 0 0,2 3 1 0 0,-1-1 29 0 0,-1 0 0 0 0,1 0-1 0 0,-1 0 1 0 0,0 1 0 0 0,0 0 0 0 0,0 0 0 0 0,-1-1 0 0 0,1 2 0 0 0,2 4 0 0 0,2 8 184 0 0,-1 0 0 0 0,-1 1 0 0 0,-1 0 0 0 0,3 20 0 0 0,-4-23-40 0 0,2 4 206 0 0,0 8 1909 0 0,-5-27-2295 0 0,0 1 1 0 0,0-1-1 0 0,0 0 0 0 0,0 0 1 0 0,0 0-1 0 0,0 0 1 0 0,0 0-1 0 0,0 0 0 0 0,0 0 1 0 0,0 1-1 0 0,0-1 0 0 0,0 0 1 0 0,0 0-1 0 0,0 0 0 0 0,0 0 1 0 0,0 0-1 0 0,0 0 1 0 0,0 0-1 0 0,0 1 0 0 0,0-1 1 0 0,0 0-1 0 0,0 0 0 0 0,0 0 1 0 0,0 0-1 0 0,0 0 0 0 0,0 0 1 0 0,0 0-1 0 0,0 0 1 0 0,0 0-1 0 0,0 1 0 0 0,0-1 1 0 0,0 0-1 0 0,1 0 0 0 0,-1 0 1 0 0,0 0-1 0 0,0 0 0 0 0,0 0 1 0 0,0 0-1 0 0,0 0 1 0 0,0 0-1 0 0,0 0 0 0 0,0 0 1 0 0,1 0-1 0 0,-1 0 0 0 0,0 0 1 0 0,0 0-1 0 0,0 0 0 0 0,0 0 1 0 0,0 0-1 0 0,0 0 1 0 0,0 0-1 0 0,1 0 0 0 0,-1 0 1 0 0,0 0-1 0 0,7-6 214 0 0,6-14-276 0 0,-12 19 96 0 0,7-9-111 0 0,0 0-1 0 0,0 0 1 0 0,1 1 0 0 0,0 1-1 0 0,1-1 1 0 0,0 1-1 0 0,0 1 1 0 0,20-11 0 0 0,-27 17 38 0 0,-1 0 0 0 0,1 0 0 0 0,-1 1 0 0 0,1-1 0 0 0,0 1 0 0 0,-1-1 1 0 0,1 1-1 0 0,0 0 0 0 0,-1 0 0 0 0,1 0 0 0 0,0 1 0 0 0,-1-1 0 0 0,1 0 0 0 0,-1 1 0 0 0,4 1 0 0 0,37 16-177 0 0,14 20 117 0 0,-45-29 99 0 0,-1-1-1 0 0,1 0 1 0 0,1-1-1 0 0,0 0 1 0 0,0-1 0 0 0,18 6-1 0 0,-24-10-5 0 0,-1-1 0 0 0,1 0-1 0 0,0 0 1 0 0,0-1-1 0 0,-1 1 1 0 0,1-2-1 0 0,0 1 1 0 0,-1-1 0 0 0,1 0-1 0 0,0 0 1 0 0,-1-1-1 0 0,1 0 1 0 0,-1 0-1 0 0,0 0 1 0 0,1-1 0 0 0,-1 0-1 0 0,0 0 1 0 0,-1-1-1 0 0,1 1 1 0 0,-1-1-1 0 0,10-9 1 0 0,-5 3-20 0 0,0-1 0 0 0,0 0 0 0 0,-1-1 0 0 0,-1 0 0 0 0,0 0 0 0 0,0-1 0 0 0,-1 0 0 0 0,9-25 0 0 0,-15 37 2 0 0,-1 0-1 0 0,0 0 0 0 0,0-1 0 0 0,0 1 0 0 0,0 0 1 0 0,0 0-1 0 0,0-1 0 0 0,0 1 0 0 0,0 0 1 0 0,0 0-1 0 0,0 0 0 0 0,-1-1 0 0 0,1 1 0 0 0,0 0 1 0 0,-1 0-1 0 0,1 0 0 0 0,-1 0 0 0 0,0-1 1 0 0,1 1-1 0 0,-1 0 0 0 0,0 0 0 0 0,1 0 0 0 0,-1 0 1 0 0,0 1-1 0 0,0-1 0 0 0,0 0 0 0 0,0 0 1 0 0,0 0-1 0 0,0 1 0 0 0,0-1 0 0 0,0 1 0 0 0,-2-2 1 0 0,1 1-37 0 0,-1 2 15 0 0,1-1 25 0 0,0 1 0 0 0,0-1 0 0 0,0 0 0 0 0,0 1 0 0 0,1 0 0 0 0,-1-1 0 0 0,0 1 0 0 0,1 0 0 0 0,-1 0 0 0 0,0 0 0 0 0,1 0 1 0 0,-1 0-1 0 0,1 0 0 0 0,-1 0 0 0 0,1 1 0 0 0,0-1 0 0 0,0 1 0 0 0,-1-1 0 0 0,1 1 0 0 0,0-1 0 0 0,0 1 0 0 0,0-1 0 0 0,1 1 0 0 0,-1 0 0 0 0,0 0 0 0 0,1-1 0 0 0,-1 1 0 0 0,0 2 0 0 0,1 1-89 0 0,0 0 0 0 0,0-1 0 0 0,0 1-1 0 0,0 0 1 0 0,1 0 0 0 0,0 0-1 0 0,0-1 1 0 0,0 1 0 0 0,1 0 0 0 0,-1-1-1 0 0,1 1 1 0 0,3 4 0 0 0,-1-2-162 0 0,1 0 0 0 0,0 0 1 0 0,0 0-1 0 0,1 0 0 0 0,0-1 1 0 0,8 7-1 0 0,8 4-1914 0 0,1 0 0 0 0,0-2 1 0 0,28 13-1 0 0,-49-27 1953 0 0,18 11-3456 0 0</inkml:trace>
</inkml:ink>
</file>

<file path=ppt/ink/ink9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3.77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 0 1740 0 0,'-18'15'5433'0'0,"-38"23"0"0"0,46-26-2660 0 0,10-12-2710 0 0,0 0 1 0 0,0 1-1 0 0,0-1 0 0 0,0 0 0 0 0,0 0 0 0 0,0 1 0 0 0,0-1 0 0 0,0 0 0 0 0,0 1 1 0 0,0-1-1 0 0,0 0 0 0 0,0 1 0 0 0,0-1 0 0 0,0 0 0 0 0,0 1 0 0 0,0-1 1 0 0,0 0-1 0 0,0 1 0 0 0,1-1 0 0 0,-1 0 0 0 0,0 0 0 0 0,0 1 0 0 0,0-1 0 0 0,0 0 1 0 0,1 0-1 0 0,-1 1 0 0 0,0-1 0 0 0,0 0 0 0 0,1 0 0 0 0,-1 0 0 0 0,0 1 1 0 0,0-1-1 0 0,1 0 0 0 0,-1 0 0 0 0,0 0 0 0 0,1 0 0 0 0,-1 0 0 0 0,0 0 0 0 0,1 0 1 0 0,-1 1-1 0 0,0-1 0 0 0,0 0 0 0 0,1 0 0 0 0,-1 0 0 0 0,0 0 0 0 0,1 0 1 0 0,-1 0-1 0 0,0-1 0 0 0,1 1 0 0 0,-1 0 0 0 0,72 0 2389 0 0,136-18 0 0 0,-116 7-1823 0 0,29-2-993 0 0,-43 3-5464 0 0</inkml:trace>
</inkml:ink>
</file>

<file path=ppt/ink/ink9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6.3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0 920 0 0,'0'0'6760'0'0,"-2"12"-5374"0"0,14 356 6947 0 0,-12-344-7728 0 0,0-20-522 0 0,-1 15 1681 0 0,1-19-1750 0 0,0 0 0 0 0,0 0 0 0 0,0 0 0 0 0,0 0 0 0 0,0-1 0 0 0,0 1 0 0 0,0 0 0 0 0,0 0 0 0 0,0 0 0 0 0,0 0 0 0 0,0 0 0 0 0,0 0 0 0 0,-1 0 0 0 0,1-1 0 0 0,0 1 0 0 0,0 0 0 0 0,0 0 0 0 0,0 0-1 0 0,0 0 1 0 0,0 0 0 0 0,0 0 0 0 0,-1 0 0 0 0,1 0 0 0 0,0 0 0 0 0,0 0 0 0 0,0 0 0 0 0,0 0 0 0 0,0 0 0 0 0,0 0 0 0 0,-1 0 0 0 0,1 0 0 0 0,0 0 0 0 0,0 0 0 0 0,0 0 0 0 0,0 0 0 0 0,0 0 0 0 0,-1 0-1 0 0,1 0 1 0 0,0 0 0 0 0,0 0 0 0 0,0 0 0 0 0,0 0 0 0 0,0 0 0 0 0,0 0 0 0 0,-1 0 0 0 0,1 0 0 0 0,0 0 0 0 0,0 0 0 0 0,0 0 0 0 0,0 1 0 0 0,0-1 0 0 0,0 0 0 0 0,0 0 0 0 0,0 0 0 0 0,0 0 0 0 0,-1 0 0 0 0,1 0-1 0 0,0 0 1 0 0,0 1 0 0 0,0-1 0 0 0,0 0 0 0 0,0 0 0 0 0,0 0 0 0 0,0 0 0 0 0,0 0 0 0 0,0 0 0 0 0,0 1 0 0 0,0-2-19 0 0,0-1 0 0 0,0 1 0 0 0,0 0 0 0 0,0 0 0 0 0,0 0 0 0 0,0-1 0 0 0,0 1 0 0 0,1 0 0 0 0,-1 0 0 0 0,0 0 1 0 0,1 0-1 0 0,-1 0 0 0 0,1-1 0 0 0,0 0 0 0 0,0 1-6 0 0,3-10-79 0 0,0 0 1 0 0,1 0 0 0 0,0 0 0 0 0,1 1-1 0 0,0-1 1 0 0,11-12 0 0 0,-12 17 24 0 0,0 0-1 0 0,0 0 1 0 0,1 1 0 0 0,0 0 0 0 0,0 0 0 0 0,0 0-1 0 0,0 0 1 0 0,1 1 0 0 0,0 0 0 0 0,9-3-1 0 0,-13 6 51 0 0,0 1-1 0 0,-1-1 1 0 0,1 1-1 0 0,0 0 1 0 0,0 0-1 0 0,-1 0 1 0 0,1 0-1 0 0,0 0 1 0 0,-1 1-1 0 0,1-1 1 0 0,0 1-1 0 0,-1 0 1 0 0,1-1-1 0 0,-1 1 1 0 0,1 0-1 0 0,-1 1 1 0 0,1-1-1 0 0,-1 0 1 0 0,0 1-1 0 0,0 0 1 0 0,1-1-1 0 0,-1 1 1 0 0,3 4-1 0 0,6 5-5 0 0,-1 0-1 0 0,-1 1 1 0 0,9 14 0 0 0,-8-12 9 0 0,3 6 53 0 0,1-2 0 0 0,30 30 0 0 0,-41-46-33 0 0,-1 0 0 0 0,1-1 0 0 0,1 1 1 0 0,-1 0-1 0 0,0-1 0 0 0,0 0 0 0 0,1 0 0 0 0,-1 0 0 0 0,0 0 1 0 0,1 0-1 0 0,-1-1 0 0 0,1 0 0 0 0,-1 1 0 0 0,1-1 1 0 0,-1 0-1 0 0,1-1 0 0 0,-1 1 0 0 0,0-1 0 0 0,1 1 1 0 0,-1-1-1 0 0,5-2 0 0 0,1 0-5 0 0,-1 0 1 0 0,1-1-1 0 0,-1 1 1 0 0,0-2-1 0 0,0 1 0 0 0,14-12 1 0 0,-13 8-102 0 0,0-1 1 0 0,0-1 0 0 0,-1 1 0 0 0,0-1-1 0 0,-1 0 1 0 0,0-1 0 0 0,0 0 0 0 0,-1 0-1 0 0,5-15 1 0 0,-10 25 87 0 0,-1 1 0 0 0,0-1 0 0 0,0 1 0 0 0,1-1 0 0 0,-1 1 0 0 0,0-1 0 0 0,0 0 0 0 0,0 1 0 0 0,0-1 0 0 0,0 1 1 0 0,0-1-1 0 0,0 1 0 0 0,0-1 0 0 0,0 0 0 0 0,0 1 0 0 0,0-1 0 0 0,0 1 0 0 0,-1-1 0 0 0,1 1 0 0 0,0-1 0 0 0,0 0 0 0 0,0 1 0 0 0,-1-1 0 0 0,1 1 0 0 0,0-1 0 0 0,-1 1 0 0 0,1-1 0 0 0,-1 1 0 0 0,1 0 0 0 0,0-1 1 0 0,-1 1-1 0 0,1-1 0 0 0,-1 1 0 0 0,1 0 0 0 0,-1-1 0 0 0,1 1 0 0 0,-1 0 0 0 0,0-1 0 0 0,-1 1-5 0 0,1-1-1 0 0,-1 1 1 0 0,1 0-1 0 0,-1-1 1 0 0,0 1 0 0 0,1 0-1 0 0,-1 0 1 0 0,1 0-1 0 0,-1 0 1 0 0,-3 1 0 0 0,1 0 9 0 0,0 1 1 0 0,0-1-1 0 0,0 1 0 0 0,0 0 1 0 0,0 0-1 0 0,0 1 1 0 0,0-1-1 0 0,1 1 1 0 0,-1 0-1 0 0,1 0 0 0 0,0 0 1 0 0,0 0-1 0 0,0 1 1 0 0,0-1-1 0 0,0 1 1 0 0,1-1-1 0 0,0 1 1 0 0,0 0-1 0 0,0 0 0 0 0,0 0 1 0 0,0 1-1 0 0,1-1 1 0 0,0 0-1 0 0,0 0 1 0 0,0 1-1 0 0,0-1 0 0 0,1 1 1 0 0,0 7-1 0 0,0-6 36 0 0,0-1-1 0 0,0 1 0 0 0,0-1 0 0 0,1 1 0 0 0,0-1 1 0 0,1 0-1 0 0,-1 1 0 0 0,1-1 0 0 0,0 0 0 0 0,0 0 1 0 0,0 0-1 0 0,1 0 0 0 0,0 0 0 0 0,0-1 0 0 0,0 1 0 0 0,0-1 1 0 0,1 0-1 0 0,0 0 0 0 0,-1 0 0 0 0,2 0 0 0 0,-1-1 1 0 0,0 0-1 0 0,6 4 0 0 0,-4-4-12 0 0,1-1 1 0 0,-1 1-1 0 0,1-1 1 0 0,0 0-1 0 0,0 0 0 0 0,0-1 1 0 0,0 0-1 0 0,0 0 0 0 0,0-1 1 0 0,0 0-1 0 0,0 0 1 0 0,0-1-1 0 0,0 1 0 0 0,0-1 1 0 0,0-1-1 0 0,0 0 0 0 0,0 0 1 0 0,-1 0-1 0 0,13-6 1 0 0,-10 2-33 0 0,1 1 0 0 0,-1-1 1 0 0,0-1-1 0 0,0 0 1 0 0,-1 0-1 0 0,0-1 1 0 0,-1 0-1 0 0,1 0 0 0 0,-1 0 1 0 0,-1-1-1 0 0,0 0 1 0 0,6-13-1 0 0,8-16 212 0 0,-2-1-1 0 0,-2 0 1 0 0,-2-2 0 0 0,14-60-1 0 0,-40 235 190 0 0,14-84-468 0 0,10 57 1 0 0,-4-44-1100 0 0,-2-33-1551 0 0,0-1 0 0 0,14 38 0 0 0,-17-58 1646 0 0,1 0-1841 0 0</inkml:trace>
</inkml:ink>
</file>

<file path=ppt/ink/ink9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6.8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 324 836 0 0,'-1'-3'1780'0'0,"0"-1"-1125"0"0,0-1 1 0 0,0 0-1 0 0,1 0 0 0 0,0 1 0 0 0,-1-1 0 0 0,1 0 0 0 0,1 0 1 0 0,0-5-1 0 0,0 7-507 0 0,0 0 0 0 0,0 0 1 0 0,0 0-1 0 0,1 0 0 0 0,-1 0 1 0 0,1 1-1 0 0,-1-1 0 0 0,1 0 1 0 0,0 1-1 0 0,0-1 0 0 0,1 1 0 0 0,-1 0 1 0 0,5-4-1 0 0,10-5 166 0 0,1 0 0 0 0,0 1-1 0 0,1 0 1 0 0,0 2 0 0 0,1 0 0 0 0,21-5 0 0 0,-40 13-270 0 0,0 0 1 0 0,0-1-1 0 0,0 1 1 0 0,0 0-1 0 0,0 0 1 0 0,0 0-1 0 0,0 0 1 0 0,0 0-1 0 0,0 0 1 0 0,0 0-1 0 0,0 0 1 0 0,0 0 0 0 0,0 0-1 0 0,-1 0 1 0 0,1 1-1 0 0,0-1 1 0 0,0 0-1 0 0,0 1 1 0 0,0-1-1 0 0,0 0 1 0 0,0 1-1 0 0,0-1 1 0 0,-1 1-1 0 0,1 0 1 0 0,0-1-1 0 0,0 1 1 0 0,-1 0-1 0 0,1-1 1 0 0,0 1-1 0 0,-1 0 1 0 0,1 0-1 0 0,-1 0 1 0 0,1-1-1 0 0,-1 1 1 0 0,1 0-1 0 0,-1 0 1 0 0,0 0-1 0 0,1 0 1 0 0,-1 0-1 0 0,0 0 1 0 0,0 0-1 0 0,0 0 1 0 0,0 0-1 0 0,0 2 1 0 0,1 5 137 0 0,-1 0 1 0 0,0 1-1 0 0,0-1 0 0 0,-2 10 1 0 0,1-10-117 0 0,0-2 25 0 0,1-1-1 0 0,0 1 1 0 0,1-1 0 0 0,-1 0 0 0 0,1 1-1 0 0,0-1 1 0 0,0 0 0 0 0,1 1-1 0 0,-1-1 1 0 0,1 0 0 0 0,0 0 0 0 0,1 0-1 0 0,-1 0 1 0 0,1-1 0 0 0,0 1 0 0 0,0-1-1 0 0,1 1 1 0 0,5 5 0 0 0,-6-9-64 0 0,-1 1-1 0 0,1-1 1 0 0,0 0 0 0 0,-1 1-1 0 0,1-1 1 0 0,0-1 0 0 0,0 1-1 0 0,0 0 1 0 0,0-1-1 0 0,0 1 1 0 0,5-1 0 0 0,-8 0-26 0 0,5 1 11 0 0,0-1 1 0 0,1 0 0 0 0,-1 0-1 0 0,0-1 1 0 0,0 1 0 0 0,0-1-1 0 0,0 0 1 0 0,0-1-1 0 0,-1 1 1 0 0,1-1 0 0 0,0 0-1 0 0,0 0 1 0 0,-1 0 0 0 0,0-1-1 0 0,1 1 1 0 0,4-5 0 0 0,0 0-81 0 0,1-1 1 0 0,-1-1-1 0 0,0 0 1 0 0,14-19 0 0 0,-22 26-44 0 0,-2 3-244 0 0,0 0 351 0 0,1-1-1 0 0,-1 1 1 0 0,1-1 0 0 0,-1 1-1 0 0,1-1 1 0 0,0 1 0 0 0,-1-1-1 0 0,1 1 1 0 0,0-1-1 0 0,-1 1 1 0 0,1 0 0 0 0,0-1-1 0 0,0 1 1 0 0,-1 0 0 0 0,1-1-1 0 0,0 1 1 0 0,0 0 0 0 0,0-1-1 0 0,0 1 1 0 0,0 0-1 0 0,0-1 1 0 0,0 1 0 0 0,0 0-1 0 0,0-1 1 0 0,0 1 0 0 0,0 0-1 0 0,1-1 1 0 0,-1 1-1 0 0,1 1 1 0 0,5 22-33 0 0,-3-18 55 0 0,1-2 0 0 0,0 1 0 0 0,0 0 1 0 0,0-1-1 0 0,0 1 0 0 0,0-1 0 0 0,1-1 1 0 0,0 1-1 0 0,0 0 0 0 0,0-1 1 0 0,0 0-1 0 0,1-1 0 0 0,-1 1 0 0 0,1-1 1 0 0,10 3-1 0 0,-8-3 40 0 0,0 0 1 0 0,0 0-1 0 0,0-1 0 0 0,0-1 1 0 0,0 1-1 0 0,0-1 0 0 0,0 0 1 0 0,0-1-1 0 0,0 0 1 0 0,0 0-1 0 0,12-5 0 0 0,-16 5-23 0 0,0 0-1 0 0,0-1 0 0 0,-1 0 1 0 0,1 0-1 0 0,0 0 0 0 0,-1 0 1 0 0,1-1-1 0 0,-1 1 1 0 0,0-1-1 0 0,0 0 0 0 0,0 0 1 0 0,0 0-1 0 0,0 0 0 0 0,-1 0 1 0 0,1-1-1 0 0,-1 0 0 0 0,2-4 1 0 0,-1 3-10 0 0,-2-1 1 0 0,1 0-1 0 0,-1 0 1 0 0,1 1-1 0 0,-2-1 1 0 0,1 0-1 0 0,-1 0 0 0 0,0 0 1 0 0,0 0-1 0 0,0 0 1 0 0,-2-6-1 0 0,-1-2-200 0 0,0 1 0 0 0,-1 0 0 0 0,0 1 0 0 0,-1-1 0 0 0,0 1 0 0 0,-1-1 0 0 0,-1 2 0 0 0,0-1 0 0 0,-16-20 0 0 0,12 20-959 0 0,0 0 0 0 0,-1 0 0 0 0,0 1 0 0 0,-1 1 0 0 0,0 0 0 0 0,-27-15 0 0 0,26 15-2828 0 0</inkml:trace>
</inkml:ink>
</file>

<file path=ppt/ink/ink9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7.5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 24 2104 0 0,'12'7'4151'0'0,"-12"-2"-3735"0"0,0-1 1 0 0,0 1 0 0 0,0-1-1 0 0,-1 0 1 0 0,0 1 0 0 0,0-1-1 0 0,0 0 1 0 0,-1 1 0 0 0,1-1-1 0 0,-1 0 1 0 0,0 0 0 0 0,-3 5-1 0 0,2-4-178 0 0,0 0 0 0 0,1 1-1 0 0,0-1 1 0 0,0 1 0 0 0,0 0 0 0 0,1-1-1 0 0,-2 12 1 0 0,3-11-64 0 0,0 0-1 0 0,1 0 1 0 0,-1-1-1 0 0,1 1 0 0 0,1 0 1 0 0,-1 0-1 0 0,1 0 1 0 0,2 5-1 0 0,-2-8-106 0 0,-1 0-1 0 0,1-1 1 0 0,0 1-1 0 0,-1-1 1 0 0,1 1-1 0 0,0-1 1 0 0,1 1-1 0 0,-1-1 1 0 0,0 0-1 0 0,1 0 1 0 0,-1 0-1 0 0,1-1 1 0 0,-1 1-1 0 0,1 0 1 0 0,0-1-1 0 0,0 0 1 0 0,0 0-1 0 0,4 2 1 0 0,-4-2-27 0 0,1 0 1 0 0,-1 0-1 0 0,0-1 1 0 0,0 1 0 0 0,0-1-1 0 0,1 1 1 0 0,-1-1 0 0 0,0 0-1 0 0,0-1 1 0 0,1 1-1 0 0,-1 0 1 0 0,0-1 0 0 0,0 0-1 0 0,0 0 1 0 0,1 0 0 0 0,-1 0-1 0 0,0 0 1 0 0,0 0 0 0 0,-1-1-1 0 0,1 0 1 0 0,0 1-1 0 0,0-1 1 0 0,-1 0 0 0 0,1 0-1 0 0,-1-1 1 0 0,0 1 0 0 0,1 0-1 0 0,-1-1 1 0 0,0 1 0 0 0,-1-1-1 0 0,1 0 1 0 0,0 0-1 0 0,-1 0 1 0 0,1 0 0 0 0,0-4-1 0 0,0 3-49 0 0,-2-1-1 0 0,1 0 1 0 0,0 1-1 0 0,-1-1 1 0 0,0 1 0 0 0,0-1-1 0 0,0 0 1 0 0,0 1-1 0 0,-1-1 1 0 0,0 0-1 0 0,0 1 1 0 0,0-1-1 0 0,-1 1 1 0 0,1 0-1 0 0,-1-1 1 0 0,0 1 0 0 0,0 0-1 0 0,-1 0 1 0 0,1 0-1 0 0,-1 0 1 0 0,0 1-1 0 0,-5-6 1 0 0,1 2-533 0 0,0 0 0 0 0,0 0 1 0 0,-17-10-1 0 0,15 11-1282 0 0,-1 0 0 0 0,-19-7 0 0 0,87 3-5776 0 0,15 2 9228 0 0,-45 3-198 0 0,1 2 0 0 0,29 1 0 0 0,-50 2-1182 0 0,0 1-1 0 0,-1-1 1 0 0,1 1-1 0 0,-1 1 0 0 0,1 0 1 0 0,-1 0-1 0 0,0 0 1 0 0,0 1-1 0 0,0 0 1 0 0,0 0-1 0 0,0 1 1 0 0,9 6-1 0 0,-11-6-174 0 0,0 1 1 0 0,-1 0-1 0 0,1 0 1 0 0,-1 0-1 0 0,0 0 0 0 0,-1 1 1 0 0,1 0-1 0 0,-1-1 1 0 0,0 1-1 0 0,-1 0 0 0 0,1 1 1 0 0,-1-1-1 0 0,0 0 1 0 0,-1 1-1 0 0,0-1 0 0 0,1 8 1 0 0,-1-4 19 0 0,0 0 0 0 0,-1 0 0 0 0,0 1 0 0 0,-1-1 0 0 0,0 0 0 0 0,-1 0 1 0 0,0 0-1 0 0,0 0 0 0 0,-6 13 0 0 0,8-22-82 0 0,0-1 0 0 0,0 1-1 0 0,-1 0 1 0 0,1-1 0 0 0,0 1 0 0 0,0-1 0 0 0,-1 1 0 0 0,1-1 0 0 0,0 1-1 0 0,-1-1 1 0 0,1 1 0 0 0,0-1 0 0 0,-1 1 0 0 0,1-1 0 0 0,-1 1 0 0 0,1-1-1 0 0,-1 0 1 0 0,1 1 0 0 0,-1-1 0 0 0,0 1 0 0 0,-7-6-122 0 0,8 4 88 0 0,1 0-1 0 0,-1-1 0 0 0,0 1 0 0 0,1 0 0 0 0,-1 0 1 0 0,0 0-1 0 0,1 0 0 0 0,0 0 0 0 0,-1 0 1 0 0,1 0-1 0 0,-1 0 0 0 0,1 0 0 0 0,2-2 1 0 0,-3 3 5 0 0,35-51 133 0 0,61-67-1 0 0,-52 66 2211 0 0,-44 51-2301 0 0,1 0 0 0 0,-1 1 0 0 0,1-1 1 0 0,-1 0-1 0 0,1 1 0 0 0,0-1 0 0 0,-1 0 0 0 0,1 1 0 0 0,0-1 1 0 0,-1 0-1 0 0,1 1 0 0 0,0-1 0 0 0,0 1 0 0 0,0-1 0 0 0,-1 1 1 0 0,1 0-1 0 0,0-1 0 0 0,0 1 0 0 0,0 0 0 0 0,0 0 1 0 0,0 0-1 0 0,0-1 0 0 0,0 1 0 0 0,0 0 0 0 0,-1 0 0 0 0,1 0 1 0 0,0 0-1 0 0,0 1 0 0 0,0-1 0 0 0,0 0 0 0 0,0 0 0 0 0,0 0 1 0 0,0 1-1 0 0,-1-1 0 0 0,1 0 0 0 0,0 1 0 0 0,0-1 1 0 0,0 1-1 0 0,-1-1 0 0 0,1 1 0 0 0,0 0 0 0 0,0-1 0 0 0,-1 1 1 0 0,1-1-1 0 0,-1 1 0 0 0,1 0 0 0 0,0 0 0 0 0,-1-1 0 0 0,1 1 1 0 0,-1 1-1 0 0,4 5 59 0 0,0-1 0 0 0,-1 1 0 0 0,0 0 0 0 0,4 12 0 0 0,-7-17-56 0 0,5 16-133 0 0,-1 0 1 0 0,0 0 0 0 0,-2 0 0 0 0,0 1 0 0 0,-1-1 0 0 0,-1 21-1 0 0,-2-8-3126 0 0,-8 35 0 0 0,10-50-1725 0 0</inkml:trace>
</inkml:ink>
</file>

<file path=ppt/ink/ink9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7:17.8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4 1 24 0 0,'0'0'1900'0'0,"-1"11"1124"0"0,-2-7-2622 0 0,1 0 0 0 0,-1-1 0 0 0,0 1 0 0 0,0-1 0 0 0,0 0 0 0 0,0 0 0 0 0,-5 4 0 0 0,-5 5 561 0 0,3-2-284 0 0,0 1 1 0 0,1 0 0 0 0,0 0-1 0 0,1 1 1 0 0,0 1 0 0 0,-11 23-1 0 0,17-32-549 0 0,1 0-1 0 0,0 0 1 0 0,-1 0-1 0 0,1 0 1 0 0,1 1-1 0 0,-1-1 1 0 0,1 0-1 0 0,-1 0 1 0 0,1 0-1 0 0,0 1 1 0 0,1-1-1 0 0,-1 0 1 0 0,1 0-1 0 0,0 0 0 0 0,0 0 1 0 0,0 1-1 0 0,0-1 1 0 0,1-1-1 0 0,-1 1 1 0 0,1 0-1 0 0,0 0 1 0 0,1-1-1 0 0,-1 1 1 0 0,0-1-1 0 0,1 1 1 0 0,0-1-1 0 0,6 5 1 0 0,1 0 6 0 0,1 0 0 0 0,0-1 0 0 0,0 0 1 0 0,1-1-1 0 0,0 0 0 0 0,0-1 0 0 0,17 5 0 0 0,92 19-1164 0 0,-69-17-1591 0 0,-21-3-5164 0 0</inkml:trace>
</inkml:ink>
</file>

<file path=ppt/ink/ink9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47.6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 12 1700 0 0,'-7'-8'3742'0'0,"7"7"-3705"0"0,0 1 0 0 0,-1 0 0 0 0,1 0 1 0 0,0 0-1 0 0,0-1 0 0 0,0 1 0 0 0,0 0 1 0 0,0 0-1 0 0,0 0 0 0 0,-1 0 0 0 0,1-1 0 0 0,0 1 1 0 0,0 0-1 0 0,0 0 0 0 0,-1 0 0 0 0,1 0 1 0 0,0 0-1 0 0,0 0 0 0 0,0 0 0 0 0,-1-1 0 0 0,1 1 1 0 0,0 0-1 0 0,0 0 0 0 0,0 0 0 0 0,-1 0 0 0 0,1 0 1 0 0,0 0-1 0 0,0 0 0 0 0,-1 0 0 0 0,1 0 1 0 0,0 0-1 0 0,0 0 0 0 0,0 0 0 0 0,-1 1 0 0 0,1-1 1 0 0,0 0-1 0 0,0 0 0 0 0,0 0 0 0 0,-1 0 1 0 0,1 0-1 0 0,0 0 0 0 0,0 0 0 0 0,0 0 0 0 0,0 1 1 0 0,-1-1-1 0 0,1 0 0 0 0,0 0 0 0 0,0 0 0 0 0,0 0 1 0 0,0 1-1 0 0,0-1 0 0 0,-1 0 0 0 0,1 0 1 0 0,0 0-1 0 0,0 1 0 0 0,0-1 0 0 0,-4 22 1508 0 0,3 28 114 0 0,20 134 475 0 0,-1-12-1418 0 0,-12-96-560 0 0,-1-21-1755 0 0,-3 92 1 0 0,-2-143 1171 0 0,-1 1 9 0 0,-4 15-6909 0 0</inkml:trace>
</inkml:ink>
</file>

<file path=ppt/ink/ink9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48.0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 43 568 0 0,'-4'4'328'0'0,"0"0"-1"0"0,1 0 1 0 0,-1 0 0 0 0,1 1 0 0 0,0-1-1 0 0,0 1 1 0 0,1 0 0 0 0,-1 0-1 0 0,1 0 1 0 0,0 0 0 0 0,0 0 0 0 0,1 0-1 0 0,0 0 1 0 0,0 1 0 0 0,0-1-1 0 0,0 1 1 0 0,1-1 0 0 0,0 0 0 0 0,0 1-1 0 0,0-1 1 0 0,1 1 0 0 0,2 9-1 0 0,-1-8-123 0 0,0 0-1 0 0,0 0 0 0 0,1 0 0 0 0,0 0 1 0 0,0-1-1 0 0,0 1 0 0 0,1-1 1 0 0,0 0-1 0 0,1 0 0 0 0,-1 0 0 0 0,1 0 1 0 0,0-1-1 0 0,1 0 0 0 0,-1 0 1 0 0,1 0-1 0 0,9 5 0 0 0,-1-3 26 0 0,1 0 0 0 0,1-1 0 0 0,-1 0 0 0 0,1-1 0 0 0,0-1 0 0 0,0-1-1 0 0,0 0 1 0 0,0-1 0 0 0,1 0 0 0 0,17-2 0 0 0,1-1 269 0 0,0-2 0 0 0,0-1 0 0 0,58-15 0 0 0,-79 15-290 0 0,-1 0 0 0 0,1-1 0 0 0,-1-1 0 0 0,0 0 0 0 0,0 0 0 0 0,-1-1 0 0 0,0-1 0 0 0,14-11 0 0 0,-20 15-161 0 0,-1-1 1 0 0,0 0 0 0 0,0 0 0 0 0,-1-1 0 0 0,1 0-1 0 0,-1 1 1 0 0,0-1 0 0 0,-1 0 0 0 0,1-1-1 0 0,-1 1 1 0 0,0-1 0 0 0,-1 1 0 0 0,0-1 0 0 0,0 0-1 0 0,0 0 1 0 0,-1 0 0 0 0,0 0 0 0 0,0-10-1 0 0,-1 9-292 0 0,-1-1-1 0 0,0 1 1 0 0,0 0-1 0 0,-1 0 0 0 0,-3-9 1 0 0,-8-18-3507 0 0,3 27 978 0 0</inkml:trace>
</inkml:ink>
</file>

<file path=ppt/ink/ink9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48.5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60 103 1280 0 0,'0'-5'286'0'0,"-1"0"0"0"0,0 0-1 0 0,0 1 1 0 0,-1-1 0 0 0,1 1-1 0 0,-1-1 1 0 0,0 1 0 0 0,0 0 0 0 0,0 0-1 0 0,-1 0 1 0 0,1 0 0 0 0,-1 0 0 0 0,0 0-1 0 0,0 1 1 0 0,-1-1 0 0 0,1 1-1 0 0,-6-4 1 0 0,4 3-123 0 0,-1 1 0 0 0,0 0 0 0 0,0 0 0 0 0,0 1-1 0 0,-1 0 1 0 0,1 0 0 0 0,0 0 0 0 0,-1 1 0 0 0,1 0 0 0 0,-1 0-1 0 0,-8 0 1 0 0,-2 2-71 0 0,1 0-1 0 0,-1 0 1 0 0,1 2-1 0 0,-1 0 1 0 0,1 1-1 0 0,0 1 1 0 0,0 0-1 0 0,1 1 1 0 0,-17 9-1 0 0,25-11-67 0 0,-1 0-1 0 0,1 1 1 0 0,1 0 0 0 0,-1 0-1 0 0,1 0 1 0 0,0 1 0 0 0,0 0-1 0 0,0 0 1 0 0,1 1-1 0 0,-8 11 1 0 0,11-14-3 0 0,0-1 0 0 0,1 1 1 0 0,-1-1-1 0 0,1 1 0 0 0,0-1 0 0 0,0 1 0 0 0,0-1 1 0 0,1 1-1 0 0,-1 0 0 0 0,1 0 0 0 0,0-1 0 0 0,0 1 0 0 0,0 0 1 0 0,0-1-1 0 0,1 1 0 0 0,0 0 0 0 0,0-1 0 0 0,0 1 1 0 0,0 0-1 0 0,0-1 0 0 0,1 1 0 0 0,-1-1 0 0 0,1 0 1 0 0,0 0-1 0 0,3 5 0 0 0,4 3 25 0 0,0-1 0 0 0,0 0 0 0 0,0-1 0 0 0,1 0 0 0 0,18 11 0 0 0,61 35 79 0 0,-24-17-85 0 0,-42-23 1 0 0,-13-10 31 0 0,0 1-1 0 0,0 0 0 0 0,0 1 0 0 0,-1 0 1 0 0,0 1-1 0 0,9 10 0 0 0,-17-17-14 0 0,-1 0 0 0 0,1 0 0 0 0,0 0 0 0 0,-1 0 0 0 0,1 0 0 0 0,-1 0 0 0 0,0 0 0 0 0,1 0 0 0 0,-1 0 1 0 0,0 0-1 0 0,0 0 0 0 0,1 0 0 0 0,-1 0 0 0 0,0 0 0 0 0,0 0 0 0 0,0 1 0 0 0,0-1 0 0 0,0 0 0 0 0,-1 0 0 0 0,1 0 0 0 0,0 0 0 0 0,0 0 0 0 0,-1 0 0 0 0,1 0 0 0 0,-1 0 0 0 0,1 0 0 0 0,-1 0 0 0 0,1 0 0 0 0,-1 0 0 0 0,0 0 0 0 0,1 0 0 0 0,-1-1 0 0 0,0 1 0 0 0,0 0 0 0 0,1 0 0 0 0,-1-1 0 0 0,0 1 0 0 0,0 0 0 0 0,0-1 0 0 0,0 1 0 0 0,0-1 0 0 0,0 1 0 0 0,0-1 0 0 0,-2 1 0 0 0,-4 2 154 0 0,0 0-1 0 0,-1-1 1 0 0,1 0-1 0 0,-1 0 1 0 0,-9 1-1 0 0,-80 5-153 0 0,0-4 0 0 0,-116-10 0 0 0,187 4-1752 0 0,22 2 810 0 0,4 0 804 0 0,0 0 0 0 0,-1 0 0 0 0,1 0 0 0 0,0 0 0 0 0,0 0 0 0 0,-1-1 0 0 0,1 1 0 0 0,0 0 0 0 0,0 0 0 0 0,-1 0 0 0 0,1 0 0 0 0,0 0 0 0 0,0 0 0 0 0,0-1 0 0 0,-1 1 0 0 0,0-1-406 0 0,1 1 406 0 0,0 0 0 0 0,0 0 0 0 0,0-1 0 0 0,0 1 0 0 0,0 0 0 0 0,0 0 0 0 0,0-1 0 0 0,0 1 0 0 0,0 0 0 0 0,0 0 0 0 0,0-1 0 0 0,0 1 0 0 0,0 0-1 0 0,0 0 1 0 0,0-1 0 0 0,0 1 0 0 0,0 0 0 0 0,0 0 0 0 0,0-1 0 0 0,0 1 0 0 0,0 0 0 0 0,0 0 0 0 0,0-1 0 0 0,0 1 0 0 0,0 0 0 0 0,1-1 0 0 0,16-8-2616 0 0,-2 1-735 0 0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33.7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00 92 0 0,'4'-2'716'0'0,"1"1"0"0"0,0 0 0 0 0,0 1 0 0 0,0-1 0 0 0,0 1 0 0 0,0 0 0 0 0,0 0 0 0 0,-1 0 0 0 0,1 1 0 0 0,0 0 0 0 0,7 2 0 0 0,-8-2-516 0 0,-1 1 1 0 0,1-1 0 0 0,-1 1 0 0 0,0 0-1 0 0,0 0 1 0 0,0 1 0 0 0,0-1 0 0 0,0 1-1 0 0,0-1 1 0 0,-1 1 0 0 0,1 0 0 0 0,-1 0-1 0 0,0 0 1 0 0,0 0 0 0 0,4 7 0 0 0,0 4-86 0 0,0 0 1 0 0,-1 0-1 0 0,0 1 0 0 0,-1 0 1 0 0,-1 0-1 0 0,2 27 0 0 0,-3-20-2423 0 0,-2-1-1 0 0,-2 25 0 0 0,0-36-1064 0 0</inkml:trace>
  <inkml:trace contextRef="#ctx0" brushRef="#br0" timeOffset="1">210 142 1380 0 0,'-11'-76'8036'0'0,"7"23"-8200"0"0,4 50-632 0 0,-2-6-3142 0 0</inkml:trace>
</inkml:ink>
</file>

<file path=ppt/ink/ink9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48.9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9 712 0 0,'78'-62'8173'0'0,"-77"62"-8107"0"0,0-1-1 0 0,-1 1 1 0 0,1-1 0 0 0,0 1 0 0 0,-1-1-1 0 0,1 1 1 0 0,0-1 0 0 0,-1 1 0 0 0,1 0 0 0 0,0-1-1 0 0,0 1 1 0 0,0 0 0 0 0,-1-1 0 0 0,1 1-1 0 0,0 0 1 0 0,0 0 0 0 0,0 0 0 0 0,0 0 0 0 0,-1 0-1 0 0,1 0 1 0 0,0 0 0 0 0,0 0 0 0 0,0 0-1 0 0,0 0 1 0 0,-1 1 0 0 0,1-1 0 0 0,0 0 0 0 0,0 1-1 0 0,0-1 1 0 0,-1 0 0 0 0,1 1 0 0 0,0-1-1 0 0,0 1 1 0 0,-1-1 0 0 0,1 1 0 0 0,-1-1 0 0 0,2 2-1 0 0,0 0 73 0 0,0 1-1 0 0,0-1 1 0 0,-1 1-1 0 0,1-1 1 0 0,-1 1-1 0 0,1-1 1 0 0,-1 1-1 0 0,0 0 1 0 0,1 3-1 0 0,7 37 580 0 0,6 85-1 0 0,-8-47-432 0 0,26 135-1072 0 0,-6-73-4640 0 0,-22-116 1827 0 0</inkml:trace>
</inkml:ink>
</file>

<file path=ppt/ink/ink9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49.5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0 294 476 0 0,'-10'-15'1116'0'0,"1"3"307"0"0,0 0-1 0 0,-10-22 1 0 0,19 33-1401 0 0,-1 1 0 0 0,1-1 0 0 0,0 0-1 0 0,0 1 1 0 0,-1-1 0 0 0,1 0 0 0 0,0 0 0 0 0,0 1 0 0 0,0-1 0 0 0,0 0 0 0 0,0 0 0 0 0,0 1 0 0 0,0-1 0 0 0,0 0-1 0 0,0 0 1 0 0,0 1 0 0 0,0-1 0 0 0,1 0 0 0 0,-1 0 0 0 0,0 1 0 0 0,0-1 0 0 0,1 0 0 0 0,-1 1 0 0 0,0-1-1 0 0,1 0 1 0 0,-1 1 0 0 0,1-1 0 0 0,-1 1 0 0 0,1-1 0 0 0,-1 1 0 0 0,1-1 0 0 0,0 1 0 0 0,-1-1 0 0 0,1 1 0 0 0,-1-1-1 0 0,1 1 1 0 0,0 0 0 0 0,0-1 0 0 0,28-6 102 0 0,-25 7-97 0 0,154-8 207 0 0,-61 6-145 0 0,-74 1-72 0 0,34-2 611 0 0,68-13 0 0 0,-109 13-346 0 0,1 0 1 0 0,-1-2-1 0 0,0 0 1 0 0,-1-1-1 0 0,1 0 1 0 0,-1-2-1 0 0,0 0 1 0 0,24-17-1 0 0,-35 22-198 0 0,0 0 1 0 0,0 0-1 0 0,0-1 1 0 0,0 0-1 0 0,-1 0 1 0 0,1 0-1 0 0,-1 0 0 0 0,0 0 1 0 0,0-1-1 0 0,-1 1 1 0 0,1-1-1 0 0,-1 0 1 0 0,3-7-1 0 0,-5 11-76 0 0,0 0 1 0 0,-1 0-1 0 0,1 0 0 0 0,0-1 1 0 0,0 1-1 0 0,-1 0 0 0 0,1 0 1 0 0,0 0-1 0 0,-1 0 0 0 0,1 0 1 0 0,-1 0-1 0 0,1 0 0 0 0,-1 0 0 0 0,0 0 1 0 0,1 0-1 0 0,-1 1 0 0 0,0-1 1 0 0,0 0-1 0 0,0 0 0 0 0,0 1 1 0 0,1-1-1 0 0,-1 0 0 0 0,0 1 1 0 0,0-1-1 0 0,0 1 0 0 0,0-1 0 0 0,0 1 1 0 0,0 0-1 0 0,-1-1 0 0 0,1 1 1 0 0,0 0-1 0 0,0 0 0 0 0,0 0 1 0 0,0-1-1 0 0,0 1 0 0 0,0 0 1 0 0,0 1-1 0 0,-3-1 0 0 0,-13 2 15 0 0,0 1-1 0 0,0 0 1 0 0,1 1 0 0 0,-1 1-1 0 0,1 1 1 0 0,0 0 0 0 0,0 1-1 0 0,-17 10 1 0 0,16-6-11 0 0,-1 0-1 0 0,2 0 1 0 0,-1 2 0 0 0,2 0-1 0 0,0 1 1 0 0,-25 29 0 0 0,36-38-10 0 0,0-1 0 0 0,1 1 0 0 0,0 0 0 0 0,0 1 0 0 0,0-1 0 0 0,1 0 1 0 0,0 1-1 0 0,0 0 0 0 0,-2 9 0 0 0,4-13 1 0 0,0 0-1 0 0,0 0 1 0 0,0 0-1 0 0,0 0 1 0 0,0 0-1 0 0,0 0 1 0 0,0 0-1 0 0,1 0 1 0 0,-1 0-1 0 0,1-1 1 0 0,0 1-1 0 0,-1 0 1 0 0,1 0-1 0 0,0 0 1 0 0,0-1 0 0 0,0 1-1 0 0,0 0 1 0 0,1-1-1 0 0,-1 1 1 0 0,0-1-1 0 0,1 1 1 0 0,-1-1-1 0 0,1 0 1 0 0,-1 0-1 0 0,1 1 1 0 0,-1-1-1 0 0,1 0 1 0 0,0 0 0 0 0,0-1-1 0 0,0 1 1 0 0,3 1-1 0 0,3 0 10 0 0,0 0 0 0 0,1 0 0 0 0,-1-1-1 0 0,1 0 1 0 0,0 0 0 0 0,-1-1 0 0 0,1 0-1 0 0,0-1 1 0 0,-1 0 0 0 0,1 0 0 0 0,-1-1-1 0 0,12-3 1 0 0,-5 0-1 0 0,0 0-1 0 0,0-1 1 0 0,-1-1-1 0 0,0 0 1 0 0,25-17-1 0 0,-16 5 361 0 0,0-1 0 0 0,27-30 0 0 0,-49 49-259 0 0,-18 43-39 0 0,14-30-52 0 0,0 0 0 0 0,1 0 0 0 0,0 0 0 0 0,1 1 0 0 0,1 16 0 0 0,0-28-14 0 0,0 0-1 0 0,0 0 1 0 0,0 0-1 0 0,1 0 1 0 0,-1 1 0 0 0,0-1-1 0 0,1 0 1 0 0,-1 0-1 0 0,1 0 1 0 0,-1 0-1 0 0,1 0 1 0 0,-1 0-1 0 0,1 0 1 0 0,0 0-1 0 0,-1-1 1 0 0,1 1-1 0 0,0 0 1 0 0,0 0 0 0 0,-1 0-1 0 0,1-1 1 0 0,0 1-1 0 0,0-1 1 0 0,0 1-1 0 0,0 0 1 0 0,0-1-1 0 0,0 1 1 0 0,0-1-1 0 0,0 0 1 0 0,0 1 0 0 0,1-1-1 0 0,-1 0 1 0 0,0 0-1 0 0,0 0 1 0 0,0 0-1 0 0,2 0 1 0 0,2 1 13 0 0,0-1 1 0 0,0-1-1 0 0,0 1 1 0 0,0-1-1 0 0,-1 0 1 0 0,9-2-1 0 0,2-3-45 0 0,0 0 1 0 0,-1-1-1 0 0,0-1 1 0 0,0 0-1 0 0,-1-1 0 0 0,0-1 1 0 0,0 0-1 0 0,-1-1 0 0 0,-1 0 1 0 0,0 0-1 0 0,0-2 1 0 0,-1 1-1 0 0,-1-1 0 0 0,15-27 1 0 0,-19 33 77 0 0,10-7-125 0 0,-14 13 75 0 0,1 1 13 0 0,0 1-11 0 0,0 0 1 0 0,-1 0-1 0 0,1 0 0 0 0,-1 0 0 0 0,1 0 0 0 0,-1 1 0 0 0,0-1 0 0 0,1 0 1 0 0,-1 1-1 0 0,0-1 0 0 0,0 1 0 0 0,0 0 0 0 0,0-1 0 0 0,0 1 1 0 0,0 0-1 0 0,0-1 0 0 0,-1 1 0 0 0,1 0 0 0 0,0 2 0 0 0,11 47 97 0 0,-8-29-50 0 0,30 163-4020 0 0,-24-161 1937 0 0,-10-23 1782 0 0,1 1-1 0 0,-1-1 0 0 0,1 0 0 0 0,0 0 0 0 0,0 0 1 0 0,-1 0-1 0 0,1 0 0 0 0,0 0 0 0 0,0 0 0 0 0,0 0 1 0 0,0 0-1 0 0,0 0 0 0 0,0-1 0 0 0,0 1 0 0 0,0 0 0 0 0,1-1 1 0 0,-1 1-1 0 0,1 0 0 0 0,10 1-1405 0 0</inkml:trace>
</inkml:ink>
</file>

<file path=ppt/ink/ink9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0.1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3 5 660 0 0,'-10'6'719'0'0,"1"0"1"0"0,0 1-1 0 0,0 0 0 0 0,1 0 1 0 0,0 1-1 0 0,0 1 0 0 0,1-1 1 0 0,0 1-1 0 0,-6 10 0 0 0,2-2-117 0 0,1 1 0 0 0,1 0 0 0 0,0 1 0 0 0,-6 21 0 0 0,13-32-478 0 0,0 0 1 0 0,0 0-1 0 0,0 0 1 0 0,1 1-1 0 0,0-1 1 0 0,1 0-1 0 0,0 1 1 0 0,0-1-1 0 0,1 1 1 0 0,0-1-1 0 0,0 0 1 0 0,4 13-1 0 0,-3-15-81 0 0,0-1-1 0 0,1 1 1 0 0,-1-1 0 0 0,1 0-1 0 0,1 0 1 0 0,-1 0 0 0 0,0-1 0 0 0,1 1-1 0 0,0-1 1 0 0,0 0 0 0 0,1 0-1 0 0,-1 0 1 0 0,1 0 0 0 0,0-1-1 0 0,0 0 1 0 0,0 0 0 0 0,0 0-1 0 0,9 3 1 0 0,-4-2-169 0 0,1-1 0 0 0,-1 0 0 0 0,1-1 0 0 0,-1-1 0 0 0,1 1 0 0 0,-1-2 0 0 0,1 1 1 0 0,0-2-1 0 0,-1 1 0 0 0,1-1 0 0 0,-1-1 0 0 0,1 0 0 0 0,-1 0 0 0 0,1-1 0 0 0,-1-1 0 0 0,0 0 0 0 0,-1 0 0 0 0,1-1 1 0 0,12-7-1 0 0,-8 3-173 0 0,0-1 1 0 0,-1-1 0 0 0,0 0-1 0 0,-1 0 1 0 0,0-1-1 0 0,0-1 1 0 0,-2 0 0 0 0,1-1-1 0 0,-2 0 1 0 0,0 0 0 0 0,11-23-1 0 0,-6 2 1269 0 0,-2 0-1 0 0,8-39 1 0 0,-8 28 950 0 0,-10 41-1886 0 0,3-13 1054 0 0,-3 18-543 0 0,-3 10-437 0 0,-1 19 92 0 0,-2 13-207 0 0,2 1-1 0 0,1-1 0 0 0,10 78 0 0 0,-7-110-204 0 0,11 48-1207 0 0,-12-54 983 0 0,1 1-1 0 0,0-1 0 0 0,0 1 0 0 0,0-1 1 0 0,1 0-1 0 0,-1 0 0 0 0,1 0 1 0 0,0 0-1 0 0,7 6 0 0 0,7-5-5127 0 0</inkml:trace>
</inkml:ink>
</file>

<file path=ppt/ink/ink9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0.4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0 24 372 0 0,'2'-3'321'0'0,"-1"1"0"0"0,1 0 0 0 0,0 0 0 0 0,0 0 0 0 0,0 0 0 0 0,0 0 0 0 0,0 0 0 0 0,1 1-1 0 0,-1-1 1 0 0,4-1 0 0 0,-4 2 377 0 0,-2 1-638 0 0,1 0 0 0 0,-1 1 0 0 0,1-1 0 0 0,-1 0-1 0 0,1 0 1 0 0,-1 0 0 0 0,1 1 0 0 0,-1-1 0 0 0,0 0 0 0 0,1 0-1 0 0,-1 1 1 0 0,0-1 0 0 0,1 0 0 0 0,-1 1 0 0 0,0-1-1 0 0,1 1 1 0 0,-1-1 0 0 0,0 0 0 0 0,0 1 0 0 0,1-1 0 0 0,-1 1-1 0 0,0-1 1 0 0,0 1 0 0 0,0-1 0 0 0,0 0 0 0 0,1 1-1 0 0,-1 0 1 0 0,-14 23 637 0 0,-1 0 0 0 0,0-2-1 0 0,-2 1 1 0 0,-37 37 0 0 0,14-16-252 0 0,39-43-407 0 0,0 0 0 0 0,0 0 0 0 0,0 0 0 0 0,0 0 0 0 0,0 0 0 0 0,0 1 0 0 0,1-1 1 0 0,-1 0-1 0 0,0 1 0 0 0,1-1 0 0 0,-1 0 0 0 0,1 1 0 0 0,-1-1 0 0 0,1 1 0 0 0,0-1 0 0 0,-1 1 1 0 0,1-1-1 0 0,0 1 0 0 0,0-1 0 0 0,0 1 0 0 0,0 2 0 0 0,1-3-10 0 0,0 0-1 0 0,0 0 0 0 0,-1 1 1 0 0,1-1-1 0 0,0 0 0 0 0,0 0 1 0 0,0 0-1 0 0,0 0 1 0 0,0 0-1 0 0,0 0 0 0 0,1 0 1 0 0,-1 0-1 0 0,0-1 0 0 0,0 1 1 0 0,1 0-1 0 0,-1-1 0 0 0,3 2 1 0 0,8 1 50 0 0,1 0 1 0 0,-1 0-1 0 0,0-2 0 0 0,15 1 1 0 0,-17-1-40 0 0,187 34-2677 0 0,-148-25-1712 0 0,-33-6 1776 0 0</inkml:trace>
</inkml:ink>
</file>

<file path=ppt/ink/ink9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4.5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5 1 1844 0 0,'-22'13'2424'0'0,"4"-3"-715"0"0,2-1-277 0 0,6-1-424 0 0,2-1 1136 0 0,18 2-1284 0 0,26-6-648 0 0,-10-3-28 0 0,6 0-372 0 0,2-1-100 0 0,-2 1-428 0 0,2 0-388 0 0,0 0-608 0 0,-2 0-741 0 0,-4 1-499 0 0</inkml:trace>
  <inkml:trace contextRef="#ctx0" brushRef="#br0" timeOffset="1">207 327 1848 0 0,'-20'12'1928'0'0,"4"-1"-272"0"0,4-2-271 0 0,0 0-153 0 0,0-2-152 0 0,6-1 1188 0 0,18-1-2184 0 0,4-9-228 0 0,2 1-292 0 0,8-3-368 0 0,2-1-396 0 0,2 0-1620 0 0,6-4-853 0 0</inkml:trace>
</inkml:ink>
</file>

<file path=ppt/ink/ink9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0.9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8 1 668 0 0,'-8'1'398'0'0,"-1"1"1"0"0,1 1-1 0 0,0 0 1 0 0,0 0-1 0 0,1 0 0 0 0,-1 1 1 0 0,1 0-1 0 0,0 0 0 0 0,0 1 1 0 0,0 0-1 0 0,0 0 0 0 0,1 1 1 0 0,0 0-1 0 0,0 0 0 0 0,-8 10 1 0 0,6-5-85 0 0,1-1 1 0 0,-1 1 0 0 0,2 0-1 0 0,0 1 1 0 0,0-1-1 0 0,1 1 1 0 0,0 1-1 0 0,1-1 1 0 0,-3 19 0 0 0,5-22-170 0 0,2-1 0 0 0,-1 1 1 0 0,1 0-1 0 0,1-1 1 0 0,-1 1-1 0 0,1-1 1 0 0,1 1-1 0 0,0-1 0 0 0,0 0 1 0 0,0 1-1 0 0,1-1 1 0 0,1 0-1 0 0,-1-1 1 0 0,10 15-1 0 0,-9-16-70 0 0,0 0 0 0 0,0-1-1 0 0,1 1 1 0 0,0-1 0 0 0,0 0 0 0 0,0-1-1 0 0,1 1 1 0 0,-1-1 0 0 0,1 0 0 0 0,0-1-1 0 0,0 1 1 0 0,1-1 0 0 0,-1 0 0 0 0,1-1-1 0 0,-1 0 1 0 0,1 0 0 0 0,0 0 0 0 0,8 0-1 0 0,-10-1-21 0 0,-1-1 0 0 0,1 0 0 0 0,-1 0-1 0 0,1-1 1 0 0,-1 1 0 0 0,1-1 0 0 0,-1 0 0 0 0,0 0-1 0 0,1 0 1 0 0,-1-1 0 0 0,0 0 0 0 0,0 1 0 0 0,6-5-1 0 0,-8 5-34 0 0,0-1-1 0 0,0 1 1 0 0,0-1-1 0 0,0 0 1 0 0,0 0-1 0 0,0 0 1 0 0,0 0-1 0 0,0 0 1 0 0,-1 0-1 0 0,1 0 0 0 0,-1-1 1 0 0,0 1-1 0 0,0-1 1 0 0,0 1-1 0 0,0-1 1 0 0,0 1-1 0 0,0-1 1 0 0,-1 1-1 0 0,1-1 1 0 0,-1 0-1 0 0,1 1 0 0 0,-1-1 1 0 0,0-3-1 0 0,-1-2-41 0 0,0 1-1 0 0,0-1 0 0 0,-1 0 0 0 0,0 1 1 0 0,-1-1-1 0 0,1 1 0 0 0,-1 0 0 0 0,-1 0 1 0 0,1 0-1 0 0,-1 0 0 0 0,0 0 0 0 0,-1 1 1 0 0,0 0-1 0 0,0 0 0 0 0,0 0 0 0 0,-9-7 1 0 0,1 2-676 0 0,0 1 1 0 0,-18-11-1 0 0,-32-15-5259 0 0,55 32 4715 0 0</inkml:trace>
</inkml:ink>
</file>

<file path=ppt/ink/ink9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1.3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57 952 0 0,'12'8'687'0'0,"-1"0"1"0"0,0 1-1 0 0,-1 0 0 0 0,0 0 1 0 0,0 2-1 0 0,-1-1 0 0 0,0 1 1 0 0,-1 0-1 0 0,13 24 0 0 0,-10-13 78 0 0,-2 0 1 0 0,0 0-1 0 0,-1 1 0 0 0,8 45 0 0 0,-4-10 1793 0 0,-12-57-2510 0 0,0 0 0 0 0,0-1 0 0 0,0 1 0 0 0,0 0 0 0 0,0-1 0 0 0,0 1 0 0 0,0 0 0 0 0,-1 0 0 0 0,1-1 0 0 0,0 1 0 0 0,0 0 0 0 0,-1-1 0 0 0,1 1 0 0 0,0-1 0 0 0,0 1 0 0 0,-1 0 0 0 0,1-1 0 0 0,-1 1 0 0 0,1-1 0 0 0,-1 1 1 0 0,1-1-1 0 0,-1 1 0 0 0,1-1 0 0 0,-1 1 0 0 0,1-1 0 0 0,-1 0 0 0 0,1 1 0 0 0,-1-1 0 0 0,0 0 0 0 0,1 1 0 0 0,-1-1 0 0 0,0 0 0 0 0,1 0 0 0 0,-1 0 0 0 0,0 1 0 0 0,1-1 0 0 0,-1 0 0 0 0,0 0 0 0 0,1 0 0 0 0,-1 0 0 0 0,0 0 0 0 0,1 0 0 0 0,-1-1 1 0 0,0 1-1 0 0,0 0 0 0 0,1 0 0 0 0,-1 0 0 0 0,1-1 0 0 0,-1 1 0 0 0,0 0 0 0 0,0-1 0 0 0,-2-1 1 0 0,0 0 0 0 0,0 0 0 0 0,0-1-1 0 0,0 1 1 0 0,1-1 0 0 0,-1 0 0 0 0,1 0 0 0 0,0 0 0 0 0,-1 0 0 0 0,1 0 0 0 0,1 0 0 0 0,-3-5 0 0 0,-17-45 146 0 0,18 44-163 0 0,-6-19-19 0 0,2 0 0 0 0,0 0 0 0 0,2-1 0 0 0,-2-41 0 0 0,6 57-125 0 0,1 0 1 0 0,0 0-1 0 0,1 0 0 0 0,1 0 1 0 0,0 0-1 0 0,0 1 1 0 0,1-1-1 0 0,1 1 1 0 0,0-1-1 0 0,1 1 0 0 0,1 1 1 0 0,8-17-1 0 0,-12 25-49 0 0,1-1 0 0 0,-1 1-1 0 0,1 0 1 0 0,-1 0 0 0 0,1 0-1 0 0,0 1 1 0 0,0-1 0 0 0,0 1 0 0 0,0-1-1 0 0,1 1 1 0 0,-1 0 0 0 0,1 0-1 0 0,-1 0 1 0 0,1 1 0 0 0,0-1 0 0 0,0 1-1 0 0,-1 0 1 0 0,1 0 0 0 0,0 0-1 0 0,0 1 1 0 0,5-1 0 0 0,-1 2-423 0 0,0-1 1 0 0,0 2-1 0 0,0-1 0 0 0,0 1 1 0 0,0 0-1 0 0,0 1 1 0 0,-1 0-1 0 0,1 0 0 0 0,-1 0 1 0 0,0 1-1 0 0,0 0 1 0 0,12 10-1 0 0,-5-2-2061 0 0</inkml:trace>
</inkml:ink>
</file>

<file path=ppt/ink/ink9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1.6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 0 212 0 0,'0'0'1780'0'0,"-14"8"680"0"0,2-3-419 0 0,2 0-1093 0 0,36-6-1164 0 0,-10-1-268 0 0,2 2-296 0 0,2-2-229 0 0,2 0-567 0 0,2 0 604 0 0</inkml:trace>
</inkml:ink>
</file>

<file path=ppt/ink/ink9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2.2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9 149 288 0 0,'-2'-6'324'0'0,"1"1"-1"0"0,-1 0 1 0 0,1-1-1 0 0,0 1 1 0 0,1-1-1 0 0,-1 1 1 0 0,1-1-1 0 0,0 1 1 0 0,0-1-1 0 0,1 0 1 0 0,0 1-1 0 0,0-1 1 0 0,0 1-1 0 0,1 0 1 0 0,2-7-1 0 0,-2 8-259 0 0,-1 1 1 0 0,1 0-1 0 0,0-1 0 0 0,0 1 0 0 0,0 0 1 0 0,0 0-1 0 0,1 1 0 0 0,-1-1 0 0 0,1 0 1 0 0,0 1-1 0 0,0-1 0 0 0,-1 1 0 0 0,2 0 1 0 0,-1 0-1 0 0,0 0 0 0 0,0 0 0 0 0,1 1 1 0 0,-1-1-1 0 0,1 1 0 0 0,-1 0 0 0 0,1 0 1 0 0,5-1-1 0 0,-5 2-30 0 0,-1 0-1 0 0,0-1 1 0 0,0 1-1 0 0,1 0 1 0 0,-1 1 0 0 0,0-1-1 0 0,1 1 1 0 0,-1-1-1 0 0,0 1 1 0 0,0 0 0 0 0,0 0-1 0 0,0 0 1 0 0,0 1-1 0 0,0-1 1 0 0,0 1 0 0 0,0 0-1 0 0,0-1 1 0 0,0 1-1 0 0,-1 0 1 0 0,1 1-1 0 0,-1-1 1 0 0,0 0 0 0 0,0 1-1 0 0,1-1 1 0 0,-2 1-1 0 0,1 0 1 0 0,0 0 0 0 0,0 0-1 0 0,-1 0 1 0 0,0 0-1 0 0,0 0 1 0 0,1 0 0 0 0,-2 0-1 0 0,2 6 1 0 0,0 3 145 0 0,0 0 1 0 0,0 0-1 0 0,-2 0 0 0 0,1 0 1 0 0,-2 0-1 0 0,0 0 0 0 0,-4 22 1 0 0,-18 43 393 0 0,4-17-38 0 0,18-59-528 0 0,1-1 0 0 0,0 1 1 0 0,0 0-1 0 0,0 0 0 0 0,0 0 0 0 0,1 0 0 0 0,-1 0 1 0 0,0-1-1 0 0,0 1 0 0 0,0 0 0 0 0,1 0 1 0 0,-1 0-1 0 0,0 0 0 0 0,1-1 0 0 0,-1 1 0 0 0,1 0 1 0 0,-1 0-1 0 0,1-1 0 0 0,-1 1 0 0 0,1 0 0 0 0,-1-1 1 0 0,1 1-1 0 0,1 0 0 0 0,18 13 24 0 0,-13-10-21 0 0,2 2-12 0 0,-1 0-1 0 0,1 0 1 0 0,-1 0-1 0 0,-1 1 1 0 0,0 1-1 0 0,7 7 1 0 0,-12-13 42 0 0,-1-1 0 0 0,0 1 1 0 0,0 0-1 0 0,0 0 1 0 0,0 0-1 0 0,0 0 1 0 0,0 0-1 0 0,0 0 1 0 0,0 0-1 0 0,-1 0 1 0 0,1 0-1 0 0,-1 0 1 0 0,0 0-1 0 0,1 0 0 0 0,-1 0 1 0 0,0 0-1 0 0,0 0 1 0 0,-1 1-1 0 0,1-1 1 0 0,0 0-1 0 0,-1 0 1 0 0,1 0-1 0 0,-1 0 1 0 0,1 0-1 0 0,-1 0 0 0 0,0 0 1 0 0,0 0-1 0 0,0 0 1 0 0,0-1-1 0 0,-1 1 1 0 0,1 0-1 0 0,0-1 1 0 0,-1 1-1 0 0,1 0 1 0 0,-1-1-1 0 0,-1 2 0 0 0,-5 3 143 0 0,0 0 0 0 0,-1 0 0 0 0,0-1 0 0 0,0 0 0 0 0,0-1 0 0 0,-1 0 0 0 0,1-1 0 0 0,-1 1 0 0 0,0-2 0 0 0,0 1 0 0 0,-13 0 0 0 0,-16 1-44 0 0,-61-2-1 0 0,71-2-315 0 0,2-1-965 0 0,1 0-4313 0 0</inkml:trace>
</inkml:ink>
</file>

<file path=ppt/ink/ink9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2.7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1116 0 0,'0'0'2208'0'0,"6"9"-558"0"0,52 93 2496 0 0,100 117-1001 0 0,-129-182-2075 0 0,-27-33-546 0 0,1 0 0 0 0,0-1 1 0 0,0 1-1 0 0,0-1 0 0 0,1 0 0 0 0,-1 0 0 0 0,6 4 0 0 0,-8-7-426 0 0,-1 0 0 0 0,1 1 0 0 0,0-1 0 0 0,-1 0 0 0 0,1 0 0 0 0,0 0 0 0 0,-1 1 0 0 0,1-1 0 0 0,0 0 0 0 0,-1 0 0 0 0,1 0 0 0 0,0 0-1 0 0,-1 0 1 0 0,1 0 0 0 0,0-1 0 0 0,0 1 0 0 0,-1 0 0 0 0,1 0 0 0 0,0 0 0 0 0,-1-1 0 0 0,2 1 0 0 0,-1-1-59 0 0,0 0-1 0 0,1-1 1 0 0,-1 1 0 0 0,0 0-1 0 0,0 0 1 0 0,0-1-1 0 0,0 1 1 0 0,0-1 0 0 0,0 1-1 0 0,0-1 1 0 0,0 1 0 0 0,1-3-1 0 0,4-16 73 0 0,-1 1 0 0 0,-1-1 0 0 0,-1 0 0 0 0,0 0 0 0 0,-1-1 0 0 0,-2-36 0 0 0,1 5-558 0 0,-1-5-878 0 0,-1 31-2501 0 0,4-30-1 0 0,2 47 1749 0 0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44:34.1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11 888 0 0,'9'14'1621'0'0,"-1"1"0"0"0,0 0 1 0 0,-1 0-1 0 0,9 28 0 0 0,13 71 886 0 0,-9-35-1009 0 0,-4-16-410 0 0,-3 1 0 0 0,8 92 0 0 0,-21-154-993 0 0,1 0 0 0 0,-1 0 0 0 0,0 0 0 0 0,0 1 0 0 0,0-1-1 0 0,0 0 1 0 0,0 0 0 0 0,-1 0 0 0 0,1 0 0 0 0,0 0 0 0 0,-1 0-1 0 0,0 0 1 0 0,1 0 0 0 0,-1 0 0 0 0,0-1 0 0 0,0 1 0 0 0,0 0-1 0 0,0 0 1 0 0,-1-1 0 0 0,1 1 0 0 0,-3 3 0 0 0,3-6-75 0 0,0 1 0 0 0,0 0-1 0 0,0 0 1 0 0,0-1 0 0 0,0 1 0 0 0,0 0 0 0 0,0-1 0 0 0,0 1 0 0 0,0-1 0 0 0,0 1 0 0 0,1-1 0 0 0,-1 0 0 0 0,0 1 0 0 0,0-1-1 0 0,0-1 1 0 0,-2-1 12 0 0,-1 0 0 0 0,1-1 0 0 0,1 1 0 0 0,-1-1 0 0 0,0 0 0 0 0,1 0 0 0 0,0 0 0 0 0,0 0 0 0 0,0 0 0 0 0,1 0 0 0 0,-1-1 0 0 0,0-4 0 0 0,-9-56 53 0 0,10 56-79 0 0,-1-29-47 0 0,2 0-1 0 0,1 0 1 0 0,2 0-1 0 0,2 0 1 0 0,1 0 0 0 0,2 1-1 0 0,2 0 1 0 0,1 0-1 0 0,26-57 1 0 0,-26 70-34 0 0,2-1 0 0 0,0 2 0 0 0,1 0 0 0 0,2 1 1 0 0,23-27-1 0 0,-30 40-225 0 0,-1 0 1 0 0,1 0-1 0 0,1 1 1 0 0,-1 0-1 0 0,1 1 1 0 0,1 0-1 0 0,-1 1 1 0 0,1 0 0 0 0,0 0-1 0 0,1 1 1 0 0,-1 1-1 0 0,1 0 1 0 0,22-5-1 0 0,-29 9 26 0 0,0-1-1 0 0,0 1 0 0 0,0 1 1 0 0,0-1-1 0 0,0 0 0 0 0,0 1 1 0 0,0 0-1 0 0,0 1 0 0 0,0-1 1 0 0,8 4-1 0 0,-10-4-36 0 0,0 1 1 0 0,0-1-1 0 0,-1 1 1 0 0,1 0-1 0 0,0 0 0 0 0,-1 0 1 0 0,0 0-1 0 0,1 0 1 0 0,-1 0-1 0 0,0 1 0 0 0,0-1 1 0 0,0 1-1 0 0,0 0 1 0 0,-1-1-1 0 0,1 1 0 0 0,-1 0 1 0 0,0 0-1 0 0,2 4 0 0 0,0 12-2481 0 0</inkml:trace>
</inkml:ink>
</file>

<file path=ppt/ink/ink9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3.4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6 374 1024 0 0,'6'1'313'0'0,"13"4"1846"0"0,35 3 1 0 0,-42-8-1824 0 0,-1 0 0 0 0,1-1-1 0 0,0 0 1 0 0,-1-1 0 0 0,1 0 0 0 0,-1-1 0 0 0,0 0 0 0 0,0-1 0 0 0,0 0 0 0 0,0-1-1 0 0,-1 0 1 0 0,0-1 0 0 0,0 0 0 0 0,0 0 0 0 0,-1-1 0 0 0,11-10 0 0 0,-18 15-301 0 0,0-1 1 0 0,0 1-1 0 0,0 0 1 0 0,0-1-1 0 0,0 0 1 0 0,-1 1 0 0 0,0-1-1 0 0,1 0 1 0 0,-1 0-1 0 0,0 0 1 0 0,0 1-1 0 0,-1-1 1 0 0,1 0-1 0 0,0-1 1 0 0,-1 1-1 0 0,0-6 1 0 0,0 8-31 0 0,0-1 0 0 0,-1 0 0 0 0,1 1 0 0 0,-1-1 0 0 0,0 0 0 0 0,1 1-1 0 0,-1-1 1 0 0,0 1 0 0 0,0-1 0 0 0,0 1 0 0 0,0-1 0 0 0,0 1 0 0 0,0 0 0 0 0,-1 0 0 0 0,1-1 0 0 0,0 1 0 0 0,-1 0 0 0 0,1 0 0 0 0,-1 0 0 0 0,1 0 0 0 0,-1 1-1 0 0,1-1 1 0 0,-1 0 0 0 0,0 1 0 0 0,1-1 0 0 0,-1 1 0 0 0,0-1 0 0 0,1 1 0 0 0,-1 0 0 0 0,0 0 0 0 0,-1 0 0 0 0,-9-1-4 0 0,1 1 1 0 0,-1 0 0 0 0,1 1 0 0 0,-1 1-1 0 0,1 0 1 0 0,0 0 0 0 0,0 1-1 0 0,0 0 1 0 0,0 1 0 0 0,0 0-1 0 0,-17 10 1 0 0,8-2-11 0 0,0 1-1 0 0,0 0 1 0 0,1 2-1 0 0,-28 27 0 0 0,42-37-2 0 0,0 0 0 0 0,0 1-1 0 0,1 0 1 0 0,0 0-1 0 0,0 0 1 0 0,0 0-1 0 0,0 1 1 0 0,1-1-1 0 0,0 1 1 0 0,1 0-1 0 0,0 0 1 0 0,0 0-1 0 0,0 0 1 0 0,0 9-1 0 0,1-12-4 0 0,1 0-1 0 0,1 0 0 0 0,-1 0 0 0 0,1 0 0 0 0,-1-1 0 0 0,1 1 0 0 0,0 0 1 0 0,0-1-1 0 0,1 1 0 0 0,-1 0 0 0 0,1-1 0 0 0,0 1 0 0 0,0-1 0 0 0,0 0 1 0 0,0 0-1 0 0,0 0 0 0 0,1 0 0 0 0,-1 0 0 0 0,1 0 0 0 0,0-1 1 0 0,0 1-1 0 0,0-1 0 0 0,0 0 0 0 0,0 0 0 0 0,1 0 0 0 0,-1 0 0 0 0,1 0 1 0 0,5 1-1 0 0,5 2-182 0 0,0-1 0 0 0,1 0 0 0 0,0-1 0 0 0,0-1 0 0 0,0-1 0 0 0,0 0 0 0 0,0 0 0 0 0,0-2 0 0 0,21-2 0 0 0,-5-2-101 0 0,1-1 0 0 0,-1-1 0 0 0,43-17 0 0 0,-48 14 248 0 0,1-2 0 0 0,-1-1 1 0 0,38-24-1 0 0,-51 27 356 0 0,0 0 0 0 0,0 0 1 0 0,-1-1-1 0 0,0-1 0 0 0,-1 0 0 0 0,-1 0 1 0 0,17-26-1 0 0,-26 37-274 0 0,0 0-1 0 0,-1-1 1 0 0,1 1 0 0 0,0 0-1 0 0,-1 0 1 0 0,1 0 0 0 0,-1-1 0 0 0,0 1-1 0 0,1 0 1 0 0,-1-1 0 0 0,0 1-1 0 0,0 0 1 0 0,0-1 0 0 0,0-1-1 0 0,0 3-17 0 0,0-1-1 0 0,0 0 0 0 0,-1 1 1 0 0,1-1-1 0 0,0 1 0 0 0,0-1 1 0 0,-1 1-1 0 0,1-1 0 0 0,0 1 1 0 0,-1 0-1 0 0,1-1 0 0 0,0 1 1 0 0,-1-1-1 0 0,1 1 0 0 0,-1 0 1 0 0,1-1-1 0 0,-1 1 0 0 0,1 0 1 0 0,-1 0-1 0 0,1-1 0 0 0,-1 1 1 0 0,1 0-1 0 0,-2-1 0 0 0,-1 1 9 0 0,1 0 0 0 0,-1 0 0 0 0,0-1 0 0 0,0 1 0 0 0,0 1 0 0 0,0-1 0 0 0,1 0 0 0 0,-1 1 0 0 0,0 0 0 0 0,0-1 0 0 0,1 1 0 0 0,-5 2 0 0 0,2 0 11 0 0,-1 0 1 0 0,1 0-1 0 0,0 0 0 0 0,1 0 0 0 0,-1 1 0 0 0,0 0 0 0 0,1 0 0 0 0,0 0 0 0 0,0 0 0 0 0,0 1 0 0 0,1 0 0 0 0,-1-1 0 0 0,1 1 1 0 0,0 1-1 0 0,1-1 0 0 0,-1 0 0 0 0,1 1 0 0 0,-2 8 0 0 0,3-10-22 0 0,0 0 0 0 0,0 0-1 0 0,1 0 1 0 0,0 0 0 0 0,0 0 0 0 0,0-1 0 0 0,0 1-1 0 0,1 0 1 0 0,-1 0 0 0 0,1 0 0 0 0,0 0-1 0 0,0 0 1 0 0,1 0 0 0 0,-1-1 0 0 0,1 1 0 0 0,-1-1-1 0 0,1 1 1 0 0,0-1 0 0 0,1 1 0 0 0,-1-1-1 0 0,1 0 1 0 0,-1 0 0 0 0,1 0 0 0 0,0-1 0 0 0,0 1-1 0 0,0-1 1 0 0,0 1 0 0 0,5 1 0 0 0,0 1 1 0 0,1 0 0 0 0,0-1 1 0 0,0-1-1 0 0,0 1 1 0 0,0-1-1 0 0,1-1 0 0 0,-1 0 1 0 0,1 0-1 0 0,-1-1 0 0 0,1 0 1 0 0,0 0-1 0 0,0-1 0 0 0,-1-1 1 0 0,1 0-1 0 0,0 0 0 0 0,-1-1 1 0 0,1 0-1 0 0,-1 0 0 0 0,1-1 1 0 0,15-8-1 0 0,-15 6-21 0 0,0 0 0 0 0,0-1 0 0 0,-1 0 1 0 0,0 0-1 0 0,0-1 0 0 0,-1 0 0 0 0,1-1 0 0 0,-2 0 0 0 0,1 0 0 0 0,-1-1 1 0 0,0 0-1 0 0,-1 0 0 0 0,0 0 0 0 0,0-1 0 0 0,-1 0 0 0 0,-1 0 0 0 0,7-21 0 0 0,-2-5 8 0 0,-3 1-1 0 0,4-58 0 0 0,-6-72 2244 0 0,-4 149-1913 0 0,-3 6-152 0 0,-3 12-71 0 0,-5 16-29 0 0,6-1-29 0 0,2 0-1 0 0,-1 0 1 0 0,2 1 0 0 0,1 0-1 0 0,0-1 1 0 0,2 20-1 0 0,16 109 5 0 0,-9-94-299 0 0,18 99-2121 0 0,-4-18-2970 0 0,-17-109 1723 0 0</inkml:trace>
</inkml:ink>
</file>

<file path=ppt/ink/ink9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3.7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91 108 0 0,'0'-3'1419'0'0,"1"-42"5994"0"0,0 42-6493 0 0,-1 3-860 0 0,0-1 0 0 0,-1 1 1 0 0,1-1-1 0 0,0 1 1 0 0,0-1-1 0 0,0 1 0 0 0,0-1 1 0 0,0 1-1 0 0,0 0 1 0 0,1-1-1 0 0,-1 1 1 0 0,0-1-1 0 0,0 1 0 0 0,0-1 1 0 0,0 1-1 0 0,0-1 1 0 0,1 1-1 0 0,-1-1 0 0 0,0 1 1 0 0,0 0-1 0 0,1-1 1 0 0,-1 0-1 0 0,2 3-46 0 0,0-1 0 0 0,0 1 0 0 0,-1-1 0 0 0,1 1 1 0 0,-1-1-1 0 0,1 1 0 0 0,-1 0 0 0 0,0 0 0 0 0,1 0 0 0 0,-1 0 0 0 0,0 0 0 0 0,0 0 0 0 0,0 4 1 0 0,11 37 182 0 0,0 1 8 0 0,-8-37-129 0 0,0 1 1 0 0,0-1-1 0 0,1 0 0 0 0,0 0 0 0 0,0 0 0 0 0,1 0 1 0 0,0-1-1 0 0,0 0 0 0 0,1-1 0 0 0,-1 1 1 0 0,1-1-1 0 0,0 0 0 0 0,1-1 0 0 0,-1 0 0 0 0,1 0 1 0 0,0 0-1 0 0,-1-1 0 0 0,2 0 0 0 0,-1-1 1 0 0,0 0-1 0 0,1 0 0 0 0,-1-1 0 0 0,0 0 0 0 0,1 0 1 0 0,0-1-1 0 0,-1 0 0 0 0,1-1 0 0 0,-1 0 1 0 0,1 0-1 0 0,-1 0 0 0 0,0-1 0 0 0,1-1 0 0 0,-1 0 1 0 0,0 0-1 0 0,0 0 0 0 0,-1-1 0 0 0,1 0 1 0 0,-1 0-1 0 0,0-1 0 0 0,0 0 0 0 0,0 0 1 0 0,6-7-1 0 0,-8 6 10 0 0,0 0 0 0 0,0 0 0 0 0,-1 0 0 0 0,0-1 0 0 0,0 1 0 0 0,-1-1 0 0 0,0 0 0 0 0,0 0 0 0 0,0 0 0 0 0,-1 0 0 0 0,0-1 0 0 0,0 1 0 0 0,-1-1 0 0 0,0 1 0 0 0,-1-1 0 0 0,1 0 0 0 0,-1 1 0 0 0,-1-1 0 0 0,0 1 0 0 0,0-1 0 0 0,-2-9 0 0 0,1 10-66 0 0,0 0 1 0 0,0 0-1 0 0,-1 0 0 0 0,0 0 1 0 0,0 0-1 0 0,-1 1 0 0 0,0-1 1 0 0,0 1-1 0 0,0 0 1 0 0,-1 0-1 0 0,1 1 0 0 0,-1-1 1 0 0,-1 1-1 0 0,1 0 0 0 0,-1 1 1 0 0,0-1-1 0 0,0 1 0 0 0,0 0 1 0 0,-1 1-1 0 0,0-1 1 0 0,-13-4-1 0 0,8 5-416 0 0,-1 1 0 0 0,1 0-1 0 0,-1 0 1 0 0,0 1 0 0 0,1 1 0 0 0,-1 0 0 0 0,0 1-1 0 0,0 0 1 0 0,1 1 0 0 0,-1 0 0 0 0,1 1 0 0 0,-1 1-1 0 0,1 0 1 0 0,0 0 0 0 0,1 1 0 0 0,-23 13 0 0 0,32-16 80 0 0,0-1 0 0 0,0 1 0 0 0,1-1 0 0 0,-1 1 0 0 0,0 0 0 0 0,1 0 0 0 0,-1 0 0 0 0,-1 3 1 0 0,3-5 202 0 0,0 0 1 0 0,-1 1-1 0 0,1-1 1 0 0,0 1 0 0 0,0-1-1 0 0,0 1 1 0 0,-1-1-1 0 0,1 1 1 0 0,0-1-1 0 0,0 1 1 0 0,0-1 0 0 0,0 1-1 0 0,0-1 1 0 0,0 1-1 0 0,0-1 1 0 0,0 1 0 0 0,0-1-1 0 0,0 1 1 0 0,0-1-1 0 0,1 1 1 0 0,-1-1 0 0 0,0 1-1 0 0,0-1 1 0 0,0 1-1 0 0,1-1 1 0 0,-1 0 0 0 0,0 1-1 0 0,1-1 1 0 0,-1 1-1 0 0,0-1 1 0 0,1 0 0 0 0,-1 1-1 0 0,0-1 1 0 0,1 1-1 0 0</inkml:trace>
</inkml:ink>
</file>

<file path=ppt/ink/ink9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4.1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50 872 0 0,'5'-4'550'0'0,"0"1"1"0"0,0-1-1 0 0,1 1 0 0 0,-1-1 0 0 0,1 2 0 0 0,0-1 1 0 0,0 1-1 0 0,0 0 0 0 0,0 0 0 0 0,0 0 0 0 0,10-1 1 0 0,-13 3-445 0 0,0 1 0 0 0,0-1 0 0 0,0 0 0 0 0,0 1 0 0 0,-1 0 0 0 0,1-1 0 0 0,0 1 0 0 0,0 0 0 0 0,-1 1 0 0 0,1-1 0 0 0,0 0 0 0 0,-1 1 0 0 0,1-1 1 0 0,-1 1-1 0 0,0 0 0 0 0,1 0 0 0 0,-1 0 0 0 0,2 3 0 0 0,4 3 115 0 0,-1 1-1 0 0,-1 0 1 0 0,6 10-1 0 0,-12-19-216 0 0,10 18 104 0 0,0 0-1 0 0,-2 1 1 0 0,0 0-1 0 0,8 33 1 0 0,10 80 1815 0 0,-26-127-1735 0 0,1-3 497 0 0,35-33-789 0 0,-19 11 88 0 0,82-103-142 0 0,-85 104 242 0 0,-1-1-1 0 0,-2 0 0 0 0,0-1 0 0 0,14-36 1 0 0,-8 17 23 0 0,-9 55-83 0 0,-2 0-1 0 0,11 31 1 0 0,1 4 270 0 0,-13-38-152 0 0,0 1 1 0 0,0 0-1 0 0,-1-1 0 0 0,4 26 1 0 0,-8-34-110 0 0,1 0 0 0 0,-1 0 1 0 0,0 0-1 0 0,-1 0 0 0 0,1 0 1 0 0,-1 0-1 0 0,0 0 0 0 0,0-1 0 0 0,0 1 1 0 0,0 0-1 0 0,0 0 0 0 0,-1-1 0 0 0,0 1 1 0 0,0-1-1 0 0,0 1 0 0 0,0-1 0 0 0,0 0 1 0 0,-1 0-1 0 0,0 0 0 0 0,-5 5 0 0 0,-4 2-229 0 0,0-1 0 0 0,-1 0-1 0 0,0-1 1 0 0,-1-1-1 0 0,-16 7 1 0 0,-75 24-8024 0 0,87-32 4291 0 0</inkml:trace>
</inkml:ink>
</file>

<file path=ppt/ink/ink9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29:54.9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7 1 1848 0 0,'-6'1'512'0'0,"-34"14"5283"0"0,56-7-4259 0 0,-7-6-1300 0 0,1 0 0 0 0,0-1 1 0 0,-1 1-1 0 0,1-2 0 0 0,11 0 0 0 0,11 1 54 0 0,118 13-876 0 0,-58-5-4019 0 0,-53-5 802 0 0</inkml:trace>
</inkml:ink>
</file>

<file path=ppt/ink/ink9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1:10.3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 623 956 0 0,'-2'0'2532'0'0,"1"0"-2445"0"0,1 0 1 0 0,0 0-1 0 0,-1 0 0 0 0,1 0 1 0 0,0 1-1 0 0,-1-1 1 0 0,1 0-1 0 0,0 0 1 0 0,-1 0-1 0 0,1-1 1 0 0,0 1-1 0 0,-1 0 1 0 0,1 0-1 0 0,0 0 0 0 0,-1 0 1 0 0,1 0-1 0 0,0 0 1 0 0,-1 0-1 0 0,1-1 1 0 0,0 1-1 0 0,-1 0 1 0 0,1 0-1 0 0,0 0 1 0 0,0-1-1 0 0,-1 1 0 0 0,1 0 1 0 0,0 0-1 0 0,0-1 1 0 0,-1 1-1 0 0,1 0 1 0 0,0 0-1 0 0,0-1 1 0 0,0 1-1 0 0,0 0 1 0 0,-1-1-1 0 0,1 1 0 0 0,0 0 1 0 0,0-1-1 0 0,0 1 1 0 0,0 0-1 0 0,0-1 1 0 0,0 0-1 0 0,0 0 49 0 0,1 0 0 0 0,-1-1 0 0 0,1 1 0 0 0,0 0 0 0 0,-1 0 0 0 0,1-1 1 0 0,0 1-1 0 0,0 0 0 0 0,0 0 0 0 0,-1 0 0 0 0,1 0 0 0 0,2-1 0 0 0,27-21 445 0 0,0 1-1 0 0,1 1 1 0 0,59-27 0 0 0,-20 10-111 0 0,359-179 1042 0 0,-99 54-901 0 0,-206 101-637 0 0,-116 58 879 0 0</inkml:trace>
</inkml:ink>
</file>

<file path=ppt/ink/ink9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1:10.7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 70 200 0 0,'-19'-14'4021'0'0,"19"14"-3975"0"0,0-1-1 0 0,-1 1 1 0 0,1-1-1 0 0,0 1 1 0 0,0-1-1 0 0,-1 1 1 0 0,1-1 0 0 0,0 0-1 0 0,0 1 1 0 0,0-1-1 0 0,0 1 1 0 0,0-1-1 0 0,0 0 1 0 0,0 1-1 0 0,0-1 1 0 0,0 1 0 0 0,0-1-1 0 0,0 0 1 0 0,0 1-1 0 0,0-1 1 0 0,0 1-1 0 0,1-1 1 0 0,-1 0-1 0 0,0 1 1 0 0,0-1 0 0 0,1 0-1 0 0,15-13 679 0 0,-10 11-597 0 0,1 0 0 0 0,-1 0 0 0 0,1 0 0 0 0,9-1 0 0 0,1 0 58 0 0,0 2-1 0 0,0 0 1 0 0,0 1 0 0 0,0 1 0 0 0,0 0-1 0 0,0 1 1 0 0,30 6 0 0 0,-35-4-23 0 0,-1-1 1 0 0,0 2 0 0 0,0-1 0 0 0,0 2-1 0 0,0-1 1 0 0,0 1 0 0 0,-1 1-1 0 0,0 0 1 0 0,0 1 0 0 0,-1-1 0 0 0,0 2-1 0 0,9 8 1 0 0,-14-11-62 0 0,0-1-1 0 0,0 1 1 0 0,-1 0 0 0 0,0 0 0 0 0,0 0-1 0 0,0 1 1 0 0,-1-1 0 0 0,0 1-1 0 0,0-1 1 0 0,0 1 0 0 0,-1 0 0 0 0,0 0-1 0 0,1 7 1 0 0,-2-4 16 0 0,0 0 1 0 0,0 0-1 0 0,-1 0 0 0 0,0 1 1 0 0,-1-1-1 0 0,0-1 1 0 0,-6 18-1 0 0,0-7-644 0 0,0-1 1 0 0,-2-1-1 0 0,0 0 1 0 0,-1 0-1 0 0,0-1 1 0 0,-2 0-1 0 0,-17 18 0 0 0,12-18-2132 0 0,-2-2-817 0 0</inkml:trace>
</inkml:ink>
</file>

<file path=ppt/ink/ink9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3-12T09:31:11.2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 0 380 0 0,'0'0'4090'0'0,"3"18"-1229"0"0,-19 78 1525 0 0,10-66-3374 0 0,2 0 0 0 0,-3 44 0 0 0,7-67-887 0 0,0-1 0 0 0,1 0 0 0 0,-1 1-1 0 0,1-1 1 0 0,0 1 0 0 0,1-1 0 0 0,0 0 0 0 0,3 9-1 0 0,-3-11-79 0 0,0-1 0 0 0,0 0 0 0 0,0 0 0 0 0,1 0 0 0 0,-1 0 0 0 0,1-1 0 0 0,-1 1 0 0 0,1-1 0 0 0,0 1 0 0 0,0-1 0 0 0,0 0 0 0 0,0 0 0 0 0,1 0 1 0 0,-1-1-1 0 0,1 1 0 0 0,3 0 0 0 0,4 2-448 0 0,1-1 1 0 0,-1-1 0 0 0,1 0-1 0 0,0 0 1 0 0,17-1 0 0 0,30-2-6553 0 0,-38-1 2086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8A5D28-D965-425E-8004-936A5D1D396F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F38A29-F65E-4473-9B3F-63657FA5B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3696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ining set is big enough but support set is small so we can not build a DNN. Rather than training the model to find similarity between query image and support s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38A29-F65E-4473-9B3F-63657FA5B46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138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f </a:t>
            </a:r>
            <a:r>
              <a:rPr lang="en-US" dirty="0" err="1"/>
              <a:t>d+alpha</a:t>
            </a:r>
            <a:r>
              <a:rPr lang="en-US" dirty="0"/>
              <a:t> – d- are more than 0 then it’s a loss which means the algorithm is not able to distinguish the tiger and elepha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38A29-F65E-4473-9B3F-63657FA5B462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967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37353F-12D8-4657-9A4E-A0162A2EB2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B15430-3C91-4828-AE4B-9D1F71842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6B2CDF-55CF-4204-83CB-C2FBEABDD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04C5CC-4AD1-42E4-9F27-16DD45582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BFCB38-7B01-4D2E-9E6C-517F7DEE5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228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E6FB16-518A-4BED-85A4-B8368A324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07F38FA-7200-4ABC-8885-D708D94ED1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E917AF-9EA6-41C3-B9A3-9DAB10764C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2CAFEB-AF1F-4FD4-BE6F-032CCE795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38A95A-4E07-4E3C-9DE7-C7BFC9980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9409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BD91241-41F7-4764-AC76-BBEC95D21A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9DB112-1407-47C0-AB32-6FA648B0E3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E8A058-30C6-4454-AFD1-CB6FFFA504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D35646-4B5A-46D8-86EF-4D43388FC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A1A26E-C0CF-4F96-95F6-A21E9C73E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5542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655D8-731C-478A-8C89-D637F9C39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B2803A-42BC-4BC4-A1E9-99AF1AB1B6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509E7F-DF51-4295-98B1-F3BE827DC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8EAD14-C1E0-4034-93F5-235FEADADA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3B8D61-3945-4E11-8A25-FDD6569C0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403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D05EF-57B7-43A1-ABBE-DD02181D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434CC-3ECC-465B-A9C1-304D26D0AC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87F66E-B3C6-469B-BD3F-705F3EF158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91E891-4CDD-464F-A72A-18CFC9ED0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E96A60-2843-4DC3-9927-547B691DB9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081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10B44-DCB2-4652-A56C-D7BD2A63C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4E1629-7B22-435D-AF2E-AF0D8159AD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A43959-4BA9-4AD9-AD20-8F30FB8C25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B205D0-A841-4778-9C7D-8B7C9D0702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7E6F58-5726-4C5A-A3B4-C4BA5B2A9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2FA83F-4BEF-4AB9-A0E3-A4250518E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8307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B4E58-C93C-4A04-B1C4-E53DD59C1F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71DC1F-3A0A-4E16-8B4B-7801549680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CEE55B-908C-4782-854F-3A648CB223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2197CF-2F8D-4237-87D5-41FE34BE1C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B93BC66-A77E-4FD5-9B05-D89C8D529F9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1FA0FB0-5120-4DBE-B7F7-0FFC4F067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E62009-456C-4052-A3C8-93F7CEB7B5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4157EE-5CCF-4172-8732-A25D317D6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8481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C0462-3EA3-46D3-A11F-8E6499651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18B01D-23FD-4A3E-BA2F-4D8E00F7F5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1661A2-7DF7-49B8-9458-9705D17BC1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C41227-1102-45D8-8329-5EC0CBC82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917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68FA5A-74F0-43CA-8296-AE0487FE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5599AB-67F5-4F88-85E7-6473A3885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F09A4E-5802-403D-B5F8-A6435F0BE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4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B4DD70-50AF-4E84-AAE0-7952A6F2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1522EF-7E12-40A0-ADE8-6B2A2CB70E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F5197A-8833-403C-B9E3-FE9538FB5A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8E183A-5DFF-48ED-8395-B0FDF7ABDB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5A4FB9-69DA-4D51-B692-9F38AEA97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6723C3-0574-470A-A034-2E6DC5053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592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01829F-CCEE-40F0-A2F0-B5A530BD8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E63385-E4E1-44E7-BE81-814F0C31C9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BA5064-8314-4794-8E39-55792228B4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DCAA9F-F957-4B2C-9414-4E0A27524C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9431D4-9DFB-4E21-B5D2-BE57205BF2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22CA44-2043-46B2-859C-3E4E8FF7D7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6246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089787-1C89-4EC3-A689-F839B1D791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4718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3089787-1C89-4EC3-A689-F839B1D791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B38D69-1335-47A0-BBC6-5D06E161A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933B99-70BE-4677-A402-BDF0FADEEA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B04F6D-B7AF-4563-8908-49D2A6FD8A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E1D4C3-4659-4D70-9131-A413379E1014}" type="datetimeFigureOut">
              <a:rPr lang="en-US" smtClean="0"/>
              <a:t>11/13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236A82-5C9D-412A-98D9-F2C5264D56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04D2C5-AB6A-46BB-BC66-830C968F0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DB8B66-48BD-44BD-8997-28E038FBE3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570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2.png"/><Relationship Id="rId21" Type="http://schemas.openxmlformats.org/officeDocument/2006/relationships/customXml" Target="../ink/ink9.xml"/><Relationship Id="rId42" Type="http://schemas.openxmlformats.org/officeDocument/2006/relationships/image" Target="../media/image20.png"/><Relationship Id="rId47" Type="http://schemas.openxmlformats.org/officeDocument/2006/relationships/customXml" Target="../ink/ink22.xml"/><Relationship Id="rId63" Type="http://schemas.openxmlformats.org/officeDocument/2006/relationships/customXml" Target="../ink/ink30.xml"/><Relationship Id="rId68" Type="http://schemas.openxmlformats.org/officeDocument/2006/relationships/image" Target="../media/image33.png"/><Relationship Id="rId84" Type="http://schemas.openxmlformats.org/officeDocument/2006/relationships/image" Target="../media/image41.png"/><Relationship Id="rId16" Type="http://schemas.openxmlformats.org/officeDocument/2006/relationships/image" Target="../media/image7.png"/><Relationship Id="rId11" Type="http://schemas.openxmlformats.org/officeDocument/2006/relationships/customXml" Target="../ink/ink4.xml"/><Relationship Id="rId32" Type="http://schemas.openxmlformats.org/officeDocument/2006/relationships/image" Target="../media/image15.png"/><Relationship Id="rId37" Type="http://schemas.openxmlformats.org/officeDocument/2006/relationships/customXml" Target="../ink/ink17.xml"/><Relationship Id="rId53" Type="http://schemas.openxmlformats.org/officeDocument/2006/relationships/customXml" Target="../ink/ink25.xml"/><Relationship Id="rId58" Type="http://schemas.openxmlformats.org/officeDocument/2006/relationships/image" Target="../media/image28.png"/><Relationship Id="rId74" Type="http://schemas.openxmlformats.org/officeDocument/2006/relationships/image" Target="../media/image36.png"/><Relationship Id="rId79" Type="http://schemas.openxmlformats.org/officeDocument/2006/relationships/customXml" Target="../ink/ink38.xml"/><Relationship Id="rId5" Type="http://schemas.openxmlformats.org/officeDocument/2006/relationships/customXml" Target="../ink/ink1.xml"/><Relationship Id="rId61" Type="http://schemas.openxmlformats.org/officeDocument/2006/relationships/customXml" Target="../ink/ink29.xml"/><Relationship Id="rId82" Type="http://schemas.openxmlformats.org/officeDocument/2006/relationships/image" Target="../media/image40.png"/><Relationship Id="rId19" Type="http://schemas.openxmlformats.org/officeDocument/2006/relationships/customXml" Target="../ink/ink8.xml"/><Relationship Id="rId14" Type="http://schemas.openxmlformats.org/officeDocument/2006/relationships/image" Target="../media/image6.png"/><Relationship Id="rId22" Type="http://schemas.openxmlformats.org/officeDocument/2006/relationships/image" Target="../media/image10.png"/><Relationship Id="rId27" Type="http://schemas.openxmlformats.org/officeDocument/2006/relationships/customXml" Target="../ink/ink12.xml"/><Relationship Id="rId30" Type="http://schemas.openxmlformats.org/officeDocument/2006/relationships/image" Target="../media/image14.png"/><Relationship Id="rId35" Type="http://schemas.openxmlformats.org/officeDocument/2006/relationships/customXml" Target="../ink/ink16.xml"/><Relationship Id="rId43" Type="http://schemas.openxmlformats.org/officeDocument/2006/relationships/customXml" Target="../ink/ink20.xml"/><Relationship Id="rId48" Type="http://schemas.openxmlformats.org/officeDocument/2006/relationships/image" Target="../media/image23.png"/><Relationship Id="rId56" Type="http://schemas.openxmlformats.org/officeDocument/2006/relationships/image" Target="../media/image27.png"/><Relationship Id="rId64" Type="http://schemas.openxmlformats.org/officeDocument/2006/relationships/image" Target="../media/image31.png"/><Relationship Id="rId69" Type="http://schemas.openxmlformats.org/officeDocument/2006/relationships/customXml" Target="../ink/ink33.xml"/><Relationship Id="rId77" Type="http://schemas.openxmlformats.org/officeDocument/2006/relationships/customXml" Target="../ink/ink37.xml"/><Relationship Id="rId8" Type="http://schemas.openxmlformats.org/officeDocument/2006/relationships/image" Target="../media/image3.png"/><Relationship Id="rId51" Type="http://schemas.openxmlformats.org/officeDocument/2006/relationships/customXml" Target="../ink/ink24.xml"/><Relationship Id="rId72" Type="http://schemas.openxmlformats.org/officeDocument/2006/relationships/image" Target="../media/image35.png"/><Relationship Id="rId80" Type="http://schemas.openxmlformats.org/officeDocument/2006/relationships/image" Target="../media/image39.png"/><Relationship Id="rId3" Type="http://schemas.openxmlformats.org/officeDocument/2006/relationships/oleObject" Target="../embeddings/oleObject2.bin"/><Relationship Id="rId12" Type="http://schemas.openxmlformats.org/officeDocument/2006/relationships/image" Target="../media/image5.png"/><Relationship Id="rId17" Type="http://schemas.openxmlformats.org/officeDocument/2006/relationships/customXml" Target="../ink/ink7.xml"/><Relationship Id="rId25" Type="http://schemas.openxmlformats.org/officeDocument/2006/relationships/customXml" Target="../ink/ink11.xml"/><Relationship Id="rId33" Type="http://schemas.openxmlformats.org/officeDocument/2006/relationships/customXml" Target="../ink/ink15.xml"/><Relationship Id="rId38" Type="http://schemas.openxmlformats.org/officeDocument/2006/relationships/image" Target="../media/image18.png"/><Relationship Id="rId46" Type="http://schemas.openxmlformats.org/officeDocument/2006/relationships/image" Target="../media/image22.png"/><Relationship Id="rId59" Type="http://schemas.openxmlformats.org/officeDocument/2006/relationships/customXml" Target="../ink/ink28.xml"/><Relationship Id="rId67" Type="http://schemas.openxmlformats.org/officeDocument/2006/relationships/customXml" Target="../ink/ink32.xml"/><Relationship Id="rId20" Type="http://schemas.openxmlformats.org/officeDocument/2006/relationships/image" Target="../media/image9.png"/><Relationship Id="rId41" Type="http://schemas.openxmlformats.org/officeDocument/2006/relationships/customXml" Target="../ink/ink19.xml"/><Relationship Id="rId54" Type="http://schemas.openxmlformats.org/officeDocument/2006/relationships/image" Target="../media/image26.png"/><Relationship Id="rId62" Type="http://schemas.openxmlformats.org/officeDocument/2006/relationships/image" Target="../media/image30.png"/><Relationship Id="rId70" Type="http://schemas.openxmlformats.org/officeDocument/2006/relationships/image" Target="../media/image34.png"/><Relationship Id="rId75" Type="http://schemas.openxmlformats.org/officeDocument/2006/relationships/customXml" Target="../ink/ink36.xml"/><Relationship Id="rId83" Type="http://schemas.openxmlformats.org/officeDocument/2006/relationships/customXml" Target="../ink/ink40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5" Type="http://schemas.openxmlformats.org/officeDocument/2006/relationships/customXml" Target="../ink/ink6.xml"/><Relationship Id="rId23" Type="http://schemas.openxmlformats.org/officeDocument/2006/relationships/customXml" Target="../ink/ink10.xml"/><Relationship Id="rId28" Type="http://schemas.openxmlformats.org/officeDocument/2006/relationships/image" Target="../media/image13.png"/><Relationship Id="rId36" Type="http://schemas.openxmlformats.org/officeDocument/2006/relationships/image" Target="../media/image17.png"/><Relationship Id="rId49" Type="http://schemas.openxmlformats.org/officeDocument/2006/relationships/customXml" Target="../ink/ink23.xml"/><Relationship Id="rId57" Type="http://schemas.openxmlformats.org/officeDocument/2006/relationships/customXml" Target="../ink/ink27.xml"/><Relationship Id="rId10" Type="http://schemas.openxmlformats.org/officeDocument/2006/relationships/image" Target="../media/image4.png"/><Relationship Id="rId31" Type="http://schemas.openxmlformats.org/officeDocument/2006/relationships/customXml" Target="../ink/ink14.xml"/><Relationship Id="rId44" Type="http://schemas.openxmlformats.org/officeDocument/2006/relationships/image" Target="../media/image21.png"/><Relationship Id="rId52" Type="http://schemas.openxmlformats.org/officeDocument/2006/relationships/image" Target="../media/image25.png"/><Relationship Id="rId60" Type="http://schemas.openxmlformats.org/officeDocument/2006/relationships/image" Target="../media/image29.png"/><Relationship Id="rId65" Type="http://schemas.openxmlformats.org/officeDocument/2006/relationships/customXml" Target="../ink/ink31.xml"/><Relationship Id="rId73" Type="http://schemas.openxmlformats.org/officeDocument/2006/relationships/customXml" Target="../ink/ink35.xml"/><Relationship Id="rId78" Type="http://schemas.openxmlformats.org/officeDocument/2006/relationships/image" Target="../media/image38.png"/><Relationship Id="rId81" Type="http://schemas.openxmlformats.org/officeDocument/2006/relationships/customXml" Target="../ink/ink39.xml"/><Relationship Id="rId4" Type="http://schemas.openxmlformats.org/officeDocument/2006/relationships/image" Target="../media/image1.emf"/><Relationship Id="rId9" Type="http://schemas.openxmlformats.org/officeDocument/2006/relationships/customXml" Target="../ink/ink3.xml"/><Relationship Id="rId13" Type="http://schemas.openxmlformats.org/officeDocument/2006/relationships/customXml" Target="../ink/ink5.xml"/><Relationship Id="rId18" Type="http://schemas.openxmlformats.org/officeDocument/2006/relationships/image" Target="../media/image8.png"/><Relationship Id="rId39" Type="http://schemas.openxmlformats.org/officeDocument/2006/relationships/customXml" Target="../ink/ink18.xml"/><Relationship Id="rId34" Type="http://schemas.openxmlformats.org/officeDocument/2006/relationships/image" Target="../media/image16.png"/><Relationship Id="rId50" Type="http://schemas.openxmlformats.org/officeDocument/2006/relationships/image" Target="../media/image24.png"/><Relationship Id="rId55" Type="http://schemas.openxmlformats.org/officeDocument/2006/relationships/customXml" Target="../ink/ink26.xml"/><Relationship Id="rId76" Type="http://schemas.openxmlformats.org/officeDocument/2006/relationships/image" Target="../media/image37.png"/><Relationship Id="rId7" Type="http://schemas.openxmlformats.org/officeDocument/2006/relationships/customXml" Target="../ink/ink2.xml"/><Relationship Id="rId71" Type="http://schemas.openxmlformats.org/officeDocument/2006/relationships/customXml" Target="../ink/ink34.xml"/><Relationship Id="rId2" Type="http://schemas.openxmlformats.org/officeDocument/2006/relationships/slideLayout" Target="../slideLayouts/slideLayout2.xml"/><Relationship Id="rId29" Type="http://schemas.openxmlformats.org/officeDocument/2006/relationships/customXml" Target="../ink/ink13.xml"/><Relationship Id="rId24" Type="http://schemas.openxmlformats.org/officeDocument/2006/relationships/image" Target="../media/image11.png"/><Relationship Id="rId40" Type="http://schemas.openxmlformats.org/officeDocument/2006/relationships/image" Target="../media/image19.png"/><Relationship Id="rId45" Type="http://schemas.openxmlformats.org/officeDocument/2006/relationships/customXml" Target="../ink/ink21.xml"/><Relationship Id="rId66" Type="http://schemas.openxmlformats.org/officeDocument/2006/relationships/image" Target="../media/image32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76.png"/><Relationship Id="rId18" Type="http://schemas.openxmlformats.org/officeDocument/2006/relationships/customXml" Target="../ink/ink369.xml"/><Relationship Id="rId26" Type="http://schemas.openxmlformats.org/officeDocument/2006/relationships/customXml" Target="../ink/ink373.xml"/><Relationship Id="rId3" Type="http://schemas.openxmlformats.org/officeDocument/2006/relationships/oleObject" Target="../embeddings/oleObject8.bin"/><Relationship Id="rId21" Type="http://schemas.openxmlformats.org/officeDocument/2006/relationships/image" Target="../media/image380.png"/><Relationship Id="rId7" Type="http://schemas.openxmlformats.org/officeDocument/2006/relationships/image" Target="../media/image373.png"/><Relationship Id="rId12" Type="http://schemas.openxmlformats.org/officeDocument/2006/relationships/customXml" Target="../ink/ink366.xml"/><Relationship Id="rId17" Type="http://schemas.openxmlformats.org/officeDocument/2006/relationships/image" Target="../media/image378.png"/><Relationship Id="rId25" Type="http://schemas.openxmlformats.org/officeDocument/2006/relationships/image" Target="../media/image382.png"/><Relationship Id="rId33" Type="http://schemas.openxmlformats.org/officeDocument/2006/relationships/image" Target="../media/image386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368.xml"/><Relationship Id="rId20" Type="http://schemas.openxmlformats.org/officeDocument/2006/relationships/customXml" Target="../ink/ink370.xml"/><Relationship Id="rId29" Type="http://schemas.openxmlformats.org/officeDocument/2006/relationships/image" Target="../media/image384.png"/><Relationship Id="rId1" Type="http://schemas.openxmlformats.org/officeDocument/2006/relationships/tags" Target="../tags/tag9.xml"/><Relationship Id="rId6" Type="http://schemas.openxmlformats.org/officeDocument/2006/relationships/customXml" Target="../ink/ink363.xml"/><Relationship Id="rId11" Type="http://schemas.openxmlformats.org/officeDocument/2006/relationships/image" Target="../media/image375.png"/><Relationship Id="rId24" Type="http://schemas.openxmlformats.org/officeDocument/2006/relationships/customXml" Target="../ink/ink372.xml"/><Relationship Id="rId32" Type="http://schemas.openxmlformats.org/officeDocument/2006/relationships/customXml" Target="../ink/ink376.xml"/><Relationship Id="rId5" Type="http://schemas.openxmlformats.org/officeDocument/2006/relationships/image" Target="../media/image372.png"/><Relationship Id="rId15" Type="http://schemas.openxmlformats.org/officeDocument/2006/relationships/image" Target="../media/image377.png"/><Relationship Id="rId23" Type="http://schemas.openxmlformats.org/officeDocument/2006/relationships/image" Target="../media/image381.png"/><Relationship Id="rId28" Type="http://schemas.openxmlformats.org/officeDocument/2006/relationships/customXml" Target="../ink/ink374.xml"/><Relationship Id="rId10" Type="http://schemas.openxmlformats.org/officeDocument/2006/relationships/customXml" Target="../ink/ink365.xml"/><Relationship Id="rId19" Type="http://schemas.openxmlformats.org/officeDocument/2006/relationships/image" Target="../media/image379.png"/><Relationship Id="rId31" Type="http://schemas.openxmlformats.org/officeDocument/2006/relationships/image" Target="../media/image385.png"/><Relationship Id="rId4" Type="http://schemas.openxmlformats.org/officeDocument/2006/relationships/image" Target="../media/image1.emf"/><Relationship Id="rId9" Type="http://schemas.openxmlformats.org/officeDocument/2006/relationships/image" Target="../media/image374.png"/><Relationship Id="rId14" Type="http://schemas.openxmlformats.org/officeDocument/2006/relationships/customXml" Target="../ink/ink367.xml"/><Relationship Id="rId22" Type="http://schemas.openxmlformats.org/officeDocument/2006/relationships/customXml" Target="../ink/ink371.xml"/><Relationship Id="rId27" Type="http://schemas.openxmlformats.org/officeDocument/2006/relationships/image" Target="../media/image383.png"/><Relationship Id="rId30" Type="http://schemas.openxmlformats.org/officeDocument/2006/relationships/customXml" Target="../ink/ink375.xml"/><Relationship Id="rId8" Type="http://schemas.openxmlformats.org/officeDocument/2006/relationships/customXml" Target="../ink/ink36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387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388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389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customXml" Target="../ink/ink387.xml"/><Relationship Id="rId21" Type="http://schemas.openxmlformats.org/officeDocument/2006/relationships/image" Target="../media/image398.png"/><Relationship Id="rId42" Type="http://schemas.openxmlformats.org/officeDocument/2006/relationships/customXml" Target="../ink/ink395.xml"/><Relationship Id="rId47" Type="http://schemas.openxmlformats.org/officeDocument/2006/relationships/image" Target="../media/image411.png"/><Relationship Id="rId63" Type="http://schemas.openxmlformats.org/officeDocument/2006/relationships/image" Target="../media/image419.png"/><Relationship Id="rId68" Type="http://schemas.openxmlformats.org/officeDocument/2006/relationships/customXml" Target="../ink/ink408.xml"/><Relationship Id="rId84" Type="http://schemas.openxmlformats.org/officeDocument/2006/relationships/customXml" Target="../ink/ink416.xml"/><Relationship Id="rId89" Type="http://schemas.openxmlformats.org/officeDocument/2006/relationships/image" Target="../media/image432.png"/><Relationship Id="rId16" Type="http://schemas.openxmlformats.org/officeDocument/2006/relationships/customXml" Target="../ink/ink382.xml"/><Relationship Id="rId11" Type="http://schemas.openxmlformats.org/officeDocument/2006/relationships/image" Target="../media/image393.png"/><Relationship Id="rId32" Type="http://schemas.openxmlformats.org/officeDocument/2006/relationships/customXml" Target="../ink/ink390.xml"/><Relationship Id="rId37" Type="http://schemas.openxmlformats.org/officeDocument/2006/relationships/image" Target="../media/image406.png"/><Relationship Id="rId53" Type="http://schemas.openxmlformats.org/officeDocument/2006/relationships/image" Target="../media/image414.png"/><Relationship Id="rId58" Type="http://schemas.openxmlformats.org/officeDocument/2006/relationships/customXml" Target="../ink/ink403.xml"/><Relationship Id="rId74" Type="http://schemas.openxmlformats.org/officeDocument/2006/relationships/customXml" Target="../ink/ink411.xml"/><Relationship Id="rId79" Type="http://schemas.openxmlformats.org/officeDocument/2006/relationships/image" Target="../media/image427.png"/><Relationship Id="rId5" Type="http://schemas.openxmlformats.org/officeDocument/2006/relationships/image" Target="../media/image390.png"/><Relationship Id="rId90" Type="http://schemas.openxmlformats.org/officeDocument/2006/relationships/customXml" Target="../ink/ink419.xml"/><Relationship Id="rId14" Type="http://schemas.openxmlformats.org/officeDocument/2006/relationships/customXml" Target="../ink/ink381.xml"/><Relationship Id="rId22" Type="http://schemas.openxmlformats.org/officeDocument/2006/relationships/customXml" Target="../ink/ink385.xml"/><Relationship Id="rId27" Type="http://schemas.openxmlformats.org/officeDocument/2006/relationships/image" Target="../media/image401.png"/><Relationship Id="rId30" Type="http://schemas.openxmlformats.org/officeDocument/2006/relationships/customXml" Target="../ink/ink389.xml"/><Relationship Id="rId35" Type="http://schemas.openxmlformats.org/officeDocument/2006/relationships/image" Target="../media/image405.png"/><Relationship Id="rId43" Type="http://schemas.openxmlformats.org/officeDocument/2006/relationships/image" Target="../media/image409.png"/><Relationship Id="rId48" Type="http://schemas.openxmlformats.org/officeDocument/2006/relationships/customXml" Target="../ink/ink398.xml"/><Relationship Id="rId56" Type="http://schemas.openxmlformats.org/officeDocument/2006/relationships/customXml" Target="../ink/ink402.xml"/><Relationship Id="rId64" Type="http://schemas.openxmlformats.org/officeDocument/2006/relationships/customXml" Target="../ink/ink406.xml"/><Relationship Id="rId69" Type="http://schemas.openxmlformats.org/officeDocument/2006/relationships/image" Target="../media/image422.png"/><Relationship Id="rId77" Type="http://schemas.openxmlformats.org/officeDocument/2006/relationships/image" Target="../media/image426.png"/><Relationship Id="rId8" Type="http://schemas.openxmlformats.org/officeDocument/2006/relationships/customXml" Target="../ink/ink378.xml"/><Relationship Id="rId51" Type="http://schemas.openxmlformats.org/officeDocument/2006/relationships/image" Target="../media/image413.png"/><Relationship Id="rId72" Type="http://schemas.openxmlformats.org/officeDocument/2006/relationships/customXml" Target="../ink/ink410.xml"/><Relationship Id="rId80" Type="http://schemas.openxmlformats.org/officeDocument/2006/relationships/customXml" Target="../ink/ink414.xml"/><Relationship Id="rId85" Type="http://schemas.openxmlformats.org/officeDocument/2006/relationships/image" Target="../media/image430.png"/><Relationship Id="rId3" Type="http://schemas.openxmlformats.org/officeDocument/2006/relationships/oleObject" Target="../embeddings/oleObject12.bin"/><Relationship Id="rId12" Type="http://schemas.openxmlformats.org/officeDocument/2006/relationships/customXml" Target="../ink/ink380.xml"/><Relationship Id="rId17" Type="http://schemas.openxmlformats.org/officeDocument/2006/relationships/image" Target="../media/image396.png"/><Relationship Id="rId25" Type="http://schemas.openxmlformats.org/officeDocument/2006/relationships/image" Target="../media/image400.png"/><Relationship Id="rId33" Type="http://schemas.openxmlformats.org/officeDocument/2006/relationships/image" Target="../media/image404.png"/><Relationship Id="rId38" Type="http://schemas.openxmlformats.org/officeDocument/2006/relationships/customXml" Target="../ink/ink393.xml"/><Relationship Id="rId46" Type="http://schemas.openxmlformats.org/officeDocument/2006/relationships/customXml" Target="../ink/ink397.xml"/><Relationship Id="rId59" Type="http://schemas.openxmlformats.org/officeDocument/2006/relationships/image" Target="../media/image417.png"/><Relationship Id="rId67" Type="http://schemas.openxmlformats.org/officeDocument/2006/relationships/image" Target="../media/image421.png"/><Relationship Id="rId20" Type="http://schemas.openxmlformats.org/officeDocument/2006/relationships/customXml" Target="../ink/ink384.xml"/><Relationship Id="rId41" Type="http://schemas.openxmlformats.org/officeDocument/2006/relationships/image" Target="../media/image408.png"/><Relationship Id="rId54" Type="http://schemas.openxmlformats.org/officeDocument/2006/relationships/customXml" Target="../ink/ink401.xml"/><Relationship Id="rId62" Type="http://schemas.openxmlformats.org/officeDocument/2006/relationships/customXml" Target="../ink/ink405.xml"/><Relationship Id="rId70" Type="http://schemas.openxmlformats.org/officeDocument/2006/relationships/customXml" Target="../ink/ink409.xml"/><Relationship Id="rId75" Type="http://schemas.openxmlformats.org/officeDocument/2006/relationships/image" Target="../media/image425.png"/><Relationship Id="rId83" Type="http://schemas.openxmlformats.org/officeDocument/2006/relationships/image" Target="../media/image429.png"/><Relationship Id="rId88" Type="http://schemas.openxmlformats.org/officeDocument/2006/relationships/customXml" Target="../ink/ink418.xml"/><Relationship Id="rId91" Type="http://schemas.openxmlformats.org/officeDocument/2006/relationships/image" Target="../media/image433.png"/><Relationship Id="rId1" Type="http://schemas.openxmlformats.org/officeDocument/2006/relationships/tags" Target="../tags/tag13.xml"/><Relationship Id="rId6" Type="http://schemas.openxmlformats.org/officeDocument/2006/relationships/customXml" Target="../ink/ink377.xml"/><Relationship Id="rId15" Type="http://schemas.openxmlformats.org/officeDocument/2006/relationships/image" Target="../media/image395.png"/><Relationship Id="rId23" Type="http://schemas.openxmlformats.org/officeDocument/2006/relationships/image" Target="../media/image399.png"/><Relationship Id="rId28" Type="http://schemas.openxmlformats.org/officeDocument/2006/relationships/customXml" Target="../ink/ink388.xml"/><Relationship Id="rId36" Type="http://schemas.openxmlformats.org/officeDocument/2006/relationships/customXml" Target="../ink/ink392.xml"/><Relationship Id="rId49" Type="http://schemas.openxmlformats.org/officeDocument/2006/relationships/image" Target="../media/image412.png"/><Relationship Id="rId57" Type="http://schemas.openxmlformats.org/officeDocument/2006/relationships/image" Target="../media/image416.png"/><Relationship Id="rId10" Type="http://schemas.openxmlformats.org/officeDocument/2006/relationships/customXml" Target="../ink/ink379.xml"/><Relationship Id="rId31" Type="http://schemas.openxmlformats.org/officeDocument/2006/relationships/image" Target="../media/image403.png"/><Relationship Id="rId44" Type="http://schemas.openxmlformats.org/officeDocument/2006/relationships/customXml" Target="../ink/ink396.xml"/><Relationship Id="rId52" Type="http://schemas.openxmlformats.org/officeDocument/2006/relationships/customXml" Target="../ink/ink400.xml"/><Relationship Id="rId60" Type="http://schemas.openxmlformats.org/officeDocument/2006/relationships/customXml" Target="../ink/ink404.xml"/><Relationship Id="rId65" Type="http://schemas.openxmlformats.org/officeDocument/2006/relationships/image" Target="../media/image420.png"/><Relationship Id="rId73" Type="http://schemas.openxmlformats.org/officeDocument/2006/relationships/image" Target="../media/image424.png"/><Relationship Id="rId78" Type="http://schemas.openxmlformats.org/officeDocument/2006/relationships/customXml" Target="../ink/ink413.xml"/><Relationship Id="rId81" Type="http://schemas.openxmlformats.org/officeDocument/2006/relationships/image" Target="../media/image428.png"/><Relationship Id="rId86" Type="http://schemas.openxmlformats.org/officeDocument/2006/relationships/customXml" Target="../ink/ink417.xml"/><Relationship Id="rId4" Type="http://schemas.openxmlformats.org/officeDocument/2006/relationships/image" Target="../media/image1.emf"/><Relationship Id="rId9" Type="http://schemas.openxmlformats.org/officeDocument/2006/relationships/image" Target="../media/image392.png"/><Relationship Id="rId13" Type="http://schemas.openxmlformats.org/officeDocument/2006/relationships/image" Target="../media/image394.png"/><Relationship Id="rId18" Type="http://schemas.openxmlformats.org/officeDocument/2006/relationships/customXml" Target="../ink/ink383.xml"/><Relationship Id="rId39" Type="http://schemas.openxmlformats.org/officeDocument/2006/relationships/image" Target="../media/image407.png"/><Relationship Id="rId34" Type="http://schemas.openxmlformats.org/officeDocument/2006/relationships/customXml" Target="../ink/ink391.xml"/><Relationship Id="rId50" Type="http://schemas.openxmlformats.org/officeDocument/2006/relationships/customXml" Target="../ink/ink399.xml"/><Relationship Id="rId55" Type="http://schemas.openxmlformats.org/officeDocument/2006/relationships/image" Target="../media/image415.png"/><Relationship Id="rId76" Type="http://schemas.openxmlformats.org/officeDocument/2006/relationships/customXml" Target="../ink/ink412.xml"/><Relationship Id="rId7" Type="http://schemas.openxmlformats.org/officeDocument/2006/relationships/image" Target="../media/image391.png"/><Relationship Id="rId71" Type="http://schemas.openxmlformats.org/officeDocument/2006/relationships/image" Target="../media/image423.png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402.png"/><Relationship Id="rId24" Type="http://schemas.openxmlformats.org/officeDocument/2006/relationships/customXml" Target="../ink/ink386.xml"/><Relationship Id="rId40" Type="http://schemas.openxmlformats.org/officeDocument/2006/relationships/customXml" Target="../ink/ink394.xml"/><Relationship Id="rId45" Type="http://schemas.openxmlformats.org/officeDocument/2006/relationships/image" Target="../media/image410.png"/><Relationship Id="rId66" Type="http://schemas.openxmlformats.org/officeDocument/2006/relationships/customXml" Target="../ink/ink407.xml"/><Relationship Id="rId87" Type="http://schemas.openxmlformats.org/officeDocument/2006/relationships/image" Target="../media/image431.png"/><Relationship Id="rId61" Type="http://schemas.openxmlformats.org/officeDocument/2006/relationships/image" Target="../media/image418.png"/><Relationship Id="rId82" Type="http://schemas.openxmlformats.org/officeDocument/2006/relationships/customXml" Target="../ink/ink415.xml"/><Relationship Id="rId19" Type="http://schemas.openxmlformats.org/officeDocument/2006/relationships/image" Target="../media/image397.png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customXml" Target="../ink/ink430.xml"/><Relationship Id="rId21" Type="http://schemas.openxmlformats.org/officeDocument/2006/relationships/image" Target="../media/image442.png"/><Relationship Id="rId42" Type="http://schemas.openxmlformats.org/officeDocument/2006/relationships/customXml" Target="../ink/ink438.xml"/><Relationship Id="rId47" Type="http://schemas.openxmlformats.org/officeDocument/2006/relationships/image" Target="../media/image455.png"/><Relationship Id="rId63" Type="http://schemas.openxmlformats.org/officeDocument/2006/relationships/image" Target="../media/image463.png"/><Relationship Id="rId68" Type="http://schemas.openxmlformats.org/officeDocument/2006/relationships/customXml" Target="../ink/ink451.xml"/><Relationship Id="rId16" Type="http://schemas.openxmlformats.org/officeDocument/2006/relationships/customXml" Target="../ink/ink425.xml"/><Relationship Id="rId11" Type="http://schemas.openxmlformats.org/officeDocument/2006/relationships/image" Target="../media/image437.png"/><Relationship Id="rId32" Type="http://schemas.openxmlformats.org/officeDocument/2006/relationships/customXml" Target="../ink/ink433.xml"/><Relationship Id="rId37" Type="http://schemas.openxmlformats.org/officeDocument/2006/relationships/image" Target="../media/image450.png"/><Relationship Id="rId53" Type="http://schemas.openxmlformats.org/officeDocument/2006/relationships/image" Target="../media/image458.png"/><Relationship Id="rId58" Type="http://schemas.openxmlformats.org/officeDocument/2006/relationships/customXml" Target="../ink/ink446.xml"/><Relationship Id="rId74" Type="http://schemas.openxmlformats.org/officeDocument/2006/relationships/customXml" Target="../ink/ink454.xml"/><Relationship Id="rId79" Type="http://schemas.openxmlformats.org/officeDocument/2006/relationships/image" Target="../media/image471.png"/><Relationship Id="rId5" Type="http://schemas.openxmlformats.org/officeDocument/2006/relationships/image" Target="../media/image434.png"/><Relationship Id="rId61" Type="http://schemas.openxmlformats.org/officeDocument/2006/relationships/image" Target="../media/image462.png"/><Relationship Id="rId19" Type="http://schemas.openxmlformats.org/officeDocument/2006/relationships/image" Target="../media/image441.png"/><Relationship Id="rId14" Type="http://schemas.openxmlformats.org/officeDocument/2006/relationships/customXml" Target="../ink/ink424.xml"/><Relationship Id="rId22" Type="http://schemas.openxmlformats.org/officeDocument/2006/relationships/customXml" Target="../ink/ink428.xml"/><Relationship Id="rId27" Type="http://schemas.openxmlformats.org/officeDocument/2006/relationships/image" Target="../media/image445.png"/><Relationship Id="rId30" Type="http://schemas.openxmlformats.org/officeDocument/2006/relationships/customXml" Target="../ink/ink432.xml"/><Relationship Id="rId35" Type="http://schemas.openxmlformats.org/officeDocument/2006/relationships/image" Target="../media/image449.png"/><Relationship Id="rId43" Type="http://schemas.openxmlformats.org/officeDocument/2006/relationships/image" Target="../media/image453.png"/><Relationship Id="rId48" Type="http://schemas.openxmlformats.org/officeDocument/2006/relationships/customXml" Target="../ink/ink441.xml"/><Relationship Id="rId56" Type="http://schemas.openxmlformats.org/officeDocument/2006/relationships/customXml" Target="../ink/ink445.xml"/><Relationship Id="rId64" Type="http://schemas.openxmlformats.org/officeDocument/2006/relationships/customXml" Target="../ink/ink449.xml"/><Relationship Id="rId69" Type="http://schemas.openxmlformats.org/officeDocument/2006/relationships/image" Target="../media/image466.png"/><Relationship Id="rId77" Type="http://schemas.openxmlformats.org/officeDocument/2006/relationships/image" Target="../media/image470.png"/><Relationship Id="rId8" Type="http://schemas.openxmlformats.org/officeDocument/2006/relationships/customXml" Target="../ink/ink421.xml"/><Relationship Id="rId51" Type="http://schemas.openxmlformats.org/officeDocument/2006/relationships/image" Target="../media/image457.png"/><Relationship Id="rId72" Type="http://schemas.openxmlformats.org/officeDocument/2006/relationships/customXml" Target="../ink/ink453.xml"/><Relationship Id="rId80" Type="http://schemas.openxmlformats.org/officeDocument/2006/relationships/customXml" Target="../ink/ink457.xml"/><Relationship Id="rId3" Type="http://schemas.openxmlformats.org/officeDocument/2006/relationships/oleObject" Target="../embeddings/oleObject13.bin"/><Relationship Id="rId12" Type="http://schemas.openxmlformats.org/officeDocument/2006/relationships/customXml" Target="../ink/ink423.xml"/><Relationship Id="rId17" Type="http://schemas.openxmlformats.org/officeDocument/2006/relationships/image" Target="../media/image440.png"/><Relationship Id="rId25" Type="http://schemas.openxmlformats.org/officeDocument/2006/relationships/image" Target="../media/image444.png"/><Relationship Id="rId33" Type="http://schemas.openxmlformats.org/officeDocument/2006/relationships/image" Target="../media/image448.png"/><Relationship Id="rId38" Type="http://schemas.openxmlformats.org/officeDocument/2006/relationships/customXml" Target="../ink/ink436.xml"/><Relationship Id="rId46" Type="http://schemas.openxmlformats.org/officeDocument/2006/relationships/customXml" Target="../ink/ink440.xml"/><Relationship Id="rId59" Type="http://schemas.openxmlformats.org/officeDocument/2006/relationships/image" Target="../media/image461.png"/><Relationship Id="rId67" Type="http://schemas.openxmlformats.org/officeDocument/2006/relationships/image" Target="../media/image465.png"/><Relationship Id="rId20" Type="http://schemas.openxmlformats.org/officeDocument/2006/relationships/customXml" Target="../ink/ink427.xml"/><Relationship Id="rId41" Type="http://schemas.openxmlformats.org/officeDocument/2006/relationships/image" Target="../media/image452.png"/><Relationship Id="rId54" Type="http://schemas.openxmlformats.org/officeDocument/2006/relationships/customXml" Target="../ink/ink444.xml"/><Relationship Id="rId62" Type="http://schemas.openxmlformats.org/officeDocument/2006/relationships/customXml" Target="../ink/ink448.xml"/><Relationship Id="rId70" Type="http://schemas.openxmlformats.org/officeDocument/2006/relationships/customXml" Target="../ink/ink452.xml"/><Relationship Id="rId75" Type="http://schemas.openxmlformats.org/officeDocument/2006/relationships/image" Target="../media/image469.png"/><Relationship Id="rId1" Type="http://schemas.openxmlformats.org/officeDocument/2006/relationships/tags" Target="../tags/tag14.xml"/><Relationship Id="rId6" Type="http://schemas.openxmlformats.org/officeDocument/2006/relationships/customXml" Target="../ink/ink420.xml"/><Relationship Id="rId15" Type="http://schemas.openxmlformats.org/officeDocument/2006/relationships/image" Target="../media/image439.png"/><Relationship Id="rId23" Type="http://schemas.openxmlformats.org/officeDocument/2006/relationships/image" Target="../media/image443.png"/><Relationship Id="rId28" Type="http://schemas.openxmlformats.org/officeDocument/2006/relationships/customXml" Target="../ink/ink431.xml"/><Relationship Id="rId36" Type="http://schemas.openxmlformats.org/officeDocument/2006/relationships/customXml" Target="../ink/ink435.xml"/><Relationship Id="rId49" Type="http://schemas.openxmlformats.org/officeDocument/2006/relationships/image" Target="../media/image456.png"/><Relationship Id="rId57" Type="http://schemas.openxmlformats.org/officeDocument/2006/relationships/image" Target="../media/image460.png"/><Relationship Id="rId10" Type="http://schemas.openxmlformats.org/officeDocument/2006/relationships/customXml" Target="../ink/ink422.xml"/><Relationship Id="rId31" Type="http://schemas.openxmlformats.org/officeDocument/2006/relationships/image" Target="../media/image447.png"/><Relationship Id="rId44" Type="http://schemas.openxmlformats.org/officeDocument/2006/relationships/customXml" Target="../ink/ink439.xml"/><Relationship Id="rId52" Type="http://schemas.openxmlformats.org/officeDocument/2006/relationships/customXml" Target="../ink/ink443.xml"/><Relationship Id="rId60" Type="http://schemas.openxmlformats.org/officeDocument/2006/relationships/customXml" Target="../ink/ink447.xml"/><Relationship Id="rId65" Type="http://schemas.openxmlformats.org/officeDocument/2006/relationships/image" Target="../media/image464.png"/><Relationship Id="rId73" Type="http://schemas.openxmlformats.org/officeDocument/2006/relationships/image" Target="../media/image468.png"/><Relationship Id="rId78" Type="http://schemas.openxmlformats.org/officeDocument/2006/relationships/customXml" Target="../ink/ink456.xml"/><Relationship Id="rId81" Type="http://schemas.openxmlformats.org/officeDocument/2006/relationships/image" Target="../media/image472.png"/><Relationship Id="rId4" Type="http://schemas.openxmlformats.org/officeDocument/2006/relationships/image" Target="../media/image1.emf"/><Relationship Id="rId9" Type="http://schemas.openxmlformats.org/officeDocument/2006/relationships/image" Target="../media/image436.png"/><Relationship Id="rId13" Type="http://schemas.openxmlformats.org/officeDocument/2006/relationships/image" Target="../media/image438.png"/><Relationship Id="rId18" Type="http://schemas.openxmlformats.org/officeDocument/2006/relationships/customXml" Target="../ink/ink426.xml"/><Relationship Id="rId39" Type="http://schemas.openxmlformats.org/officeDocument/2006/relationships/image" Target="../media/image451.png"/><Relationship Id="rId34" Type="http://schemas.openxmlformats.org/officeDocument/2006/relationships/customXml" Target="../ink/ink434.xml"/><Relationship Id="rId50" Type="http://schemas.openxmlformats.org/officeDocument/2006/relationships/customXml" Target="../ink/ink442.xml"/><Relationship Id="rId55" Type="http://schemas.openxmlformats.org/officeDocument/2006/relationships/image" Target="../media/image459.png"/><Relationship Id="rId76" Type="http://schemas.openxmlformats.org/officeDocument/2006/relationships/customXml" Target="../ink/ink455.xml"/><Relationship Id="rId7" Type="http://schemas.openxmlformats.org/officeDocument/2006/relationships/image" Target="../media/image435.png"/><Relationship Id="rId71" Type="http://schemas.openxmlformats.org/officeDocument/2006/relationships/image" Target="../media/image467.png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446.png"/><Relationship Id="rId24" Type="http://schemas.openxmlformats.org/officeDocument/2006/relationships/customXml" Target="../ink/ink429.xml"/><Relationship Id="rId40" Type="http://schemas.openxmlformats.org/officeDocument/2006/relationships/customXml" Target="../ink/ink437.xml"/><Relationship Id="rId45" Type="http://schemas.openxmlformats.org/officeDocument/2006/relationships/image" Target="../media/image454.png"/><Relationship Id="rId66" Type="http://schemas.openxmlformats.org/officeDocument/2006/relationships/customXml" Target="../ink/ink45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473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474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475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532.png"/><Relationship Id="rId21" Type="http://schemas.openxmlformats.org/officeDocument/2006/relationships/image" Target="../media/image484.png"/><Relationship Id="rId42" Type="http://schemas.openxmlformats.org/officeDocument/2006/relationships/customXml" Target="../ink/ink476.xml"/><Relationship Id="rId63" Type="http://schemas.openxmlformats.org/officeDocument/2006/relationships/image" Target="../media/image505.png"/><Relationship Id="rId84" Type="http://schemas.openxmlformats.org/officeDocument/2006/relationships/customXml" Target="../ink/ink497.xml"/><Relationship Id="rId138" Type="http://schemas.openxmlformats.org/officeDocument/2006/relationships/customXml" Target="../ink/ink524.xml"/><Relationship Id="rId107" Type="http://schemas.openxmlformats.org/officeDocument/2006/relationships/image" Target="../media/image527.png"/><Relationship Id="rId11" Type="http://schemas.openxmlformats.org/officeDocument/2006/relationships/image" Target="../media/image479.png"/><Relationship Id="rId32" Type="http://schemas.openxmlformats.org/officeDocument/2006/relationships/customXml" Target="../ink/ink471.xml"/><Relationship Id="rId37" Type="http://schemas.openxmlformats.org/officeDocument/2006/relationships/image" Target="../media/image492.png"/><Relationship Id="rId53" Type="http://schemas.openxmlformats.org/officeDocument/2006/relationships/image" Target="../media/image500.png"/><Relationship Id="rId58" Type="http://schemas.openxmlformats.org/officeDocument/2006/relationships/customXml" Target="../ink/ink484.xml"/><Relationship Id="rId74" Type="http://schemas.openxmlformats.org/officeDocument/2006/relationships/customXml" Target="../ink/ink492.xml"/><Relationship Id="rId79" Type="http://schemas.openxmlformats.org/officeDocument/2006/relationships/image" Target="../media/image513.png"/><Relationship Id="rId102" Type="http://schemas.openxmlformats.org/officeDocument/2006/relationships/customXml" Target="../ink/ink506.xml"/><Relationship Id="rId123" Type="http://schemas.openxmlformats.org/officeDocument/2006/relationships/image" Target="../media/image535.png"/><Relationship Id="rId128" Type="http://schemas.openxmlformats.org/officeDocument/2006/relationships/customXml" Target="../ink/ink519.xml"/><Relationship Id="rId5" Type="http://schemas.openxmlformats.org/officeDocument/2006/relationships/image" Target="../media/image476.png"/><Relationship Id="rId90" Type="http://schemas.openxmlformats.org/officeDocument/2006/relationships/customXml" Target="../ink/ink500.xml"/><Relationship Id="rId95" Type="http://schemas.openxmlformats.org/officeDocument/2006/relationships/image" Target="../media/image521.png"/><Relationship Id="rId22" Type="http://schemas.openxmlformats.org/officeDocument/2006/relationships/customXml" Target="../ink/ink466.xml"/><Relationship Id="rId27" Type="http://schemas.openxmlformats.org/officeDocument/2006/relationships/image" Target="../media/image487.png"/><Relationship Id="rId43" Type="http://schemas.openxmlformats.org/officeDocument/2006/relationships/image" Target="../media/image495.png"/><Relationship Id="rId48" Type="http://schemas.openxmlformats.org/officeDocument/2006/relationships/customXml" Target="../ink/ink479.xml"/><Relationship Id="rId64" Type="http://schemas.openxmlformats.org/officeDocument/2006/relationships/customXml" Target="../ink/ink487.xml"/><Relationship Id="rId69" Type="http://schemas.openxmlformats.org/officeDocument/2006/relationships/image" Target="../media/image508.png"/><Relationship Id="rId113" Type="http://schemas.openxmlformats.org/officeDocument/2006/relationships/image" Target="../media/image530.png"/><Relationship Id="rId118" Type="http://schemas.openxmlformats.org/officeDocument/2006/relationships/customXml" Target="../ink/ink514.xml"/><Relationship Id="rId134" Type="http://schemas.openxmlformats.org/officeDocument/2006/relationships/customXml" Target="../ink/ink522.xml"/><Relationship Id="rId139" Type="http://schemas.openxmlformats.org/officeDocument/2006/relationships/image" Target="../media/image543.png"/><Relationship Id="rId80" Type="http://schemas.openxmlformats.org/officeDocument/2006/relationships/customXml" Target="../ink/ink495.xml"/><Relationship Id="rId85" Type="http://schemas.openxmlformats.org/officeDocument/2006/relationships/image" Target="../media/image516.png"/><Relationship Id="rId12" Type="http://schemas.openxmlformats.org/officeDocument/2006/relationships/customXml" Target="../ink/ink461.xml"/><Relationship Id="rId17" Type="http://schemas.openxmlformats.org/officeDocument/2006/relationships/image" Target="../media/image482.png"/><Relationship Id="rId33" Type="http://schemas.openxmlformats.org/officeDocument/2006/relationships/image" Target="../media/image490.png"/><Relationship Id="rId38" Type="http://schemas.openxmlformats.org/officeDocument/2006/relationships/customXml" Target="../ink/ink474.xml"/><Relationship Id="rId59" Type="http://schemas.openxmlformats.org/officeDocument/2006/relationships/image" Target="../media/image503.png"/><Relationship Id="rId103" Type="http://schemas.openxmlformats.org/officeDocument/2006/relationships/image" Target="../media/image525.png"/><Relationship Id="rId108" Type="http://schemas.openxmlformats.org/officeDocument/2006/relationships/customXml" Target="../ink/ink509.xml"/><Relationship Id="rId124" Type="http://schemas.openxmlformats.org/officeDocument/2006/relationships/customXml" Target="../ink/ink517.xml"/><Relationship Id="rId129" Type="http://schemas.openxmlformats.org/officeDocument/2006/relationships/image" Target="../media/image538.png"/><Relationship Id="rId54" Type="http://schemas.openxmlformats.org/officeDocument/2006/relationships/customXml" Target="../ink/ink482.xml"/><Relationship Id="rId70" Type="http://schemas.openxmlformats.org/officeDocument/2006/relationships/customXml" Target="../ink/ink490.xml"/><Relationship Id="rId75" Type="http://schemas.openxmlformats.org/officeDocument/2006/relationships/image" Target="../media/image511.png"/><Relationship Id="rId91" Type="http://schemas.openxmlformats.org/officeDocument/2006/relationships/image" Target="../media/image519.png"/><Relationship Id="rId96" Type="http://schemas.openxmlformats.org/officeDocument/2006/relationships/customXml" Target="../ink/ink503.xml"/><Relationship Id="rId140" Type="http://schemas.openxmlformats.org/officeDocument/2006/relationships/customXml" Target="../ink/ink525.xml"/><Relationship Id="rId1" Type="http://schemas.openxmlformats.org/officeDocument/2006/relationships/tags" Target="../tags/tag18.xml"/><Relationship Id="rId6" Type="http://schemas.openxmlformats.org/officeDocument/2006/relationships/customXml" Target="../ink/ink458.xml"/><Relationship Id="rId23" Type="http://schemas.openxmlformats.org/officeDocument/2006/relationships/image" Target="../media/image485.png"/><Relationship Id="rId28" Type="http://schemas.openxmlformats.org/officeDocument/2006/relationships/customXml" Target="../ink/ink469.xml"/><Relationship Id="rId49" Type="http://schemas.openxmlformats.org/officeDocument/2006/relationships/image" Target="../media/image498.png"/><Relationship Id="rId114" Type="http://schemas.openxmlformats.org/officeDocument/2006/relationships/customXml" Target="../ink/ink512.xml"/><Relationship Id="rId119" Type="http://schemas.openxmlformats.org/officeDocument/2006/relationships/image" Target="../media/image533.png"/><Relationship Id="rId44" Type="http://schemas.openxmlformats.org/officeDocument/2006/relationships/customXml" Target="../ink/ink477.xml"/><Relationship Id="rId60" Type="http://schemas.openxmlformats.org/officeDocument/2006/relationships/customXml" Target="../ink/ink485.xml"/><Relationship Id="rId65" Type="http://schemas.openxmlformats.org/officeDocument/2006/relationships/image" Target="../media/image506.png"/><Relationship Id="rId81" Type="http://schemas.openxmlformats.org/officeDocument/2006/relationships/image" Target="../media/image514.png"/><Relationship Id="rId86" Type="http://schemas.openxmlformats.org/officeDocument/2006/relationships/customXml" Target="../ink/ink498.xml"/><Relationship Id="rId130" Type="http://schemas.openxmlformats.org/officeDocument/2006/relationships/customXml" Target="../ink/ink520.xml"/><Relationship Id="rId135" Type="http://schemas.openxmlformats.org/officeDocument/2006/relationships/image" Target="../media/image541.png"/><Relationship Id="rId13" Type="http://schemas.openxmlformats.org/officeDocument/2006/relationships/image" Target="../media/image480.png"/><Relationship Id="rId18" Type="http://schemas.openxmlformats.org/officeDocument/2006/relationships/customXml" Target="../ink/ink464.xml"/><Relationship Id="rId39" Type="http://schemas.openxmlformats.org/officeDocument/2006/relationships/image" Target="../media/image493.png"/><Relationship Id="rId109" Type="http://schemas.openxmlformats.org/officeDocument/2006/relationships/image" Target="../media/image528.png"/><Relationship Id="rId34" Type="http://schemas.openxmlformats.org/officeDocument/2006/relationships/customXml" Target="../ink/ink472.xml"/><Relationship Id="rId50" Type="http://schemas.openxmlformats.org/officeDocument/2006/relationships/customXml" Target="../ink/ink480.xml"/><Relationship Id="rId55" Type="http://schemas.openxmlformats.org/officeDocument/2006/relationships/image" Target="../media/image501.png"/><Relationship Id="rId76" Type="http://schemas.openxmlformats.org/officeDocument/2006/relationships/customXml" Target="../ink/ink493.xml"/><Relationship Id="rId97" Type="http://schemas.openxmlformats.org/officeDocument/2006/relationships/image" Target="../media/image522.png"/><Relationship Id="rId104" Type="http://schemas.openxmlformats.org/officeDocument/2006/relationships/customXml" Target="../ink/ink507.xml"/><Relationship Id="rId120" Type="http://schemas.openxmlformats.org/officeDocument/2006/relationships/customXml" Target="../ink/ink515.xml"/><Relationship Id="rId125" Type="http://schemas.openxmlformats.org/officeDocument/2006/relationships/image" Target="../media/image536.png"/><Relationship Id="rId141" Type="http://schemas.openxmlformats.org/officeDocument/2006/relationships/image" Target="../media/image544.png"/><Relationship Id="rId7" Type="http://schemas.openxmlformats.org/officeDocument/2006/relationships/image" Target="../media/image477.png"/><Relationship Id="rId71" Type="http://schemas.openxmlformats.org/officeDocument/2006/relationships/image" Target="../media/image509.png"/><Relationship Id="rId92" Type="http://schemas.openxmlformats.org/officeDocument/2006/relationships/customXml" Target="../ink/ink501.xml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488.png"/><Relationship Id="rId24" Type="http://schemas.openxmlformats.org/officeDocument/2006/relationships/customXml" Target="../ink/ink467.xml"/><Relationship Id="rId40" Type="http://schemas.openxmlformats.org/officeDocument/2006/relationships/customXml" Target="../ink/ink475.xml"/><Relationship Id="rId45" Type="http://schemas.openxmlformats.org/officeDocument/2006/relationships/image" Target="../media/image496.png"/><Relationship Id="rId66" Type="http://schemas.openxmlformats.org/officeDocument/2006/relationships/customXml" Target="../ink/ink488.xml"/><Relationship Id="rId87" Type="http://schemas.openxmlformats.org/officeDocument/2006/relationships/image" Target="../media/image517.png"/><Relationship Id="rId110" Type="http://schemas.openxmlformats.org/officeDocument/2006/relationships/customXml" Target="../ink/ink510.xml"/><Relationship Id="rId115" Type="http://schemas.openxmlformats.org/officeDocument/2006/relationships/image" Target="../media/image531.png"/><Relationship Id="rId131" Type="http://schemas.openxmlformats.org/officeDocument/2006/relationships/image" Target="../media/image539.png"/><Relationship Id="rId136" Type="http://schemas.openxmlformats.org/officeDocument/2006/relationships/customXml" Target="../ink/ink523.xml"/><Relationship Id="rId61" Type="http://schemas.openxmlformats.org/officeDocument/2006/relationships/image" Target="../media/image504.png"/><Relationship Id="rId82" Type="http://schemas.openxmlformats.org/officeDocument/2006/relationships/customXml" Target="../ink/ink496.xml"/><Relationship Id="rId19" Type="http://schemas.openxmlformats.org/officeDocument/2006/relationships/image" Target="../media/image483.png"/><Relationship Id="rId14" Type="http://schemas.openxmlformats.org/officeDocument/2006/relationships/customXml" Target="../ink/ink462.xml"/><Relationship Id="rId30" Type="http://schemas.openxmlformats.org/officeDocument/2006/relationships/customXml" Target="../ink/ink470.xml"/><Relationship Id="rId35" Type="http://schemas.openxmlformats.org/officeDocument/2006/relationships/image" Target="../media/image491.png"/><Relationship Id="rId56" Type="http://schemas.openxmlformats.org/officeDocument/2006/relationships/customXml" Target="../ink/ink483.xml"/><Relationship Id="rId77" Type="http://schemas.openxmlformats.org/officeDocument/2006/relationships/image" Target="../media/image512.png"/><Relationship Id="rId100" Type="http://schemas.openxmlformats.org/officeDocument/2006/relationships/customXml" Target="../ink/ink505.xml"/><Relationship Id="rId105" Type="http://schemas.openxmlformats.org/officeDocument/2006/relationships/image" Target="../media/image526.png"/><Relationship Id="rId126" Type="http://schemas.openxmlformats.org/officeDocument/2006/relationships/customXml" Target="../ink/ink518.xml"/><Relationship Id="rId8" Type="http://schemas.openxmlformats.org/officeDocument/2006/relationships/customXml" Target="../ink/ink459.xml"/><Relationship Id="rId51" Type="http://schemas.openxmlformats.org/officeDocument/2006/relationships/image" Target="../media/image499.png"/><Relationship Id="rId72" Type="http://schemas.openxmlformats.org/officeDocument/2006/relationships/customXml" Target="../ink/ink491.xml"/><Relationship Id="rId93" Type="http://schemas.openxmlformats.org/officeDocument/2006/relationships/image" Target="../media/image520.png"/><Relationship Id="rId98" Type="http://schemas.openxmlformats.org/officeDocument/2006/relationships/customXml" Target="../ink/ink504.xml"/><Relationship Id="rId121" Type="http://schemas.openxmlformats.org/officeDocument/2006/relationships/image" Target="../media/image534.png"/><Relationship Id="rId3" Type="http://schemas.openxmlformats.org/officeDocument/2006/relationships/oleObject" Target="../embeddings/oleObject17.bin"/><Relationship Id="rId25" Type="http://schemas.openxmlformats.org/officeDocument/2006/relationships/image" Target="../media/image486.png"/><Relationship Id="rId46" Type="http://schemas.openxmlformats.org/officeDocument/2006/relationships/customXml" Target="../ink/ink478.xml"/><Relationship Id="rId67" Type="http://schemas.openxmlformats.org/officeDocument/2006/relationships/image" Target="../media/image507.png"/><Relationship Id="rId116" Type="http://schemas.openxmlformats.org/officeDocument/2006/relationships/customXml" Target="../ink/ink513.xml"/><Relationship Id="rId137" Type="http://schemas.openxmlformats.org/officeDocument/2006/relationships/image" Target="../media/image542.png"/><Relationship Id="rId20" Type="http://schemas.openxmlformats.org/officeDocument/2006/relationships/customXml" Target="../ink/ink465.xml"/><Relationship Id="rId41" Type="http://schemas.openxmlformats.org/officeDocument/2006/relationships/image" Target="../media/image494.png"/><Relationship Id="rId62" Type="http://schemas.openxmlformats.org/officeDocument/2006/relationships/customXml" Target="../ink/ink486.xml"/><Relationship Id="rId83" Type="http://schemas.openxmlformats.org/officeDocument/2006/relationships/image" Target="../media/image515.png"/><Relationship Id="rId88" Type="http://schemas.openxmlformats.org/officeDocument/2006/relationships/customXml" Target="../ink/ink499.xml"/><Relationship Id="rId111" Type="http://schemas.openxmlformats.org/officeDocument/2006/relationships/image" Target="../media/image529.png"/><Relationship Id="rId132" Type="http://schemas.openxmlformats.org/officeDocument/2006/relationships/customXml" Target="../ink/ink521.xml"/><Relationship Id="rId15" Type="http://schemas.openxmlformats.org/officeDocument/2006/relationships/image" Target="../media/image481.png"/><Relationship Id="rId36" Type="http://schemas.openxmlformats.org/officeDocument/2006/relationships/customXml" Target="../ink/ink473.xml"/><Relationship Id="rId57" Type="http://schemas.openxmlformats.org/officeDocument/2006/relationships/image" Target="../media/image502.png"/><Relationship Id="rId106" Type="http://schemas.openxmlformats.org/officeDocument/2006/relationships/customXml" Target="../ink/ink508.xml"/><Relationship Id="rId127" Type="http://schemas.openxmlformats.org/officeDocument/2006/relationships/image" Target="../media/image537.png"/><Relationship Id="rId10" Type="http://schemas.openxmlformats.org/officeDocument/2006/relationships/customXml" Target="../ink/ink460.xml"/><Relationship Id="rId31" Type="http://schemas.openxmlformats.org/officeDocument/2006/relationships/image" Target="../media/image489.png"/><Relationship Id="rId52" Type="http://schemas.openxmlformats.org/officeDocument/2006/relationships/customXml" Target="../ink/ink481.xml"/><Relationship Id="rId73" Type="http://schemas.openxmlformats.org/officeDocument/2006/relationships/image" Target="../media/image510.png"/><Relationship Id="rId78" Type="http://schemas.openxmlformats.org/officeDocument/2006/relationships/customXml" Target="../ink/ink494.xml"/><Relationship Id="rId94" Type="http://schemas.openxmlformats.org/officeDocument/2006/relationships/customXml" Target="../ink/ink502.xml"/><Relationship Id="rId99" Type="http://schemas.openxmlformats.org/officeDocument/2006/relationships/image" Target="../media/image523.png"/><Relationship Id="rId101" Type="http://schemas.openxmlformats.org/officeDocument/2006/relationships/image" Target="../media/image524.png"/><Relationship Id="rId122" Type="http://schemas.openxmlformats.org/officeDocument/2006/relationships/customXml" Target="../ink/ink516.xml"/><Relationship Id="rId4" Type="http://schemas.openxmlformats.org/officeDocument/2006/relationships/image" Target="../media/image1.emf"/><Relationship Id="rId9" Type="http://schemas.openxmlformats.org/officeDocument/2006/relationships/image" Target="../media/image478.png"/><Relationship Id="rId26" Type="http://schemas.openxmlformats.org/officeDocument/2006/relationships/customXml" Target="../ink/ink468.xml"/><Relationship Id="rId47" Type="http://schemas.openxmlformats.org/officeDocument/2006/relationships/image" Target="../media/image497.png"/><Relationship Id="rId68" Type="http://schemas.openxmlformats.org/officeDocument/2006/relationships/customXml" Target="../ink/ink489.xml"/><Relationship Id="rId89" Type="http://schemas.openxmlformats.org/officeDocument/2006/relationships/image" Target="../media/image518.png"/><Relationship Id="rId112" Type="http://schemas.openxmlformats.org/officeDocument/2006/relationships/customXml" Target="../ink/ink511.xml"/><Relationship Id="rId133" Type="http://schemas.openxmlformats.org/officeDocument/2006/relationships/image" Target="../media/image540.png"/><Relationship Id="rId16" Type="http://schemas.openxmlformats.org/officeDocument/2006/relationships/customXml" Target="../ink/ink463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customXml" Target="../ink/ink51.xml"/><Relationship Id="rId21" Type="http://schemas.openxmlformats.org/officeDocument/2006/relationships/image" Target="../media/image50.png"/><Relationship Id="rId42" Type="http://schemas.openxmlformats.org/officeDocument/2006/relationships/customXml" Target="../ink/ink59.xml"/><Relationship Id="rId47" Type="http://schemas.openxmlformats.org/officeDocument/2006/relationships/image" Target="../media/image63.png"/><Relationship Id="rId63" Type="http://schemas.openxmlformats.org/officeDocument/2006/relationships/image" Target="../media/image71.png"/><Relationship Id="rId68" Type="http://schemas.openxmlformats.org/officeDocument/2006/relationships/customXml" Target="../ink/ink72.xml"/><Relationship Id="rId16" Type="http://schemas.openxmlformats.org/officeDocument/2006/relationships/customXml" Target="../ink/ink46.xml"/><Relationship Id="rId11" Type="http://schemas.openxmlformats.org/officeDocument/2006/relationships/image" Target="../media/image45.png"/><Relationship Id="rId32" Type="http://schemas.openxmlformats.org/officeDocument/2006/relationships/customXml" Target="../ink/ink54.xml"/><Relationship Id="rId37" Type="http://schemas.openxmlformats.org/officeDocument/2006/relationships/image" Target="../media/image58.png"/><Relationship Id="rId53" Type="http://schemas.openxmlformats.org/officeDocument/2006/relationships/image" Target="../media/image66.png"/><Relationship Id="rId58" Type="http://schemas.openxmlformats.org/officeDocument/2006/relationships/customXml" Target="../ink/ink67.xml"/><Relationship Id="rId74" Type="http://schemas.openxmlformats.org/officeDocument/2006/relationships/customXml" Target="../ink/ink75.xml"/><Relationship Id="rId79" Type="http://schemas.openxmlformats.org/officeDocument/2006/relationships/image" Target="../media/image79.png"/><Relationship Id="rId5" Type="http://schemas.openxmlformats.org/officeDocument/2006/relationships/image" Target="../media/image42.png"/><Relationship Id="rId61" Type="http://schemas.openxmlformats.org/officeDocument/2006/relationships/image" Target="../media/image70.png"/><Relationship Id="rId19" Type="http://schemas.openxmlformats.org/officeDocument/2006/relationships/image" Target="../media/image49.png"/><Relationship Id="rId14" Type="http://schemas.openxmlformats.org/officeDocument/2006/relationships/customXml" Target="../ink/ink45.xml"/><Relationship Id="rId22" Type="http://schemas.openxmlformats.org/officeDocument/2006/relationships/customXml" Target="../ink/ink49.xml"/><Relationship Id="rId27" Type="http://schemas.openxmlformats.org/officeDocument/2006/relationships/image" Target="../media/image53.png"/><Relationship Id="rId30" Type="http://schemas.openxmlformats.org/officeDocument/2006/relationships/customXml" Target="../ink/ink53.xml"/><Relationship Id="rId35" Type="http://schemas.openxmlformats.org/officeDocument/2006/relationships/image" Target="../media/image57.png"/><Relationship Id="rId43" Type="http://schemas.openxmlformats.org/officeDocument/2006/relationships/image" Target="../media/image61.png"/><Relationship Id="rId48" Type="http://schemas.openxmlformats.org/officeDocument/2006/relationships/customXml" Target="../ink/ink62.xml"/><Relationship Id="rId56" Type="http://schemas.openxmlformats.org/officeDocument/2006/relationships/customXml" Target="../ink/ink66.xml"/><Relationship Id="rId64" Type="http://schemas.openxmlformats.org/officeDocument/2006/relationships/customXml" Target="../ink/ink70.xml"/><Relationship Id="rId69" Type="http://schemas.openxmlformats.org/officeDocument/2006/relationships/image" Target="../media/image74.png"/><Relationship Id="rId77" Type="http://schemas.openxmlformats.org/officeDocument/2006/relationships/image" Target="../media/image78.png"/><Relationship Id="rId8" Type="http://schemas.openxmlformats.org/officeDocument/2006/relationships/customXml" Target="../ink/ink42.xml"/><Relationship Id="rId51" Type="http://schemas.openxmlformats.org/officeDocument/2006/relationships/image" Target="../media/image65.png"/><Relationship Id="rId72" Type="http://schemas.openxmlformats.org/officeDocument/2006/relationships/customXml" Target="../ink/ink74.xml"/><Relationship Id="rId80" Type="http://schemas.openxmlformats.org/officeDocument/2006/relationships/customXml" Target="../ink/ink78.xml"/><Relationship Id="rId3" Type="http://schemas.openxmlformats.org/officeDocument/2006/relationships/oleObject" Target="../embeddings/oleObject3.bin"/><Relationship Id="rId12" Type="http://schemas.openxmlformats.org/officeDocument/2006/relationships/customXml" Target="../ink/ink44.xml"/><Relationship Id="rId17" Type="http://schemas.openxmlformats.org/officeDocument/2006/relationships/image" Target="../media/image48.png"/><Relationship Id="rId25" Type="http://schemas.openxmlformats.org/officeDocument/2006/relationships/image" Target="../media/image52.png"/><Relationship Id="rId33" Type="http://schemas.openxmlformats.org/officeDocument/2006/relationships/image" Target="../media/image56.png"/><Relationship Id="rId38" Type="http://schemas.openxmlformats.org/officeDocument/2006/relationships/customXml" Target="../ink/ink57.xml"/><Relationship Id="rId46" Type="http://schemas.openxmlformats.org/officeDocument/2006/relationships/customXml" Target="../ink/ink61.xml"/><Relationship Id="rId59" Type="http://schemas.openxmlformats.org/officeDocument/2006/relationships/image" Target="../media/image69.png"/><Relationship Id="rId67" Type="http://schemas.openxmlformats.org/officeDocument/2006/relationships/image" Target="../media/image73.png"/><Relationship Id="rId20" Type="http://schemas.openxmlformats.org/officeDocument/2006/relationships/customXml" Target="../ink/ink48.xml"/><Relationship Id="rId41" Type="http://schemas.openxmlformats.org/officeDocument/2006/relationships/image" Target="../media/image60.png"/><Relationship Id="rId54" Type="http://schemas.openxmlformats.org/officeDocument/2006/relationships/customXml" Target="../ink/ink65.xml"/><Relationship Id="rId62" Type="http://schemas.openxmlformats.org/officeDocument/2006/relationships/customXml" Target="../ink/ink69.xml"/><Relationship Id="rId70" Type="http://schemas.openxmlformats.org/officeDocument/2006/relationships/customXml" Target="../ink/ink73.xml"/><Relationship Id="rId75" Type="http://schemas.openxmlformats.org/officeDocument/2006/relationships/image" Target="../media/image77.png"/><Relationship Id="rId1" Type="http://schemas.openxmlformats.org/officeDocument/2006/relationships/tags" Target="../tags/tag4.xml"/><Relationship Id="rId6" Type="http://schemas.openxmlformats.org/officeDocument/2006/relationships/customXml" Target="../ink/ink41.xml"/><Relationship Id="rId15" Type="http://schemas.openxmlformats.org/officeDocument/2006/relationships/image" Target="../media/image47.png"/><Relationship Id="rId23" Type="http://schemas.openxmlformats.org/officeDocument/2006/relationships/image" Target="../media/image51.png"/><Relationship Id="rId28" Type="http://schemas.openxmlformats.org/officeDocument/2006/relationships/customXml" Target="../ink/ink52.xml"/><Relationship Id="rId36" Type="http://schemas.openxmlformats.org/officeDocument/2006/relationships/customXml" Target="../ink/ink56.xml"/><Relationship Id="rId49" Type="http://schemas.openxmlformats.org/officeDocument/2006/relationships/image" Target="../media/image64.png"/><Relationship Id="rId57" Type="http://schemas.openxmlformats.org/officeDocument/2006/relationships/image" Target="../media/image68.png"/><Relationship Id="rId10" Type="http://schemas.openxmlformats.org/officeDocument/2006/relationships/customXml" Target="../ink/ink43.xml"/><Relationship Id="rId31" Type="http://schemas.openxmlformats.org/officeDocument/2006/relationships/image" Target="../media/image55.png"/><Relationship Id="rId44" Type="http://schemas.openxmlformats.org/officeDocument/2006/relationships/customXml" Target="../ink/ink60.xml"/><Relationship Id="rId52" Type="http://schemas.openxmlformats.org/officeDocument/2006/relationships/customXml" Target="../ink/ink64.xml"/><Relationship Id="rId60" Type="http://schemas.openxmlformats.org/officeDocument/2006/relationships/customXml" Target="../ink/ink68.xml"/><Relationship Id="rId65" Type="http://schemas.openxmlformats.org/officeDocument/2006/relationships/image" Target="../media/image72.png"/><Relationship Id="rId73" Type="http://schemas.openxmlformats.org/officeDocument/2006/relationships/image" Target="../media/image76.png"/><Relationship Id="rId78" Type="http://schemas.openxmlformats.org/officeDocument/2006/relationships/customXml" Target="../ink/ink77.xml"/><Relationship Id="rId81" Type="http://schemas.openxmlformats.org/officeDocument/2006/relationships/image" Target="../media/image80.png"/><Relationship Id="rId4" Type="http://schemas.openxmlformats.org/officeDocument/2006/relationships/image" Target="../media/image1.emf"/><Relationship Id="rId9" Type="http://schemas.openxmlformats.org/officeDocument/2006/relationships/image" Target="../media/image44.png"/><Relationship Id="rId13" Type="http://schemas.openxmlformats.org/officeDocument/2006/relationships/image" Target="../media/image46.png"/><Relationship Id="rId18" Type="http://schemas.openxmlformats.org/officeDocument/2006/relationships/customXml" Target="../ink/ink47.xml"/><Relationship Id="rId39" Type="http://schemas.openxmlformats.org/officeDocument/2006/relationships/image" Target="../media/image59.png"/><Relationship Id="rId34" Type="http://schemas.openxmlformats.org/officeDocument/2006/relationships/customXml" Target="../ink/ink55.xml"/><Relationship Id="rId50" Type="http://schemas.openxmlformats.org/officeDocument/2006/relationships/customXml" Target="../ink/ink63.xml"/><Relationship Id="rId55" Type="http://schemas.openxmlformats.org/officeDocument/2006/relationships/image" Target="../media/image67.png"/><Relationship Id="rId76" Type="http://schemas.openxmlformats.org/officeDocument/2006/relationships/customXml" Target="../ink/ink76.xml"/><Relationship Id="rId7" Type="http://schemas.openxmlformats.org/officeDocument/2006/relationships/image" Target="../media/image43.png"/><Relationship Id="rId71" Type="http://schemas.openxmlformats.org/officeDocument/2006/relationships/image" Target="../media/image75.png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54.png"/><Relationship Id="rId24" Type="http://schemas.openxmlformats.org/officeDocument/2006/relationships/customXml" Target="../ink/ink50.xml"/><Relationship Id="rId40" Type="http://schemas.openxmlformats.org/officeDocument/2006/relationships/customXml" Target="../ink/ink58.xml"/><Relationship Id="rId45" Type="http://schemas.openxmlformats.org/officeDocument/2006/relationships/image" Target="../media/image62.png"/><Relationship Id="rId66" Type="http://schemas.openxmlformats.org/officeDocument/2006/relationships/customXml" Target="../ink/ink7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545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546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ustomXml" Target="../ink/ink527.xml"/><Relationship Id="rId13" Type="http://schemas.openxmlformats.org/officeDocument/2006/relationships/image" Target="../media/image551.png"/><Relationship Id="rId18" Type="http://schemas.openxmlformats.org/officeDocument/2006/relationships/customXml" Target="../ink/ink532.xml"/><Relationship Id="rId3" Type="http://schemas.openxmlformats.org/officeDocument/2006/relationships/oleObject" Target="../embeddings/oleObject22.bin"/><Relationship Id="rId21" Type="http://schemas.openxmlformats.org/officeDocument/2006/relationships/image" Target="../media/image555.png"/><Relationship Id="rId7" Type="http://schemas.openxmlformats.org/officeDocument/2006/relationships/image" Target="../media/image548.png"/><Relationship Id="rId12" Type="http://schemas.openxmlformats.org/officeDocument/2006/relationships/customXml" Target="../ink/ink529.xml"/><Relationship Id="rId17" Type="http://schemas.openxmlformats.org/officeDocument/2006/relationships/image" Target="../media/image553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531.xml"/><Relationship Id="rId20" Type="http://schemas.openxmlformats.org/officeDocument/2006/relationships/customXml" Target="../ink/ink533.xml"/><Relationship Id="rId1" Type="http://schemas.openxmlformats.org/officeDocument/2006/relationships/tags" Target="../tags/tag23.xml"/><Relationship Id="rId6" Type="http://schemas.openxmlformats.org/officeDocument/2006/relationships/customXml" Target="../ink/ink526.xml"/><Relationship Id="rId11" Type="http://schemas.openxmlformats.org/officeDocument/2006/relationships/image" Target="../media/image550.png"/><Relationship Id="rId5" Type="http://schemas.openxmlformats.org/officeDocument/2006/relationships/image" Target="../media/image547.png"/><Relationship Id="rId15" Type="http://schemas.openxmlformats.org/officeDocument/2006/relationships/image" Target="../media/image552.png"/><Relationship Id="rId10" Type="http://schemas.openxmlformats.org/officeDocument/2006/relationships/customXml" Target="../ink/ink528.xml"/><Relationship Id="rId19" Type="http://schemas.openxmlformats.org/officeDocument/2006/relationships/image" Target="../media/image554.png"/><Relationship Id="rId4" Type="http://schemas.openxmlformats.org/officeDocument/2006/relationships/image" Target="../media/image1.emf"/><Relationship Id="rId9" Type="http://schemas.openxmlformats.org/officeDocument/2006/relationships/image" Target="../media/image549.png"/><Relationship Id="rId14" Type="http://schemas.openxmlformats.org/officeDocument/2006/relationships/customXml" Target="../ink/ink53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556.pn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customXml" Target="../ink/ink544.xml"/><Relationship Id="rId21" Type="http://schemas.openxmlformats.org/officeDocument/2006/relationships/image" Target="../media/image565.png"/><Relationship Id="rId42" Type="http://schemas.openxmlformats.org/officeDocument/2006/relationships/customXml" Target="../ink/ink552.xml"/><Relationship Id="rId47" Type="http://schemas.openxmlformats.org/officeDocument/2006/relationships/image" Target="../media/image578.png"/><Relationship Id="rId63" Type="http://schemas.openxmlformats.org/officeDocument/2006/relationships/image" Target="../media/image586.png"/><Relationship Id="rId68" Type="http://schemas.openxmlformats.org/officeDocument/2006/relationships/customXml" Target="../ink/ink565.xml"/><Relationship Id="rId84" Type="http://schemas.openxmlformats.org/officeDocument/2006/relationships/customXml" Target="../ink/ink573.xml"/><Relationship Id="rId89" Type="http://schemas.openxmlformats.org/officeDocument/2006/relationships/image" Target="../media/image599.png"/><Relationship Id="rId112" Type="http://schemas.openxmlformats.org/officeDocument/2006/relationships/customXml" Target="../ink/ink587.xml"/><Relationship Id="rId16" Type="http://schemas.openxmlformats.org/officeDocument/2006/relationships/customXml" Target="../ink/ink539.xml"/><Relationship Id="rId107" Type="http://schemas.openxmlformats.org/officeDocument/2006/relationships/image" Target="../media/image608.png"/><Relationship Id="rId11" Type="http://schemas.openxmlformats.org/officeDocument/2006/relationships/image" Target="../media/image560.png"/><Relationship Id="rId32" Type="http://schemas.openxmlformats.org/officeDocument/2006/relationships/customXml" Target="../ink/ink547.xml"/><Relationship Id="rId37" Type="http://schemas.openxmlformats.org/officeDocument/2006/relationships/image" Target="../media/image573.png"/><Relationship Id="rId53" Type="http://schemas.openxmlformats.org/officeDocument/2006/relationships/image" Target="../media/image581.png"/><Relationship Id="rId58" Type="http://schemas.openxmlformats.org/officeDocument/2006/relationships/customXml" Target="../ink/ink560.xml"/><Relationship Id="rId74" Type="http://schemas.openxmlformats.org/officeDocument/2006/relationships/customXml" Target="../ink/ink568.xml"/><Relationship Id="rId79" Type="http://schemas.openxmlformats.org/officeDocument/2006/relationships/image" Target="../media/image594.png"/><Relationship Id="rId102" Type="http://schemas.openxmlformats.org/officeDocument/2006/relationships/customXml" Target="../ink/ink582.xml"/><Relationship Id="rId5" Type="http://schemas.openxmlformats.org/officeDocument/2006/relationships/image" Target="../media/image557.png"/><Relationship Id="rId90" Type="http://schemas.openxmlformats.org/officeDocument/2006/relationships/customXml" Target="../ink/ink576.xml"/><Relationship Id="rId95" Type="http://schemas.openxmlformats.org/officeDocument/2006/relationships/image" Target="../media/image602.png"/><Relationship Id="rId22" Type="http://schemas.openxmlformats.org/officeDocument/2006/relationships/customXml" Target="../ink/ink542.xml"/><Relationship Id="rId27" Type="http://schemas.openxmlformats.org/officeDocument/2006/relationships/image" Target="../media/image568.png"/><Relationship Id="rId43" Type="http://schemas.openxmlformats.org/officeDocument/2006/relationships/image" Target="../media/image576.png"/><Relationship Id="rId48" Type="http://schemas.openxmlformats.org/officeDocument/2006/relationships/customXml" Target="../ink/ink555.xml"/><Relationship Id="rId64" Type="http://schemas.openxmlformats.org/officeDocument/2006/relationships/customXml" Target="../ink/ink563.xml"/><Relationship Id="rId69" Type="http://schemas.openxmlformats.org/officeDocument/2006/relationships/image" Target="../media/image589.png"/><Relationship Id="rId113" Type="http://schemas.openxmlformats.org/officeDocument/2006/relationships/image" Target="../media/image611.png"/><Relationship Id="rId80" Type="http://schemas.openxmlformats.org/officeDocument/2006/relationships/customXml" Target="../ink/ink571.xml"/><Relationship Id="rId85" Type="http://schemas.openxmlformats.org/officeDocument/2006/relationships/image" Target="../media/image597.png"/><Relationship Id="rId12" Type="http://schemas.openxmlformats.org/officeDocument/2006/relationships/customXml" Target="../ink/ink537.xml"/><Relationship Id="rId17" Type="http://schemas.openxmlformats.org/officeDocument/2006/relationships/image" Target="../media/image563.png"/><Relationship Id="rId33" Type="http://schemas.openxmlformats.org/officeDocument/2006/relationships/image" Target="../media/image571.png"/><Relationship Id="rId38" Type="http://schemas.openxmlformats.org/officeDocument/2006/relationships/customXml" Target="../ink/ink550.xml"/><Relationship Id="rId59" Type="http://schemas.openxmlformats.org/officeDocument/2006/relationships/image" Target="../media/image584.png"/><Relationship Id="rId103" Type="http://schemas.openxmlformats.org/officeDocument/2006/relationships/image" Target="../media/image606.png"/><Relationship Id="rId108" Type="http://schemas.openxmlformats.org/officeDocument/2006/relationships/customXml" Target="../ink/ink585.xml"/><Relationship Id="rId54" Type="http://schemas.openxmlformats.org/officeDocument/2006/relationships/customXml" Target="../ink/ink558.xml"/><Relationship Id="rId70" Type="http://schemas.openxmlformats.org/officeDocument/2006/relationships/customXml" Target="../ink/ink566.xml"/><Relationship Id="rId75" Type="http://schemas.openxmlformats.org/officeDocument/2006/relationships/image" Target="../media/image592.png"/><Relationship Id="rId91" Type="http://schemas.openxmlformats.org/officeDocument/2006/relationships/image" Target="../media/image600.png"/><Relationship Id="rId96" Type="http://schemas.openxmlformats.org/officeDocument/2006/relationships/customXml" Target="../ink/ink579.xml"/><Relationship Id="rId1" Type="http://schemas.openxmlformats.org/officeDocument/2006/relationships/tags" Target="../tags/tag25.xml"/><Relationship Id="rId6" Type="http://schemas.openxmlformats.org/officeDocument/2006/relationships/customXml" Target="../ink/ink534.xml"/><Relationship Id="rId15" Type="http://schemas.openxmlformats.org/officeDocument/2006/relationships/image" Target="../media/image562.png"/><Relationship Id="rId23" Type="http://schemas.openxmlformats.org/officeDocument/2006/relationships/image" Target="../media/image566.png"/><Relationship Id="rId28" Type="http://schemas.openxmlformats.org/officeDocument/2006/relationships/customXml" Target="../ink/ink545.xml"/><Relationship Id="rId36" Type="http://schemas.openxmlformats.org/officeDocument/2006/relationships/customXml" Target="../ink/ink549.xml"/><Relationship Id="rId49" Type="http://schemas.openxmlformats.org/officeDocument/2006/relationships/image" Target="../media/image579.png"/><Relationship Id="rId57" Type="http://schemas.openxmlformats.org/officeDocument/2006/relationships/image" Target="../media/image583.png"/><Relationship Id="rId106" Type="http://schemas.openxmlformats.org/officeDocument/2006/relationships/customXml" Target="../ink/ink584.xml"/><Relationship Id="rId114" Type="http://schemas.openxmlformats.org/officeDocument/2006/relationships/customXml" Target="../ink/ink588.xml"/><Relationship Id="rId10" Type="http://schemas.openxmlformats.org/officeDocument/2006/relationships/customXml" Target="../ink/ink536.xml"/><Relationship Id="rId31" Type="http://schemas.openxmlformats.org/officeDocument/2006/relationships/image" Target="../media/image570.png"/><Relationship Id="rId44" Type="http://schemas.openxmlformats.org/officeDocument/2006/relationships/customXml" Target="../ink/ink553.xml"/><Relationship Id="rId52" Type="http://schemas.openxmlformats.org/officeDocument/2006/relationships/customXml" Target="../ink/ink557.xml"/><Relationship Id="rId60" Type="http://schemas.openxmlformats.org/officeDocument/2006/relationships/customXml" Target="../ink/ink561.xml"/><Relationship Id="rId65" Type="http://schemas.openxmlformats.org/officeDocument/2006/relationships/image" Target="../media/image587.png"/><Relationship Id="rId73" Type="http://schemas.openxmlformats.org/officeDocument/2006/relationships/image" Target="../media/image591.png"/><Relationship Id="rId78" Type="http://schemas.openxmlformats.org/officeDocument/2006/relationships/customXml" Target="../ink/ink570.xml"/><Relationship Id="rId81" Type="http://schemas.openxmlformats.org/officeDocument/2006/relationships/image" Target="../media/image595.png"/><Relationship Id="rId86" Type="http://schemas.openxmlformats.org/officeDocument/2006/relationships/customXml" Target="../ink/ink574.xml"/><Relationship Id="rId94" Type="http://schemas.openxmlformats.org/officeDocument/2006/relationships/customXml" Target="../ink/ink578.xml"/><Relationship Id="rId99" Type="http://schemas.openxmlformats.org/officeDocument/2006/relationships/image" Target="../media/image604.png"/><Relationship Id="rId101" Type="http://schemas.openxmlformats.org/officeDocument/2006/relationships/image" Target="../media/image605.png"/><Relationship Id="rId4" Type="http://schemas.openxmlformats.org/officeDocument/2006/relationships/image" Target="../media/image1.emf"/><Relationship Id="rId9" Type="http://schemas.openxmlformats.org/officeDocument/2006/relationships/image" Target="../media/image559.png"/><Relationship Id="rId13" Type="http://schemas.openxmlformats.org/officeDocument/2006/relationships/image" Target="../media/image561.png"/><Relationship Id="rId18" Type="http://schemas.openxmlformats.org/officeDocument/2006/relationships/customXml" Target="../ink/ink540.xml"/><Relationship Id="rId39" Type="http://schemas.openxmlformats.org/officeDocument/2006/relationships/image" Target="../media/image574.png"/><Relationship Id="rId109" Type="http://schemas.openxmlformats.org/officeDocument/2006/relationships/image" Target="../media/image609.png"/><Relationship Id="rId34" Type="http://schemas.openxmlformats.org/officeDocument/2006/relationships/customXml" Target="../ink/ink548.xml"/><Relationship Id="rId50" Type="http://schemas.openxmlformats.org/officeDocument/2006/relationships/customXml" Target="../ink/ink556.xml"/><Relationship Id="rId55" Type="http://schemas.openxmlformats.org/officeDocument/2006/relationships/image" Target="../media/image582.png"/><Relationship Id="rId76" Type="http://schemas.openxmlformats.org/officeDocument/2006/relationships/customXml" Target="../ink/ink569.xml"/><Relationship Id="rId97" Type="http://schemas.openxmlformats.org/officeDocument/2006/relationships/image" Target="../media/image603.png"/><Relationship Id="rId104" Type="http://schemas.openxmlformats.org/officeDocument/2006/relationships/customXml" Target="../ink/ink583.xml"/><Relationship Id="rId7" Type="http://schemas.openxmlformats.org/officeDocument/2006/relationships/image" Target="../media/image558.png"/><Relationship Id="rId71" Type="http://schemas.openxmlformats.org/officeDocument/2006/relationships/image" Target="../media/image590.png"/><Relationship Id="rId92" Type="http://schemas.openxmlformats.org/officeDocument/2006/relationships/customXml" Target="../ink/ink577.xml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569.png"/><Relationship Id="rId24" Type="http://schemas.openxmlformats.org/officeDocument/2006/relationships/customXml" Target="../ink/ink543.xml"/><Relationship Id="rId40" Type="http://schemas.openxmlformats.org/officeDocument/2006/relationships/customXml" Target="../ink/ink551.xml"/><Relationship Id="rId45" Type="http://schemas.openxmlformats.org/officeDocument/2006/relationships/image" Target="../media/image577.png"/><Relationship Id="rId66" Type="http://schemas.openxmlformats.org/officeDocument/2006/relationships/customXml" Target="../ink/ink564.xml"/><Relationship Id="rId87" Type="http://schemas.openxmlformats.org/officeDocument/2006/relationships/image" Target="../media/image598.png"/><Relationship Id="rId110" Type="http://schemas.openxmlformats.org/officeDocument/2006/relationships/customXml" Target="../ink/ink586.xml"/><Relationship Id="rId115" Type="http://schemas.openxmlformats.org/officeDocument/2006/relationships/image" Target="../media/image612.png"/><Relationship Id="rId61" Type="http://schemas.openxmlformats.org/officeDocument/2006/relationships/image" Target="../media/image585.png"/><Relationship Id="rId82" Type="http://schemas.openxmlformats.org/officeDocument/2006/relationships/customXml" Target="../ink/ink572.xml"/><Relationship Id="rId19" Type="http://schemas.openxmlformats.org/officeDocument/2006/relationships/image" Target="../media/image564.png"/><Relationship Id="rId14" Type="http://schemas.openxmlformats.org/officeDocument/2006/relationships/customXml" Target="../ink/ink538.xml"/><Relationship Id="rId30" Type="http://schemas.openxmlformats.org/officeDocument/2006/relationships/customXml" Target="../ink/ink546.xml"/><Relationship Id="rId35" Type="http://schemas.openxmlformats.org/officeDocument/2006/relationships/image" Target="../media/image572.png"/><Relationship Id="rId56" Type="http://schemas.openxmlformats.org/officeDocument/2006/relationships/customXml" Target="../ink/ink559.xml"/><Relationship Id="rId77" Type="http://schemas.openxmlformats.org/officeDocument/2006/relationships/image" Target="../media/image593.png"/><Relationship Id="rId100" Type="http://schemas.openxmlformats.org/officeDocument/2006/relationships/customXml" Target="../ink/ink581.xml"/><Relationship Id="rId105" Type="http://schemas.openxmlformats.org/officeDocument/2006/relationships/image" Target="../media/image607.png"/><Relationship Id="rId8" Type="http://schemas.openxmlformats.org/officeDocument/2006/relationships/customXml" Target="../ink/ink535.xml"/><Relationship Id="rId51" Type="http://schemas.openxmlformats.org/officeDocument/2006/relationships/image" Target="../media/image580.png"/><Relationship Id="rId72" Type="http://schemas.openxmlformats.org/officeDocument/2006/relationships/customXml" Target="../ink/ink567.xml"/><Relationship Id="rId93" Type="http://schemas.openxmlformats.org/officeDocument/2006/relationships/image" Target="../media/image601.png"/><Relationship Id="rId98" Type="http://schemas.openxmlformats.org/officeDocument/2006/relationships/customXml" Target="../ink/ink580.xml"/><Relationship Id="rId3" Type="http://schemas.openxmlformats.org/officeDocument/2006/relationships/oleObject" Target="../embeddings/oleObject24.bin"/><Relationship Id="rId25" Type="http://schemas.openxmlformats.org/officeDocument/2006/relationships/image" Target="../media/image567.png"/><Relationship Id="rId46" Type="http://schemas.openxmlformats.org/officeDocument/2006/relationships/customXml" Target="../ink/ink554.xml"/><Relationship Id="rId67" Type="http://schemas.openxmlformats.org/officeDocument/2006/relationships/image" Target="../media/image588.png"/><Relationship Id="rId20" Type="http://schemas.openxmlformats.org/officeDocument/2006/relationships/customXml" Target="../ink/ink541.xml"/><Relationship Id="rId41" Type="http://schemas.openxmlformats.org/officeDocument/2006/relationships/image" Target="../media/image575.png"/><Relationship Id="rId62" Type="http://schemas.openxmlformats.org/officeDocument/2006/relationships/customXml" Target="../ink/ink562.xml"/><Relationship Id="rId83" Type="http://schemas.openxmlformats.org/officeDocument/2006/relationships/image" Target="../media/image596.png"/><Relationship Id="rId88" Type="http://schemas.openxmlformats.org/officeDocument/2006/relationships/customXml" Target="../ink/ink575.xml"/><Relationship Id="rId111" Type="http://schemas.openxmlformats.org/officeDocument/2006/relationships/image" Target="../media/image610.png"/></Relationships>
</file>

<file path=ppt/slides/_rels/slide27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629.png"/><Relationship Id="rId21" Type="http://schemas.openxmlformats.org/officeDocument/2006/relationships/image" Target="../media/image5810.png"/><Relationship Id="rId42" Type="http://schemas.openxmlformats.org/officeDocument/2006/relationships/customXml" Target="../ink/ink607.xml"/><Relationship Id="rId63" Type="http://schemas.openxmlformats.org/officeDocument/2006/relationships/image" Target="../media/image6020.png"/><Relationship Id="rId84" Type="http://schemas.openxmlformats.org/officeDocument/2006/relationships/customXml" Target="../ink/ink628.xml"/><Relationship Id="rId16" Type="http://schemas.openxmlformats.org/officeDocument/2006/relationships/customXml" Target="../ink/ink594.xml"/><Relationship Id="rId107" Type="http://schemas.openxmlformats.org/officeDocument/2006/relationships/image" Target="../media/image624.png"/><Relationship Id="rId11" Type="http://schemas.openxmlformats.org/officeDocument/2006/relationships/image" Target="../media/image5760.png"/><Relationship Id="rId32" Type="http://schemas.openxmlformats.org/officeDocument/2006/relationships/customXml" Target="../ink/ink602.xml"/><Relationship Id="rId37" Type="http://schemas.openxmlformats.org/officeDocument/2006/relationships/image" Target="../media/image5890.png"/><Relationship Id="rId53" Type="http://schemas.openxmlformats.org/officeDocument/2006/relationships/image" Target="../media/image5970.png"/><Relationship Id="rId58" Type="http://schemas.openxmlformats.org/officeDocument/2006/relationships/customXml" Target="../ink/ink615.xml"/><Relationship Id="rId74" Type="http://schemas.openxmlformats.org/officeDocument/2006/relationships/customXml" Target="../ink/ink623.xml"/><Relationship Id="rId79" Type="http://schemas.openxmlformats.org/officeDocument/2006/relationships/image" Target="../media/image6100.png"/><Relationship Id="rId102" Type="http://schemas.openxmlformats.org/officeDocument/2006/relationships/customXml" Target="../ink/ink637.xml"/><Relationship Id="rId123" Type="http://schemas.openxmlformats.org/officeDocument/2006/relationships/image" Target="../media/image632.png"/><Relationship Id="rId128" Type="http://schemas.openxmlformats.org/officeDocument/2006/relationships/customXml" Target="../ink/ink650.xml"/><Relationship Id="rId5" Type="http://schemas.openxmlformats.org/officeDocument/2006/relationships/image" Target="../media/image613.png"/><Relationship Id="rId90" Type="http://schemas.openxmlformats.org/officeDocument/2006/relationships/customXml" Target="../ink/ink631.xml"/><Relationship Id="rId95" Type="http://schemas.openxmlformats.org/officeDocument/2006/relationships/image" Target="../media/image618.png"/><Relationship Id="rId22" Type="http://schemas.openxmlformats.org/officeDocument/2006/relationships/customXml" Target="../ink/ink597.xml"/><Relationship Id="rId27" Type="http://schemas.openxmlformats.org/officeDocument/2006/relationships/image" Target="../media/image5840.png"/><Relationship Id="rId43" Type="http://schemas.openxmlformats.org/officeDocument/2006/relationships/image" Target="../media/image5920.png"/><Relationship Id="rId48" Type="http://schemas.openxmlformats.org/officeDocument/2006/relationships/customXml" Target="../ink/ink610.xml"/><Relationship Id="rId64" Type="http://schemas.openxmlformats.org/officeDocument/2006/relationships/customXml" Target="../ink/ink618.xml"/><Relationship Id="rId69" Type="http://schemas.openxmlformats.org/officeDocument/2006/relationships/image" Target="../media/image6050.png"/><Relationship Id="rId113" Type="http://schemas.openxmlformats.org/officeDocument/2006/relationships/image" Target="../media/image627.png"/><Relationship Id="rId118" Type="http://schemas.openxmlformats.org/officeDocument/2006/relationships/customXml" Target="../ink/ink645.xml"/><Relationship Id="rId80" Type="http://schemas.openxmlformats.org/officeDocument/2006/relationships/customXml" Target="../ink/ink626.xml"/><Relationship Id="rId85" Type="http://schemas.openxmlformats.org/officeDocument/2006/relationships/image" Target="../media/image6130.png"/><Relationship Id="rId12" Type="http://schemas.openxmlformats.org/officeDocument/2006/relationships/customXml" Target="../ink/ink592.xml"/><Relationship Id="rId17" Type="http://schemas.openxmlformats.org/officeDocument/2006/relationships/image" Target="../media/image5790.png"/><Relationship Id="rId33" Type="http://schemas.openxmlformats.org/officeDocument/2006/relationships/image" Target="../media/image5870.png"/><Relationship Id="rId38" Type="http://schemas.openxmlformats.org/officeDocument/2006/relationships/customXml" Target="../ink/ink605.xml"/><Relationship Id="rId59" Type="http://schemas.openxmlformats.org/officeDocument/2006/relationships/image" Target="../media/image6000.png"/><Relationship Id="rId103" Type="http://schemas.openxmlformats.org/officeDocument/2006/relationships/image" Target="../media/image622.png"/><Relationship Id="rId108" Type="http://schemas.openxmlformats.org/officeDocument/2006/relationships/customXml" Target="../ink/ink640.xml"/><Relationship Id="rId124" Type="http://schemas.openxmlformats.org/officeDocument/2006/relationships/customXml" Target="../ink/ink648.xml"/><Relationship Id="rId129" Type="http://schemas.openxmlformats.org/officeDocument/2006/relationships/image" Target="../media/image635.png"/><Relationship Id="rId54" Type="http://schemas.openxmlformats.org/officeDocument/2006/relationships/customXml" Target="../ink/ink613.xml"/><Relationship Id="rId70" Type="http://schemas.openxmlformats.org/officeDocument/2006/relationships/customXml" Target="../ink/ink621.xml"/><Relationship Id="rId75" Type="http://schemas.openxmlformats.org/officeDocument/2006/relationships/image" Target="../media/image6080.png"/><Relationship Id="rId91" Type="http://schemas.openxmlformats.org/officeDocument/2006/relationships/image" Target="../media/image616.png"/><Relationship Id="rId96" Type="http://schemas.openxmlformats.org/officeDocument/2006/relationships/customXml" Target="../ink/ink634.xml"/><Relationship Id="rId1" Type="http://schemas.openxmlformats.org/officeDocument/2006/relationships/tags" Target="../tags/tag26.xml"/><Relationship Id="rId6" Type="http://schemas.openxmlformats.org/officeDocument/2006/relationships/customXml" Target="../ink/ink589.xml"/><Relationship Id="rId23" Type="http://schemas.openxmlformats.org/officeDocument/2006/relationships/image" Target="../media/image5820.png"/><Relationship Id="rId28" Type="http://schemas.openxmlformats.org/officeDocument/2006/relationships/customXml" Target="../ink/ink600.xml"/><Relationship Id="rId49" Type="http://schemas.openxmlformats.org/officeDocument/2006/relationships/image" Target="../media/image5950.png"/><Relationship Id="rId114" Type="http://schemas.openxmlformats.org/officeDocument/2006/relationships/customXml" Target="../ink/ink643.xml"/><Relationship Id="rId119" Type="http://schemas.openxmlformats.org/officeDocument/2006/relationships/image" Target="../media/image630.png"/><Relationship Id="rId44" Type="http://schemas.openxmlformats.org/officeDocument/2006/relationships/customXml" Target="../ink/ink608.xml"/><Relationship Id="rId60" Type="http://schemas.openxmlformats.org/officeDocument/2006/relationships/customXml" Target="../ink/ink616.xml"/><Relationship Id="rId65" Type="http://schemas.openxmlformats.org/officeDocument/2006/relationships/image" Target="../media/image6030.png"/><Relationship Id="rId81" Type="http://schemas.openxmlformats.org/officeDocument/2006/relationships/image" Target="../media/image6110.png"/><Relationship Id="rId86" Type="http://schemas.openxmlformats.org/officeDocument/2006/relationships/customXml" Target="../ink/ink629.xml"/><Relationship Id="rId130" Type="http://schemas.openxmlformats.org/officeDocument/2006/relationships/customXml" Target="../ink/ink651.xml"/><Relationship Id="rId13" Type="http://schemas.openxmlformats.org/officeDocument/2006/relationships/image" Target="../media/image5770.png"/><Relationship Id="rId18" Type="http://schemas.openxmlformats.org/officeDocument/2006/relationships/customXml" Target="../ink/ink595.xml"/><Relationship Id="rId39" Type="http://schemas.openxmlformats.org/officeDocument/2006/relationships/image" Target="../media/image5900.png"/><Relationship Id="rId109" Type="http://schemas.openxmlformats.org/officeDocument/2006/relationships/image" Target="../media/image625.png"/><Relationship Id="rId34" Type="http://schemas.openxmlformats.org/officeDocument/2006/relationships/customXml" Target="../ink/ink603.xml"/><Relationship Id="rId50" Type="http://schemas.openxmlformats.org/officeDocument/2006/relationships/customXml" Target="../ink/ink611.xml"/><Relationship Id="rId55" Type="http://schemas.openxmlformats.org/officeDocument/2006/relationships/image" Target="../media/image5980.png"/><Relationship Id="rId76" Type="http://schemas.openxmlformats.org/officeDocument/2006/relationships/customXml" Target="../ink/ink624.xml"/><Relationship Id="rId97" Type="http://schemas.openxmlformats.org/officeDocument/2006/relationships/image" Target="../media/image619.png"/><Relationship Id="rId104" Type="http://schemas.openxmlformats.org/officeDocument/2006/relationships/customXml" Target="../ink/ink638.xml"/><Relationship Id="rId120" Type="http://schemas.openxmlformats.org/officeDocument/2006/relationships/customXml" Target="../ink/ink646.xml"/><Relationship Id="rId125" Type="http://schemas.openxmlformats.org/officeDocument/2006/relationships/image" Target="../media/image633.png"/><Relationship Id="rId7" Type="http://schemas.openxmlformats.org/officeDocument/2006/relationships/image" Target="../media/image5740.png"/><Relationship Id="rId71" Type="http://schemas.openxmlformats.org/officeDocument/2006/relationships/image" Target="../media/image6060.png"/><Relationship Id="rId92" Type="http://schemas.openxmlformats.org/officeDocument/2006/relationships/customXml" Target="../ink/ink632.xml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5850.png"/><Relationship Id="rId24" Type="http://schemas.openxmlformats.org/officeDocument/2006/relationships/customXml" Target="../ink/ink598.xml"/><Relationship Id="rId40" Type="http://schemas.openxmlformats.org/officeDocument/2006/relationships/customXml" Target="../ink/ink606.xml"/><Relationship Id="rId45" Type="http://schemas.openxmlformats.org/officeDocument/2006/relationships/image" Target="../media/image5930.png"/><Relationship Id="rId66" Type="http://schemas.openxmlformats.org/officeDocument/2006/relationships/customXml" Target="../ink/ink619.xml"/><Relationship Id="rId87" Type="http://schemas.openxmlformats.org/officeDocument/2006/relationships/image" Target="../media/image614.png"/><Relationship Id="rId110" Type="http://schemas.openxmlformats.org/officeDocument/2006/relationships/customXml" Target="../ink/ink641.xml"/><Relationship Id="rId115" Type="http://schemas.openxmlformats.org/officeDocument/2006/relationships/image" Target="../media/image628.png"/><Relationship Id="rId131" Type="http://schemas.openxmlformats.org/officeDocument/2006/relationships/image" Target="../media/image636.png"/><Relationship Id="rId61" Type="http://schemas.openxmlformats.org/officeDocument/2006/relationships/image" Target="../media/image6010.png"/><Relationship Id="rId82" Type="http://schemas.openxmlformats.org/officeDocument/2006/relationships/customXml" Target="../ink/ink627.xml"/><Relationship Id="rId19" Type="http://schemas.openxmlformats.org/officeDocument/2006/relationships/image" Target="../media/image5800.png"/><Relationship Id="rId14" Type="http://schemas.openxmlformats.org/officeDocument/2006/relationships/customXml" Target="../ink/ink593.xml"/><Relationship Id="rId30" Type="http://schemas.openxmlformats.org/officeDocument/2006/relationships/customXml" Target="../ink/ink601.xml"/><Relationship Id="rId35" Type="http://schemas.openxmlformats.org/officeDocument/2006/relationships/image" Target="../media/image5880.png"/><Relationship Id="rId56" Type="http://schemas.openxmlformats.org/officeDocument/2006/relationships/customXml" Target="../ink/ink614.xml"/><Relationship Id="rId77" Type="http://schemas.openxmlformats.org/officeDocument/2006/relationships/image" Target="../media/image6090.png"/><Relationship Id="rId100" Type="http://schemas.openxmlformats.org/officeDocument/2006/relationships/customXml" Target="../ink/ink636.xml"/><Relationship Id="rId105" Type="http://schemas.openxmlformats.org/officeDocument/2006/relationships/image" Target="../media/image623.png"/><Relationship Id="rId126" Type="http://schemas.openxmlformats.org/officeDocument/2006/relationships/customXml" Target="../ink/ink649.xml"/><Relationship Id="rId8" Type="http://schemas.openxmlformats.org/officeDocument/2006/relationships/customXml" Target="../ink/ink590.xml"/><Relationship Id="rId51" Type="http://schemas.openxmlformats.org/officeDocument/2006/relationships/image" Target="../media/image5960.png"/><Relationship Id="rId72" Type="http://schemas.openxmlformats.org/officeDocument/2006/relationships/customXml" Target="../ink/ink622.xml"/><Relationship Id="rId93" Type="http://schemas.openxmlformats.org/officeDocument/2006/relationships/image" Target="../media/image617.png"/><Relationship Id="rId98" Type="http://schemas.openxmlformats.org/officeDocument/2006/relationships/customXml" Target="../ink/ink635.xml"/><Relationship Id="rId121" Type="http://schemas.openxmlformats.org/officeDocument/2006/relationships/image" Target="../media/image631.png"/><Relationship Id="rId3" Type="http://schemas.openxmlformats.org/officeDocument/2006/relationships/oleObject" Target="../embeddings/oleObject25.bin"/><Relationship Id="rId25" Type="http://schemas.openxmlformats.org/officeDocument/2006/relationships/image" Target="../media/image5830.png"/><Relationship Id="rId46" Type="http://schemas.openxmlformats.org/officeDocument/2006/relationships/customXml" Target="../ink/ink609.xml"/><Relationship Id="rId67" Type="http://schemas.openxmlformats.org/officeDocument/2006/relationships/image" Target="../media/image6040.png"/><Relationship Id="rId116" Type="http://schemas.openxmlformats.org/officeDocument/2006/relationships/customXml" Target="../ink/ink644.xml"/><Relationship Id="rId20" Type="http://schemas.openxmlformats.org/officeDocument/2006/relationships/customXml" Target="../ink/ink596.xml"/><Relationship Id="rId41" Type="http://schemas.openxmlformats.org/officeDocument/2006/relationships/image" Target="../media/image5910.png"/><Relationship Id="rId62" Type="http://schemas.openxmlformats.org/officeDocument/2006/relationships/customXml" Target="../ink/ink617.xml"/><Relationship Id="rId83" Type="http://schemas.openxmlformats.org/officeDocument/2006/relationships/image" Target="../media/image6120.png"/><Relationship Id="rId88" Type="http://schemas.openxmlformats.org/officeDocument/2006/relationships/customXml" Target="../ink/ink630.xml"/><Relationship Id="rId111" Type="http://schemas.openxmlformats.org/officeDocument/2006/relationships/image" Target="../media/image626.png"/><Relationship Id="rId132" Type="http://schemas.openxmlformats.org/officeDocument/2006/relationships/customXml" Target="../ink/ink652.xml"/><Relationship Id="rId15" Type="http://schemas.openxmlformats.org/officeDocument/2006/relationships/image" Target="../media/image5780.png"/><Relationship Id="rId36" Type="http://schemas.openxmlformats.org/officeDocument/2006/relationships/customXml" Target="../ink/ink604.xml"/><Relationship Id="rId57" Type="http://schemas.openxmlformats.org/officeDocument/2006/relationships/image" Target="../media/image5990.png"/><Relationship Id="rId106" Type="http://schemas.openxmlformats.org/officeDocument/2006/relationships/customXml" Target="../ink/ink639.xml"/><Relationship Id="rId127" Type="http://schemas.openxmlformats.org/officeDocument/2006/relationships/image" Target="../media/image634.png"/><Relationship Id="rId10" Type="http://schemas.openxmlformats.org/officeDocument/2006/relationships/customXml" Target="../ink/ink591.xml"/><Relationship Id="rId31" Type="http://schemas.openxmlformats.org/officeDocument/2006/relationships/image" Target="../media/image5860.png"/><Relationship Id="rId52" Type="http://schemas.openxmlformats.org/officeDocument/2006/relationships/customXml" Target="../ink/ink612.xml"/><Relationship Id="rId73" Type="http://schemas.openxmlformats.org/officeDocument/2006/relationships/image" Target="../media/image6070.png"/><Relationship Id="rId78" Type="http://schemas.openxmlformats.org/officeDocument/2006/relationships/customXml" Target="../ink/ink625.xml"/><Relationship Id="rId94" Type="http://schemas.openxmlformats.org/officeDocument/2006/relationships/customXml" Target="../ink/ink633.xml"/><Relationship Id="rId99" Type="http://schemas.openxmlformats.org/officeDocument/2006/relationships/image" Target="../media/image620.png"/><Relationship Id="rId101" Type="http://schemas.openxmlformats.org/officeDocument/2006/relationships/image" Target="../media/image621.png"/><Relationship Id="rId122" Type="http://schemas.openxmlformats.org/officeDocument/2006/relationships/customXml" Target="../ink/ink647.xml"/><Relationship Id="rId4" Type="http://schemas.openxmlformats.org/officeDocument/2006/relationships/image" Target="../media/image1.emf"/><Relationship Id="rId9" Type="http://schemas.openxmlformats.org/officeDocument/2006/relationships/image" Target="../media/image5750.png"/><Relationship Id="rId26" Type="http://schemas.openxmlformats.org/officeDocument/2006/relationships/customXml" Target="../ink/ink599.xml"/><Relationship Id="rId47" Type="http://schemas.openxmlformats.org/officeDocument/2006/relationships/image" Target="../media/image5940.png"/><Relationship Id="rId68" Type="http://schemas.openxmlformats.org/officeDocument/2006/relationships/customXml" Target="../ink/ink620.xml"/><Relationship Id="rId89" Type="http://schemas.openxmlformats.org/officeDocument/2006/relationships/image" Target="../media/image615.png"/><Relationship Id="rId112" Type="http://schemas.openxmlformats.org/officeDocument/2006/relationships/customXml" Target="../ink/ink642.xml"/><Relationship Id="rId133" Type="http://schemas.openxmlformats.org/officeDocument/2006/relationships/image" Target="../media/image637.png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customXml" Target="../ink/ink663.xml"/><Relationship Id="rId21" Type="http://schemas.openxmlformats.org/officeDocument/2006/relationships/image" Target="../media/image646.png"/><Relationship Id="rId42" Type="http://schemas.openxmlformats.org/officeDocument/2006/relationships/customXml" Target="../ink/ink671.xml"/><Relationship Id="rId47" Type="http://schemas.openxmlformats.org/officeDocument/2006/relationships/image" Target="../media/image659.png"/><Relationship Id="rId63" Type="http://schemas.openxmlformats.org/officeDocument/2006/relationships/image" Target="../media/image667.png"/><Relationship Id="rId68" Type="http://schemas.openxmlformats.org/officeDocument/2006/relationships/customXml" Target="../ink/ink684.xml"/><Relationship Id="rId84" Type="http://schemas.openxmlformats.org/officeDocument/2006/relationships/customXml" Target="../ink/ink692.xml"/><Relationship Id="rId89" Type="http://schemas.openxmlformats.org/officeDocument/2006/relationships/image" Target="../media/image680.png"/><Relationship Id="rId16" Type="http://schemas.openxmlformats.org/officeDocument/2006/relationships/customXml" Target="../ink/ink658.xml"/><Relationship Id="rId107" Type="http://schemas.openxmlformats.org/officeDocument/2006/relationships/image" Target="../media/image689.png"/><Relationship Id="rId11" Type="http://schemas.openxmlformats.org/officeDocument/2006/relationships/image" Target="../media/image641.png"/><Relationship Id="rId32" Type="http://schemas.openxmlformats.org/officeDocument/2006/relationships/customXml" Target="../ink/ink666.xml"/><Relationship Id="rId37" Type="http://schemas.openxmlformats.org/officeDocument/2006/relationships/image" Target="../media/image654.png"/><Relationship Id="rId53" Type="http://schemas.openxmlformats.org/officeDocument/2006/relationships/image" Target="../media/image662.png"/><Relationship Id="rId58" Type="http://schemas.openxmlformats.org/officeDocument/2006/relationships/customXml" Target="../ink/ink679.xml"/><Relationship Id="rId74" Type="http://schemas.openxmlformats.org/officeDocument/2006/relationships/customXml" Target="../ink/ink687.xml"/><Relationship Id="rId79" Type="http://schemas.openxmlformats.org/officeDocument/2006/relationships/image" Target="../media/image675.png"/><Relationship Id="rId102" Type="http://schemas.openxmlformats.org/officeDocument/2006/relationships/customXml" Target="../ink/ink701.xml"/><Relationship Id="rId5" Type="http://schemas.openxmlformats.org/officeDocument/2006/relationships/image" Target="../media/image638.png"/><Relationship Id="rId90" Type="http://schemas.openxmlformats.org/officeDocument/2006/relationships/customXml" Target="../ink/ink695.xml"/><Relationship Id="rId95" Type="http://schemas.openxmlformats.org/officeDocument/2006/relationships/image" Target="../media/image683.png"/><Relationship Id="rId22" Type="http://schemas.openxmlformats.org/officeDocument/2006/relationships/customXml" Target="../ink/ink661.xml"/><Relationship Id="rId27" Type="http://schemas.openxmlformats.org/officeDocument/2006/relationships/image" Target="../media/image649.png"/><Relationship Id="rId43" Type="http://schemas.openxmlformats.org/officeDocument/2006/relationships/image" Target="../media/image657.png"/><Relationship Id="rId48" Type="http://schemas.openxmlformats.org/officeDocument/2006/relationships/customXml" Target="../ink/ink674.xml"/><Relationship Id="rId64" Type="http://schemas.openxmlformats.org/officeDocument/2006/relationships/customXml" Target="../ink/ink682.xml"/><Relationship Id="rId69" Type="http://schemas.openxmlformats.org/officeDocument/2006/relationships/image" Target="../media/image670.png"/><Relationship Id="rId80" Type="http://schemas.openxmlformats.org/officeDocument/2006/relationships/customXml" Target="../ink/ink690.xml"/><Relationship Id="rId85" Type="http://schemas.openxmlformats.org/officeDocument/2006/relationships/image" Target="../media/image678.png"/><Relationship Id="rId12" Type="http://schemas.openxmlformats.org/officeDocument/2006/relationships/customXml" Target="../ink/ink656.xml"/><Relationship Id="rId17" Type="http://schemas.openxmlformats.org/officeDocument/2006/relationships/image" Target="../media/image644.png"/><Relationship Id="rId33" Type="http://schemas.openxmlformats.org/officeDocument/2006/relationships/image" Target="../media/image652.png"/><Relationship Id="rId38" Type="http://schemas.openxmlformats.org/officeDocument/2006/relationships/customXml" Target="../ink/ink669.xml"/><Relationship Id="rId59" Type="http://schemas.openxmlformats.org/officeDocument/2006/relationships/image" Target="../media/image665.png"/><Relationship Id="rId103" Type="http://schemas.openxmlformats.org/officeDocument/2006/relationships/image" Target="../media/image687.png"/><Relationship Id="rId108" Type="http://schemas.openxmlformats.org/officeDocument/2006/relationships/customXml" Target="../ink/ink704.xml"/><Relationship Id="rId54" Type="http://schemas.openxmlformats.org/officeDocument/2006/relationships/customXml" Target="../ink/ink677.xml"/><Relationship Id="rId70" Type="http://schemas.openxmlformats.org/officeDocument/2006/relationships/customXml" Target="../ink/ink685.xml"/><Relationship Id="rId75" Type="http://schemas.openxmlformats.org/officeDocument/2006/relationships/image" Target="../media/image673.png"/><Relationship Id="rId91" Type="http://schemas.openxmlformats.org/officeDocument/2006/relationships/image" Target="../media/image681.png"/><Relationship Id="rId96" Type="http://schemas.openxmlformats.org/officeDocument/2006/relationships/customXml" Target="../ink/ink698.xml"/><Relationship Id="rId1" Type="http://schemas.openxmlformats.org/officeDocument/2006/relationships/tags" Target="../tags/tag27.xml"/><Relationship Id="rId6" Type="http://schemas.openxmlformats.org/officeDocument/2006/relationships/customXml" Target="../ink/ink653.xml"/><Relationship Id="rId15" Type="http://schemas.openxmlformats.org/officeDocument/2006/relationships/image" Target="../media/image643.png"/><Relationship Id="rId23" Type="http://schemas.openxmlformats.org/officeDocument/2006/relationships/image" Target="../media/image647.png"/><Relationship Id="rId28" Type="http://schemas.openxmlformats.org/officeDocument/2006/relationships/customXml" Target="../ink/ink664.xml"/><Relationship Id="rId36" Type="http://schemas.openxmlformats.org/officeDocument/2006/relationships/customXml" Target="../ink/ink668.xml"/><Relationship Id="rId49" Type="http://schemas.openxmlformats.org/officeDocument/2006/relationships/image" Target="../media/image660.png"/><Relationship Id="rId57" Type="http://schemas.openxmlformats.org/officeDocument/2006/relationships/image" Target="../media/image664.png"/><Relationship Id="rId106" Type="http://schemas.openxmlformats.org/officeDocument/2006/relationships/customXml" Target="../ink/ink703.xml"/><Relationship Id="rId10" Type="http://schemas.openxmlformats.org/officeDocument/2006/relationships/customXml" Target="../ink/ink655.xml"/><Relationship Id="rId31" Type="http://schemas.openxmlformats.org/officeDocument/2006/relationships/image" Target="../media/image651.png"/><Relationship Id="rId44" Type="http://schemas.openxmlformats.org/officeDocument/2006/relationships/customXml" Target="../ink/ink672.xml"/><Relationship Id="rId52" Type="http://schemas.openxmlformats.org/officeDocument/2006/relationships/customXml" Target="../ink/ink676.xml"/><Relationship Id="rId60" Type="http://schemas.openxmlformats.org/officeDocument/2006/relationships/customXml" Target="../ink/ink680.xml"/><Relationship Id="rId65" Type="http://schemas.openxmlformats.org/officeDocument/2006/relationships/image" Target="../media/image668.png"/><Relationship Id="rId73" Type="http://schemas.openxmlformats.org/officeDocument/2006/relationships/image" Target="../media/image672.png"/><Relationship Id="rId78" Type="http://schemas.openxmlformats.org/officeDocument/2006/relationships/customXml" Target="../ink/ink689.xml"/><Relationship Id="rId81" Type="http://schemas.openxmlformats.org/officeDocument/2006/relationships/image" Target="../media/image676.png"/><Relationship Id="rId86" Type="http://schemas.openxmlformats.org/officeDocument/2006/relationships/customXml" Target="../ink/ink693.xml"/><Relationship Id="rId94" Type="http://schemas.openxmlformats.org/officeDocument/2006/relationships/customXml" Target="../ink/ink697.xml"/><Relationship Id="rId99" Type="http://schemas.openxmlformats.org/officeDocument/2006/relationships/image" Target="../media/image685.png"/><Relationship Id="rId101" Type="http://schemas.openxmlformats.org/officeDocument/2006/relationships/image" Target="../media/image686.png"/><Relationship Id="rId4" Type="http://schemas.openxmlformats.org/officeDocument/2006/relationships/image" Target="../media/image1.emf"/><Relationship Id="rId9" Type="http://schemas.openxmlformats.org/officeDocument/2006/relationships/image" Target="../media/image640.png"/><Relationship Id="rId13" Type="http://schemas.openxmlformats.org/officeDocument/2006/relationships/image" Target="../media/image642.png"/><Relationship Id="rId18" Type="http://schemas.openxmlformats.org/officeDocument/2006/relationships/customXml" Target="../ink/ink659.xml"/><Relationship Id="rId39" Type="http://schemas.openxmlformats.org/officeDocument/2006/relationships/image" Target="../media/image655.png"/><Relationship Id="rId109" Type="http://schemas.openxmlformats.org/officeDocument/2006/relationships/image" Target="../media/image690.png"/><Relationship Id="rId34" Type="http://schemas.openxmlformats.org/officeDocument/2006/relationships/customXml" Target="../ink/ink667.xml"/><Relationship Id="rId50" Type="http://schemas.openxmlformats.org/officeDocument/2006/relationships/customXml" Target="../ink/ink675.xml"/><Relationship Id="rId55" Type="http://schemas.openxmlformats.org/officeDocument/2006/relationships/image" Target="../media/image663.png"/><Relationship Id="rId76" Type="http://schemas.openxmlformats.org/officeDocument/2006/relationships/customXml" Target="../ink/ink688.xml"/><Relationship Id="rId97" Type="http://schemas.openxmlformats.org/officeDocument/2006/relationships/image" Target="../media/image684.png"/><Relationship Id="rId104" Type="http://schemas.openxmlformats.org/officeDocument/2006/relationships/customXml" Target="../ink/ink702.xml"/><Relationship Id="rId7" Type="http://schemas.openxmlformats.org/officeDocument/2006/relationships/image" Target="../media/image639.png"/><Relationship Id="rId71" Type="http://schemas.openxmlformats.org/officeDocument/2006/relationships/image" Target="../media/image671.png"/><Relationship Id="rId92" Type="http://schemas.openxmlformats.org/officeDocument/2006/relationships/customXml" Target="../ink/ink696.xml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650.png"/><Relationship Id="rId24" Type="http://schemas.openxmlformats.org/officeDocument/2006/relationships/customXml" Target="../ink/ink662.xml"/><Relationship Id="rId40" Type="http://schemas.openxmlformats.org/officeDocument/2006/relationships/customXml" Target="../ink/ink670.xml"/><Relationship Id="rId45" Type="http://schemas.openxmlformats.org/officeDocument/2006/relationships/image" Target="../media/image658.png"/><Relationship Id="rId66" Type="http://schemas.openxmlformats.org/officeDocument/2006/relationships/customXml" Target="../ink/ink683.xml"/><Relationship Id="rId87" Type="http://schemas.openxmlformats.org/officeDocument/2006/relationships/image" Target="../media/image679.png"/><Relationship Id="rId110" Type="http://schemas.openxmlformats.org/officeDocument/2006/relationships/customXml" Target="../ink/ink705.xml"/><Relationship Id="rId61" Type="http://schemas.openxmlformats.org/officeDocument/2006/relationships/image" Target="../media/image666.png"/><Relationship Id="rId82" Type="http://schemas.openxmlformats.org/officeDocument/2006/relationships/customXml" Target="../ink/ink691.xml"/><Relationship Id="rId19" Type="http://schemas.openxmlformats.org/officeDocument/2006/relationships/image" Target="../media/image645.png"/><Relationship Id="rId14" Type="http://schemas.openxmlformats.org/officeDocument/2006/relationships/customXml" Target="../ink/ink657.xml"/><Relationship Id="rId30" Type="http://schemas.openxmlformats.org/officeDocument/2006/relationships/customXml" Target="../ink/ink665.xml"/><Relationship Id="rId35" Type="http://schemas.openxmlformats.org/officeDocument/2006/relationships/image" Target="../media/image653.png"/><Relationship Id="rId56" Type="http://schemas.openxmlformats.org/officeDocument/2006/relationships/customXml" Target="../ink/ink678.xml"/><Relationship Id="rId77" Type="http://schemas.openxmlformats.org/officeDocument/2006/relationships/image" Target="../media/image674.png"/><Relationship Id="rId100" Type="http://schemas.openxmlformats.org/officeDocument/2006/relationships/customXml" Target="../ink/ink700.xml"/><Relationship Id="rId105" Type="http://schemas.openxmlformats.org/officeDocument/2006/relationships/image" Target="../media/image688.png"/><Relationship Id="rId8" Type="http://schemas.openxmlformats.org/officeDocument/2006/relationships/customXml" Target="../ink/ink654.xml"/><Relationship Id="rId51" Type="http://schemas.openxmlformats.org/officeDocument/2006/relationships/image" Target="../media/image661.png"/><Relationship Id="rId72" Type="http://schemas.openxmlformats.org/officeDocument/2006/relationships/customXml" Target="../ink/ink686.xml"/><Relationship Id="rId93" Type="http://schemas.openxmlformats.org/officeDocument/2006/relationships/image" Target="../media/image682.png"/><Relationship Id="rId98" Type="http://schemas.openxmlformats.org/officeDocument/2006/relationships/customXml" Target="../ink/ink699.xml"/><Relationship Id="rId3" Type="http://schemas.openxmlformats.org/officeDocument/2006/relationships/oleObject" Target="../embeddings/oleObject26.bin"/><Relationship Id="rId25" Type="http://schemas.openxmlformats.org/officeDocument/2006/relationships/image" Target="../media/image648.png"/><Relationship Id="rId46" Type="http://schemas.openxmlformats.org/officeDocument/2006/relationships/customXml" Target="../ink/ink673.xml"/><Relationship Id="rId67" Type="http://schemas.openxmlformats.org/officeDocument/2006/relationships/image" Target="../media/image669.png"/><Relationship Id="rId20" Type="http://schemas.openxmlformats.org/officeDocument/2006/relationships/customXml" Target="../ink/ink660.xml"/><Relationship Id="rId41" Type="http://schemas.openxmlformats.org/officeDocument/2006/relationships/image" Target="../media/image656.png"/><Relationship Id="rId62" Type="http://schemas.openxmlformats.org/officeDocument/2006/relationships/customXml" Target="../ink/ink681.xml"/><Relationship Id="rId83" Type="http://schemas.openxmlformats.org/officeDocument/2006/relationships/image" Target="../media/image677.png"/><Relationship Id="rId88" Type="http://schemas.openxmlformats.org/officeDocument/2006/relationships/customXml" Target="../ink/ink694.xml"/><Relationship Id="rId111" Type="http://schemas.openxmlformats.org/officeDocument/2006/relationships/image" Target="../media/image691.png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96.png"/><Relationship Id="rId18" Type="http://schemas.openxmlformats.org/officeDocument/2006/relationships/customXml" Target="../ink/ink712.xml"/><Relationship Id="rId26" Type="http://schemas.openxmlformats.org/officeDocument/2006/relationships/customXml" Target="../ink/ink716.xml"/><Relationship Id="rId3" Type="http://schemas.openxmlformats.org/officeDocument/2006/relationships/oleObject" Target="../embeddings/oleObject27.bin"/><Relationship Id="rId21" Type="http://schemas.openxmlformats.org/officeDocument/2006/relationships/image" Target="../media/image700.png"/><Relationship Id="rId7" Type="http://schemas.openxmlformats.org/officeDocument/2006/relationships/image" Target="../media/image693.png"/><Relationship Id="rId12" Type="http://schemas.openxmlformats.org/officeDocument/2006/relationships/customXml" Target="../ink/ink709.xml"/><Relationship Id="rId17" Type="http://schemas.openxmlformats.org/officeDocument/2006/relationships/image" Target="../media/image698.png"/><Relationship Id="rId25" Type="http://schemas.openxmlformats.org/officeDocument/2006/relationships/image" Target="../media/image702.png"/><Relationship Id="rId33" Type="http://schemas.openxmlformats.org/officeDocument/2006/relationships/image" Target="../media/image706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711.xml"/><Relationship Id="rId20" Type="http://schemas.openxmlformats.org/officeDocument/2006/relationships/customXml" Target="../ink/ink713.xml"/><Relationship Id="rId29" Type="http://schemas.openxmlformats.org/officeDocument/2006/relationships/image" Target="../media/image704.png"/><Relationship Id="rId1" Type="http://schemas.openxmlformats.org/officeDocument/2006/relationships/tags" Target="../tags/tag28.xml"/><Relationship Id="rId6" Type="http://schemas.openxmlformats.org/officeDocument/2006/relationships/customXml" Target="../ink/ink706.xml"/><Relationship Id="rId11" Type="http://schemas.openxmlformats.org/officeDocument/2006/relationships/image" Target="../media/image695.png"/><Relationship Id="rId24" Type="http://schemas.openxmlformats.org/officeDocument/2006/relationships/customXml" Target="../ink/ink715.xml"/><Relationship Id="rId32" Type="http://schemas.openxmlformats.org/officeDocument/2006/relationships/customXml" Target="../ink/ink719.xml"/><Relationship Id="rId5" Type="http://schemas.openxmlformats.org/officeDocument/2006/relationships/image" Target="../media/image692.png"/><Relationship Id="rId15" Type="http://schemas.openxmlformats.org/officeDocument/2006/relationships/image" Target="../media/image697.png"/><Relationship Id="rId23" Type="http://schemas.openxmlformats.org/officeDocument/2006/relationships/image" Target="../media/image701.png"/><Relationship Id="rId28" Type="http://schemas.openxmlformats.org/officeDocument/2006/relationships/customXml" Target="../ink/ink717.xml"/><Relationship Id="rId10" Type="http://schemas.openxmlformats.org/officeDocument/2006/relationships/customXml" Target="../ink/ink708.xml"/><Relationship Id="rId19" Type="http://schemas.openxmlformats.org/officeDocument/2006/relationships/image" Target="../media/image699.png"/><Relationship Id="rId31" Type="http://schemas.openxmlformats.org/officeDocument/2006/relationships/image" Target="../media/image705.png"/><Relationship Id="rId4" Type="http://schemas.openxmlformats.org/officeDocument/2006/relationships/image" Target="../media/image1.emf"/><Relationship Id="rId9" Type="http://schemas.openxmlformats.org/officeDocument/2006/relationships/image" Target="../media/image694.png"/><Relationship Id="rId14" Type="http://schemas.openxmlformats.org/officeDocument/2006/relationships/customXml" Target="../ink/ink710.xml"/><Relationship Id="rId22" Type="http://schemas.openxmlformats.org/officeDocument/2006/relationships/customXml" Target="../ink/ink714.xml"/><Relationship Id="rId27" Type="http://schemas.openxmlformats.org/officeDocument/2006/relationships/image" Target="../media/image703.png"/><Relationship Id="rId30" Type="http://schemas.openxmlformats.org/officeDocument/2006/relationships/customXml" Target="../ink/ink718.xml"/><Relationship Id="rId8" Type="http://schemas.openxmlformats.org/officeDocument/2006/relationships/customXml" Target="../ink/ink707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customXml" Target="../ink/ink84.xml"/><Relationship Id="rId18" Type="http://schemas.openxmlformats.org/officeDocument/2006/relationships/image" Target="../media/image89.png"/><Relationship Id="rId26" Type="http://schemas.openxmlformats.org/officeDocument/2006/relationships/image" Target="../media/image93.png"/><Relationship Id="rId39" Type="http://schemas.openxmlformats.org/officeDocument/2006/relationships/customXml" Target="../ink/ink97.xml"/><Relationship Id="rId21" Type="http://schemas.openxmlformats.org/officeDocument/2006/relationships/customXml" Target="../ink/ink88.xml"/><Relationship Id="rId34" Type="http://schemas.openxmlformats.org/officeDocument/2006/relationships/image" Target="../media/image97.png"/><Relationship Id="rId42" Type="http://schemas.openxmlformats.org/officeDocument/2006/relationships/image" Target="../media/image101.png"/><Relationship Id="rId7" Type="http://schemas.openxmlformats.org/officeDocument/2006/relationships/customXml" Target="../ink/ink81.xml"/><Relationship Id="rId2" Type="http://schemas.openxmlformats.org/officeDocument/2006/relationships/image" Target="../media/image81.png"/><Relationship Id="rId16" Type="http://schemas.openxmlformats.org/officeDocument/2006/relationships/image" Target="../media/image88.png"/><Relationship Id="rId29" Type="http://schemas.openxmlformats.org/officeDocument/2006/relationships/customXml" Target="../ink/ink9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3.png"/><Relationship Id="rId11" Type="http://schemas.openxmlformats.org/officeDocument/2006/relationships/customXml" Target="../ink/ink83.xml"/><Relationship Id="rId24" Type="http://schemas.openxmlformats.org/officeDocument/2006/relationships/image" Target="../media/image92.png"/><Relationship Id="rId32" Type="http://schemas.openxmlformats.org/officeDocument/2006/relationships/image" Target="../media/image96.png"/><Relationship Id="rId37" Type="http://schemas.openxmlformats.org/officeDocument/2006/relationships/customXml" Target="../ink/ink96.xml"/><Relationship Id="rId40" Type="http://schemas.openxmlformats.org/officeDocument/2006/relationships/image" Target="../media/image100.png"/><Relationship Id="rId45" Type="http://schemas.openxmlformats.org/officeDocument/2006/relationships/customXml" Target="../ink/ink100.xml"/><Relationship Id="rId5" Type="http://schemas.openxmlformats.org/officeDocument/2006/relationships/customXml" Target="../ink/ink80.xml"/><Relationship Id="rId15" Type="http://schemas.openxmlformats.org/officeDocument/2006/relationships/customXml" Target="../ink/ink85.xml"/><Relationship Id="rId23" Type="http://schemas.openxmlformats.org/officeDocument/2006/relationships/customXml" Target="../ink/ink89.xml"/><Relationship Id="rId28" Type="http://schemas.openxmlformats.org/officeDocument/2006/relationships/image" Target="../media/image94.png"/><Relationship Id="rId36" Type="http://schemas.openxmlformats.org/officeDocument/2006/relationships/image" Target="../media/image98.png"/><Relationship Id="rId10" Type="http://schemas.openxmlformats.org/officeDocument/2006/relationships/image" Target="../media/image85.png"/><Relationship Id="rId19" Type="http://schemas.openxmlformats.org/officeDocument/2006/relationships/customXml" Target="../ink/ink87.xml"/><Relationship Id="rId31" Type="http://schemas.openxmlformats.org/officeDocument/2006/relationships/customXml" Target="../ink/ink93.xml"/><Relationship Id="rId44" Type="http://schemas.openxmlformats.org/officeDocument/2006/relationships/image" Target="../media/image102.png"/><Relationship Id="rId4" Type="http://schemas.openxmlformats.org/officeDocument/2006/relationships/image" Target="../media/image82.png"/><Relationship Id="rId9" Type="http://schemas.openxmlformats.org/officeDocument/2006/relationships/customXml" Target="../ink/ink82.xml"/><Relationship Id="rId14" Type="http://schemas.openxmlformats.org/officeDocument/2006/relationships/image" Target="../media/image87.png"/><Relationship Id="rId22" Type="http://schemas.openxmlformats.org/officeDocument/2006/relationships/image" Target="../media/image91.png"/><Relationship Id="rId27" Type="http://schemas.openxmlformats.org/officeDocument/2006/relationships/customXml" Target="../ink/ink91.xml"/><Relationship Id="rId30" Type="http://schemas.openxmlformats.org/officeDocument/2006/relationships/image" Target="../media/image95.png"/><Relationship Id="rId35" Type="http://schemas.openxmlformats.org/officeDocument/2006/relationships/customXml" Target="../ink/ink95.xml"/><Relationship Id="rId43" Type="http://schemas.openxmlformats.org/officeDocument/2006/relationships/customXml" Target="../ink/ink99.xml"/><Relationship Id="rId8" Type="http://schemas.openxmlformats.org/officeDocument/2006/relationships/image" Target="../media/image84.png"/><Relationship Id="rId3" Type="http://schemas.openxmlformats.org/officeDocument/2006/relationships/customXml" Target="../ink/ink79.xml"/><Relationship Id="rId12" Type="http://schemas.openxmlformats.org/officeDocument/2006/relationships/image" Target="../media/image86.png"/><Relationship Id="rId17" Type="http://schemas.openxmlformats.org/officeDocument/2006/relationships/customXml" Target="../ink/ink86.xml"/><Relationship Id="rId25" Type="http://schemas.openxmlformats.org/officeDocument/2006/relationships/customXml" Target="../ink/ink90.xml"/><Relationship Id="rId33" Type="http://schemas.openxmlformats.org/officeDocument/2006/relationships/customXml" Target="../ink/ink94.xml"/><Relationship Id="rId38" Type="http://schemas.openxmlformats.org/officeDocument/2006/relationships/image" Target="../media/image99.png"/><Relationship Id="rId46" Type="http://schemas.openxmlformats.org/officeDocument/2006/relationships/image" Target="../media/image103.png"/><Relationship Id="rId20" Type="http://schemas.openxmlformats.org/officeDocument/2006/relationships/image" Target="../media/image90.png"/><Relationship Id="rId41" Type="http://schemas.openxmlformats.org/officeDocument/2006/relationships/customXml" Target="../ink/ink9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707.pn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708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customXml" Target="../ink/ink721.xml"/><Relationship Id="rId13" Type="http://schemas.openxmlformats.org/officeDocument/2006/relationships/image" Target="../media/image713.png"/><Relationship Id="rId18" Type="http://schemas.openxmlformats.org/officeDocument/2006/relationships/customXml" Target="../ink/ink726.xml"/><Relationship Id="rId26" Type="http://schemas.openxmlformats.org/officeDocument/2006/relationships/customXml" Target="../ink/ink730.xml"/><Relationship Id="rId3" Type="http://schemas.openxmlformats.org/officeDocument/2006/relationships/oleObject" Target="../embeddings/oleObject30.bin"/><Relationship Id="rId21" Type="http://schemas.openxmlformats.org/officeDocument/2006/relationships/image" Target="../media/image717.png"/><Relationship Id="rId7" Type="http://schemas.openxmlformats.org/officeDocument/2006/relationships/image" Target="../media/image710.png"/><Relationship Id="rId12" Type="http://schemas.openxmlformats.org/officeDocument/2006/relationships/customXml" Target="../ink/ink723.xml"/><Relationship Id="rId17" Type="http://schemas.openxmlformats.org/officeDocument/2006/relationships/image" Target="../media/image715.png"/><Relationship Id="rId25" Type="http://schemas.openxmlformats.org/officeDocument/2006/relationships/image" Target="../media/image719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725.xml"/><Relationship Id="rId20" Type="http://schemas.openxmlformats.org/officeDocument/2006/relationships/customXml" Target="../ink/ink727.xml"/><Relationship Id="rId29" Type="http://schemas.openxmlformats.org/officeDocument/2006/relationships/image" Target="../media/image721.png"/><Relationship Id="rId1" Type="http://schemas.openxmlformats.org/officeDocument/2006/relationships/tags" Target="../tags/tag31.xml"/><Relationship Id="rId6" Type="http://schemas.openxmlformats.org/officeDocument/2006/relationships/customXml" Target="../ink/ink720.xml"/><Relationship Id="rId11" Type="http://schemas.openxmlformats.org/officeDocument/2006/relationships/image" Target="../media/image712.png"/><Relationship Id="rId24" Type="http://schemas.openxmlformats.org/officeDocument/2006/relationships/customXml" Target="../ink/ink729.xml"/><Relationship Id="rId5" Type="http://schemas.openxmlformats.org/officeDocument/2006/relationships/image" Target="../media/image709.png"/><Relationship Id="rId15" Type="http://schemas.openxmlformats.org/officeDocument/2006/relationships/image" Target="../media/image714.png"/><Relationship Id="rId23" Type="http://schemas.openxmlformats.org/officeDocument/2006/relationships/image" Target="../media/image718.png"/><Relationship Id="rId28" Type="http://schemas.openxmlformats.org/officeDocument/2006/relationships/customXml" Target="../ink/ink731.xml"/><Relationship Id="rId10" Type="http://schemas.openxmlformats.org/officeDocument/2006/relationships/customXml" Target="../ink/ink722.xml"/><Relationship Id="rId19" Type="http://schemas.openxmlformats.org/officeDocument/2006/relationships/image" Target="../media/image716.png"/><Relationship Id="rId31" Type="http://schemas.openxmlformats.org/officeDocument/2006/relationships/image" Target="../media/image722.png"/><Relationship Id="rId4" Type="http://schemas.openxmlformats.org/officeDocument/2006/relationships/image" Target="../media/image1.emf"/><Relationship Id="rId9" Type="http://schemas.openxmlformats.org/officeDocument/2006/relationships/image" Target="../media/image711.png"/><Relationship Id="rId14" Type="http://schemas.openxmlformats.org/officeDocument/2006/relationships/customXml" Target="../ink/ink724.xml"/><Relationship Id="rId22" Type="http://schemas.openxmlformats.org/officeDocument/2006/relationships/customXml" Target="../ink/ink728.xml"/><Relationship Id="rId27" Type="http://schemas.openxmlformats.org/officeDocument/2006/relationships/image" Target="../media/image720.png"/><Relationship Id="rId30" Type="http://schemas.openxmlformats.org/officeDocument/2006/relationships/customXml" Target="../ink/ink732.xml"/></Relationships>
</file>

<file path=ppt/slides/_rels/slide33.xml.rels><?xml version="1.0" encoding="UTF-8" standalone="yes"?>
<Relationships xmlns="http://schemas.openxmlformats.org/package/2006/relationships"><Relationship Id="rId26" Type="http://schemas.openxmlformats.org/officeDocument/2006/relationships/customXml" Target="../ink/ink743.xml"/><Relationship Id="rId21" Type="http://schemas.openxmlformats.org/officeDocument/2006/relationships/image" Target="../media/image731.png"/><Relationship Id="rId42" Type="http://schemas.openxmlformats.org/officeDocument/2006/relationships/customXml" Target="../ink/ink751.xml"/><Relationship Id="rId47" Type="http://schemas.openxmlformats.org/officeDocument/2006/relationships/image" Target="../media/image744.png"/><Relationship Id="rId63" Type="http://schemas.openxmlformats.org/officeDocument/2006/relationships/image" Target="../media/image752.png"/><Relationship Id="rId68" Type="http://schemas.openxmlformats.org/officeDocument/2006/relationships/customXml" Target="../ink/ink764.xml"/><Relationship Id="rId84" Type="http://schemas.openxmlformats.org/officeDocument/2006/relationships/customXml" Target="../ink/ink772.xml"/><Relationship Id="rId89" Type="http://schemas.openxmlformats.org/officeDocument/2006/relationships/image" Target="../media/image765.png"/><Relationship Id="rId16" Type="http://schemas.openxmlformats.org/officeDocument/2006/relationships/customXml" Target="../ink/ink738.xml"/><Relationship Id="rId11" Type="http://schemas.openxmlformats.org/officeDocument/2006/relationships/image" Target="../media/image726.png"/><Relationship Id="rId32" Type="http://schemas.openxmlformats.org/officeDocument/2006/relationships/customXml" Target="../ink/ink746.xml"/><Relationship Id="rId37" Type="http://schemas.openxmlformats.org/officeDocument/2006/relationships/image" Target="../media/image739.png"/><Relationship Id="rId53" Type="http://schemas.openxmlformats.org/officeDocument/2006/relationships/image" Target="../media/image747.png"/><Relationship Id="rId58" Type="http://schemas.openxmlformats.org/officeDocument/2006/relationships/customXml" Target="../ink/ink759.xml"/><Relationship Id="rId74" Type="http://schemas.openxmlformats.org/officeDocument/2006/relationships/customXml" Target="../ink/ink767.xml"/><Relationship Id="rId79" Type="http://schemas.openxmlformats.org/officeDocument/2006/relationships/image" Target="../media/image760.png"/><Relationship Id="rId5" Type="http://schemas.openxmlformats.org/officeDocument/2006/relationships/image" Target="../media/image723.png"/><Relationship Id="rId90" Type="http://schemas.openxmlformats.org/officeDocument/2006/relationships/customXml" Target="../ink/ink775.xml"/><Relationship Id="rId95" Type="http://schemas.openxmlformats.org/officeDocument/2006/relationships/image" Target="../media/image768.png"/><Relationship Id="rId22" Type="http://schemas.openxmlformats.org/officeDocument/2006/relationships/customXml" Target="../ink/ink741.xml"/><Relationship Id="rId27" Type="http://schemas.openxmlformats.org/officeDocument/2006/relationships/image" Target="../media/image734.png"/><Relationship Id="rId43" Type="http://schemas.openxmlformats.org/officeDocument/2006/relationships/image" Target="../media/image742.png"/><Relationship Id="rId48" Type="http://schemas.openxmlformats.org/officeDocument/2006/relationships/customXml" Target="../ink/ink754.xml"/><Relationship Id="rId64" Type="http://schemas.openxmlformats.org/officeDocument/2006/relationships/customXml" Target="../ink/ink762.xml"/><Relationship Id="rId69" Type="http://schemas.openxmlformats.org/officeDocument/2006/relationships/image" Target="../media/image755.png"/><Relationship Id="rId80" Type="http://schemas.openxmlformats.org/officeDocument/2006/relationships/customXml" Target="../ink/ink770.xml"/><Relationship Id="rId85" Type="http://schemas.openxmlformats.org/officeDocument/2006/relationships/image" Target="../media/image763.png"/><Relationship Id="rId3" Type="http://schemas.openxmlformats.org/officeDocument/2006/relationships/oleObject" Target="../embeddings/oleObject31.bin"/><Relationship Id="rId12" Type="http://schemas.openxmlformats.org/officeDocument/2006/relationships/customXml" Target="../ink/ink736.xml"/><Relationship Id="rId17" Type="http://schemas.openxmlformats.org/officeDocument/2006/relationships/image" Target="../media/image729.png"/><Relationship Id="rId25" Type="http://schemas.openxmlformats.org/officeDocument/2006/relationships/image" Target="../media/image733.png"/><Relationship Id="rId33" Type="http://schemas.openxmlformats.org/officeDocument/2006/relationships/image" Target="../media/image737.png"/><Relationship Id="rId38" Type="http://schemas.openxmlformats.org/officeDocument/2006/relationships/customXml" Target="../ink/ink749.xml"/><Relationship Id="rId46" Type="http://schemas.openxmlformats.org/officeDocument/2006/relationships/customXml" Target="../ink/ink753.xml"/><Relationship Id="rId59" Type="http://schemas.openxmlformats.org/officeDocument/2006/relationships/image" Target="../media/image750.png"/><Relationship Id="rId67" Type="http://schemas.openxmlformats.org/officeDocument/2006/relationships/image" Target="../media/image754.png"/><Relationship Id="rId20" Type="http://schemas.openxmlformats.org/officeDocument/2006/relationships/customXml" Target="../ink/ink740.xml"/><Relationship Id="rId41" Type="http://schemas.openxmlformats.org/officeDocument/2006/relationships/image" Target="../media/image741.png"/><Relationship Id="rId54" Type="http://schemas.openxmlformats.org/officeDocument/2006/relationships/customXml" Target="../ink/ink757.xml"/><Relationship Id="rId62" Type="http://schemas.openxmlformats.org/officeDocument/2006/relationships/customXml" Target="../ink/ink761.xml"/><Relationship Id="rId70" Type="http://schemas.openxmlformats.org/officeDocument/2006/relationships/customXml" Target="../ink/ink765.xml"/><Relationship Id="rId75" Type="http://schemas.openxmlformats.org/officeDocument/2006/relationships/image" Target="../media/image758.png"/><Relationship Id="rId83" Type="http://schemas.openxmlformats.org/officeDocument/2006/relationships/image" Target="../media/image762.png"/><Relationship Id="rId88" Type="http://schemas.openxmlformats.org/officeDocument/2006/relationships/customXml" Target="../ink/ink774.xml"/><Relationship Id="rId91" Type="http://schemas.openxmlformats.org/officeDocument/2006/relationships/image" Target="../media/image766.png"/><Relationship Id="rId96" Type="http://schemas.openxmlformats.org/officeDocument/2006/relationships/customXml" Target="../ink/ink778.xml"/><Relationship Id="rId1" Type="http://schemas.openxmlformats.org/officeDocument/2006/relationships/tags" Target="../tags/tag32.xml"/><Relationship Id="rId6" Type="http://schemas.openxmlformats.org/officeDocument/2006/relationships/customXml" Target="../ink/ink733.xml"/><Relationship Id="rId15" Type="http://schemas.openxmlformats.org/officeDocument/2006/relationships/image" Target="../media/image728.png"/><Relationship Id="rId23" Type="http://schemas.openxmlformats.org/officeDocument/2006/relationships/image" Target="../media/image732.png"/><Relationship Id="rId28" Type="http://schemas.openxmlformats.org/officeDocument/2006/relationships/customXml" Target="../ink/ink744.xml"/><Relationship Id="rId36" Type="http://schemas.openxmlformats.org/officeDocument/2006/relationships/customXml" Target="../ink/ink748.xml"/><Relationship Id="rId49" Type="http://schemas.openxmlformats.org/officeDocument/2006/relationships/image" Target="../media/image745.png"/><Relationship Id="rId57" Type="http://schemas.openxmlformats.org/officeDocument/2006/relationships/image" Target="../media/image749.png"/><Relationship Id="rId10" Type="http://schemas.openxmlformats.org/officeDocument/2006/relationships/customXml" Target="../ink/ink735.xml"/><Relationship Id="rId31" Type="http://schemas.openxmlformats.org/officeDocument/2006/relationships/image" Target="../media/image736.png"/><Relationship Id="rId44" Type="http://schemas.openxmlformats.org/officeDocument/2006/relationships/customXml" Target="../ink/ink752.xml"/><Relationship Id="rId52" Type="http://schemas.openxmlformats.org/officeDocument/2006/relationships/customXml" Target="../ink/ink756.xml"/><Relationship Id="rId60" Type="http://schemas.openxmlformats.org/officeDocument/2006/relationships/customXml" Target="../ink/ink760.xml"/><Relationship Id="rId65" Type="http://schemas.openxmlformats.org/officeDocument/2006/relationships/image" Target="../media/image753.png"/><Relationship Id="rId73" Type="http://schemas.openxmlformats.org/officeDocument/2006/relationships/image" Target="../media/image757.png"/><Relationship Id="rId78" Type="http://schemas.openxmlformats.org/officeDocument/2006/relationships/customXml" Target="../ink/ink769.xml"/><Relationship Id="rId81" Type="http://schemas.openxmlformats.org/officeDocument/2006/relationships/image" Target="../media/image761.png"/><Relationship Id="rId86" Type="http://schemas.openxmlformats.org/officeDocument/2006/relationships/customXml" Target="../ink/ink773.xml"/><Relationship Id="rId94" Type="http://schemas.openxmlformats.org/officeDocument/2006/relationships/customXml" Target="../ink/ink777.xml"/><Relationship Id="rId4" Type="http://schemas.openxmlformats.org/officeDocument/2006/relationships/image" Target="../media/image1.emf"/><Relationship Id="rId9" Type="http://schemas.openxmlformats.org/officeDocument/2006/relationships/image" Target="../media/image725.png"/><Relationship Id="rId13" Type="http://schemas.openxmlformats.org/officeDocument/2006/relationships/image" Target="../media/image727.png"/><Relationship Id="rId18" Type="http://schemas.openxmlformats.org/officeDocument/2006/relationships/customXml" Target="../ink/ink739.xml"/><Relationship Id="rId39" Type="http://schemas.openxmlformats.org/officeDocument/2006/relationships/image" Target="../media/image740.png"/><Relationship Id="rId34" Type="http://schemas.openxmlformats.org/officeDocument/2006/relationships/customXml" Target="../ink/ink747.xml"/><Relationship Id="rId50" Type="http://schemas.openxmlformats.org/officeDocument/2006/relationships/customXml" Target="../ink/ink755.xml"/><Relationship Id="rId55" Type="http://schemas.openxmlformats.org/officeDocument/2006/relationships/image" Target="../media/image748.png"/><Relationship Id="rId76" Type="http://schemas.openxmlformats.org/officeDocument/2006/relationships/customXml" Target="../ink/ink768.xml"/><Relationship Id="rId97" Type="http://schemas.openxmlformats.org/officeDocument/2006/relationships/image" Target="../media/image769.png"/><Relationship Id="rId7" Type="http://schemas.openxmlformats.org/officeDocument/2006/relationships/image" Target="../media/image724.png"/><Relationship Id="rId71" Type="http://schemas.openxmlformats.org/officeDocument/2006/relationships/image" Target="../media/image756.png"/><Relationship Id="rId92" Type="http://schemas.openxmlformats.org/officeDocument/2006/relationships/customXml" Target="../ink/ink776.xml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735.png"/><Relationship Id="rId24" Type="http://schemas.openxmlformats.org/officeDocument/2006/relationships/customXml" Target="../ink/ink742.xml"/><Relationship Id="rId40" Type="http://schemas.openxmlformats.org/officeDocument/2006/relationships/customXml" Target="../ink/ink750.xml"/><Relationship Id="rId45" Type="http://schemas.openxmlformats.org/officeDocument/2006/relationships/image" Target="../media/image743.png"/><Relationship Id="rId66" Type="http://schemas.openxmlformats.org/officeDocument/2006/relationships/customXml" Target="../ink/ink763.xml"/><Relationship Id="rId87" Type="http://schemas.openxmlformats.org/officeDocument/2006/relationships/image" Target="../media/image764.png"/><Relationship Id="rId61" Type="http://schemas.openxmlformats.org/officeDocument/2006/relationships/image" Target="../media/image751.png"/><Relationship Id="rId82" Type="http://schemas.openxmlformats.org/officeDocument/2006/relationships/customXml" Target="../ink/ink771.xml"/><Relationship Id="rId19" Type="http://schemas.openxmlformats.org/officeDocument/2006/relationships/image" Target="../media/image730.png"/><Relationship Id="rId14" Type="http://schemas.openxmlformats.org/officeDocument/2006/relationships/customXml" Target="../ink/ink737.xml"/><Relationship Id="rId30" Type="http://schemas.openxmlformats.org/officeDocument/2006/relationships/customXml" Target="../ink/ink745.xml"/><Relationship Id="rId35" Type="http://schemas.openxmlformats.org/officeDocument/2006/relationships/image" Target="../media/image738.png"/><Relationship Id="rId56" Type="http://schemas.openxmlformats.org/officeDocument/2006/relationships/customXml" Target="../ink/ink758.xml"/><Relationship Id="rId77" Type="http://schemas.openxmlformats.org/officeDocument/2006/relationships/image" Target="../media/image759.png"/><Relationship Id="rId8" Type="http://schemas.openxmlformats.org/officeDocument/2006/relationships/customXml" Target="../ink/ink734.xml"/><Relationship Id="rId51" Type="http://schemas.openxmlformats.org/officeDocument/2006/relationships/image" Target="../media/image746.png"/><Relationship Id="rId72" Type="http://schemas.openxmlformats.org/officeDocument/2006/relationships/customXml" Target="../ink/ink766.xml"/><Relationship Id="rId93" Type="http://schemas.openxmlformats.org/officeDocument/2006/relationships/image" Target="../media/image767.png"/></Relationships>
</file>

<file path=ppt/slides/_rels/slide3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74.png"/><Relationship Id="rId18" Type="http://schemas.openxmlformats.org/officeDocument/2006/relationships/customXml" Target="../ink/ink785.xml"/><Relationship Id="rId26" Type="http://schemas.openxmlformats.org/officeDocument/2006/relationships/customXml" Target="../ink/ink789.xml"/><Relationship Id="rId39" Type="http://schemas.openxmlformats.org/officeDocument/2006/relationships/image" Target="../media/image787.png"/><Relationship Id="rId21" Type="http://schemas.openxmlformats.org/officeDocument/2006/relationships/image" Target="../media/image778.png"/><Relationship Id="rId34" Type="http://schemas.openxmlformats.org/officeDocument/2006/relationships/customXml" Target="../ink/ink793.xml"/><Relationship Id="rId7" Type="http://schemas.openxmlformats.org/officeDocument/2006/relationships/image" Target="../media/image771.png"/><Relationship Id="rId12" Type="http://schemas.openxmlformats.org/officeDocument/2006/relationships/customXml" Target="../ink/ink782.xml"/><Relationship Id="rId17" Type="http://schemas.openxmlformats.org/officeDocument/2006/relationships/image" Target="../media/image776.png"/><Relationship Id="rId25" Type="http://schemas.openxmlformats.org/officeDocument/2006/relationships/image" Target="../media/image780.png"/><Relationship Id="rId33" Type="http://schemas.openxmlformats.org/officeDocument/2006/relationships/image" Target="../media/image784.png"/><Relationship Id="rId38" Type="http://schemas.openxmlformats.org/officeDocument/2006/relationships/customXml" Target="../ink/ink795.xml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784.xml"/><Relationship Id="rId20" Type="http://schemas.openxmlformats.org/officeDocument/2006/relationships/customXml" Target="../ink/ink786.xml"/><Relationship Id="rId29" Type="http://schemas.openxmlformats.org/officeDocument/2006/relationships/image" Target="../media/image782.png"/><Relationship Id="rId1" Type="http://schemas.openxmlformats.org/officeDocument/2006/relationships/tags" Target="../tags/tag33.xml"/><Relationship Id="rId6" Type="http://schemas.openxmlformats.org/officeDocument/2006/relationships/customXml" Target="../ink/ink779.xml"/><Relationship Id="rId11" Type="http://schemas.openxmlformats.org/officeDocument/2006/relationships/image" Target="../media/image773.png"/><Relationship Id="rId24" Type="http://schemas.openxmlformats.org/officeDocument/2006/relationships/customXml" Target="../ink/ink788.xml"/><Relationship Id="rId32" Type="http://schemas.openxmlformats.org/officeDocument/2006/relationships/customXml" Target="../ink/ink792.xml"/><Relationship Id="rId37" Type="http://schemas.openxmlformats.org/officeDocument/2006/relationships/image" Target="../media/image786.png"/><Relationship Id="rId5" Type="http://schemas.openxmlformats.org/officeDocument/2006/relationships/image" Target="../media/image770.png"/><Relationship Id="rId15" Type="http://schemas.openxmlformats.org/officeDocument/2006/relationships/image" Target="../media/image775.png"/><Relationship Id="rId23" Type="http://schemas.openxmlformats.org/officeDocument/2006/relationships/image" Target="../media/image779.png"/><Relationship Id="rId28" Type="http://schemas.openxmlformats.org/officeDocument/2006/relationships/customXml" Target="../ink/ink790.xml"/><Relationship Id="rId36" Type="http://schemas.openxmlformats.org/officeDocument/2006/relationships/customXml" Target="../ink/ink794.xml"/><Relationship Id="rId10" Type="http://schemas.openxmlformats.org/officeDocument/2006/relationships/customXml" Target="../ink/ink781.xml"/><Relationship Id="rId19" Type="http://schemas.openxmlformats.org/officeDocument/2006/relationships/image" Target="../media/image777.png"/><Relationship Id="rId31" Type="http://schemas.openxmlformats.org/officeDocument/2006/relationships/image" Target="../media/image783.png"/><Relationship Id="rId4" Type="http://schemas.openxmlformats.org/officeDocument/2006/relationships/image" Target="../media/image1.emf"/><Relationship Id="rId9" Type="http://schemas.openxmlformats.org/officeDocument/2006/relationships/image" Target="../media/image772.png"/><Relationship Id="rId14" Type="http://schemas.openxmlformats.org/officeDocument/2006/relationships/customXml" Target="../ink/ink783.xml"/><Relationship Id="rId22" Type="http://schemas.openxmlformats.org/officeDocument/2006/relationships/customXml" Target="../ink/ink787.xml"/><Relationship Id="rId27" Type="http://schemas.openxmlformats.org/officeDocument/2006/relationships/image" Target="../media/image781.png"/><Relationship Id="rId30" Type="http://schemas.openxmlformats.org/officeDocument/2006/relationships/customXml" Target="../ink/ink791.xml"/><Relationship Id="rId35" Type="http://schemas.openxmlformats.org/officeDocument/2006/relationships/image" Target="../media/image785.png"/><Relationship Id="rId8" Type="http://schemas.openxmlformats.org/officeDocument/2006/relationships/customXml" Target="../ink/ink780.xml"/><Relationship Id="rId3" Type="http://schemas.openxmlformats.org/officeDocument/2006/relationships/oleObject" Target="../embeddings/oleObject32.bin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ustomXml" Target="../ink/ink797.xml"/><Relationship Id="rId13" Type="http://schemas.openxmlformats.org/officeDocument/2006/relationships/image" Target="../media/image792.png"/><Relationship Id="rId18" Type="http://schemas.openxmlformats.org/officeDocument/2006/relationships/customXml" Target="../ink/ink802.xml"/><Relationship Id="rId3" Type="http://schemas.openxmlformats.org/officeDocument/2006/relationships/oleObject" Target="../embeddings/oleObject33.bin"/><Relationship Id="rId21" Type="http://schemas.openxmlformats.org/officeDocument/2006/relationships/image" Target="../media/image796.png"/><Relationship Id="rId7" Type="http://schemas.openxmlformats.org/officeDocument/2006/relationships/image" Target="../media/image789.png"/><Relationship Id="rId12" Type="http://schemas.openxmlformats.org/officeDocument/2006/relationships/customXml" Target="../ink/ink799.xml"/><Relationship Id="rId17" Type="http://schemas.openxmlformats.org/officeDocument/2006/relationships/image" Target="../media/image794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801.xml"/><Relationship Id="rId20" Type="http://schemas.openxmlformats.org/officeDocument/2006/relationships/customXml" Target="../ink/ink803.xml"/><Relationship Id="rId1" Type="http://schemas.openxmlformats.org/officeDocument/2006/relationships/tags" Target="../tags/tag34.xml"/><Relationship Id="rId6" Type="http://schemas.openxmlformats.org/officeDocument/2006/relationships/customXml" Target="../ink/ink796.xml"/><Relationship Id="rId11" Type="http://schemas.openxmlformats.org/officeDocument/2006/relationships/image" Target="../media/image791.png"/><Relationship Id="rId5" Type="http://schemas.openxmlformats.org/officeDocument/2006/relationships/image" Target="../media/image788.png"/><Relationship Id="rId15" Type="http://schemas.openxmlformats.org/officeDocument/2006/relationships/image" Target="../media/image793.png"/><Relationship Id="rId23" Type="http://schemas.openxmlformats.org/officeDocument/2006/relationships/image" Target="../media/image797.png"/><Relationship Id="rId10" Type="http://schemas.openxmlformats.org/officeDocument/2006/relationships/customXml" Target="../ink/ink798.xml"/><Relationship Id="rId19" Type="http://schemas.openxmlformats.org/officeDocument/2006/relationships/image" Target="../media/image795.png"/><Relationship Id="rId4" Type="http://schemas.openxmlformats.org/officeDocument/2006/relationships/image" Target="../media/image1.emf"/><Relationship Id="rId9" Type="http://schemas.openxmlformats.org/officeDocument/2006/relationships/image" Target="../media/image790.png"/><Relationship Id="rId14" Type="http://schemas.openxmlformats.org/officeDocument/2006/relationships/customXml" Target="../ink/ink800.xml"/><Relationship Id="rId22" Type="http://schemas.openxmlformats.org/officeDocument/2006/relationships/customXml" Target="../ink/ink80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798.png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26" Type="http://schemas.openxmlformats.org/officeDocument/2006/relationships/customXml" Target="../ink/ink815.xml"/><Relationship Id="rId21" Type="http://schemas.openxmlformats.org/officeDocument/2006/relationships/image" Target="../media/image807.png"/><Relationship Id="rId42" Type="http://schemas.openxmlformats.org/officeDocument/2006/relationships/customXml" Target="../ink/ink823.xml"/><Relationship Id="rId47" Type="http://schemas.openxmlformats.org/officeDocument/2006/relationships/image" Target="../media/image820.png"/><Relationship Id="rId63" Type="http://schemas.openxmlformats.org/officeDocument/2006/relationships/image" Target="../media/image828.png"/><Relationship Id="rId68" Type="http://schemas.openxmlformats.org/officeDocument/2006/relationships/customXml" Target="../ink/ink836.xml"/><Relationship Id="rId7" Type="http://schemas.openxmlformats.org/officeDocument/2006/relationships/image" Target="../media/image800.png"/><Relationship Id="rId71" Type="http://schemas.openxmlformats.org/officeDocument/2006/relationships/image" Target="../media/image832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810.xml"/><Relationship Id="rId29" Type="http://schemas.openxmlformats.org/officeDocument/2006/relationships/image" Target="../media/image811.png"/><Relationship Id="rId11" Type="http://schemas.openxmlformats.org/officeDocument/2006/relationships/image" Target="../media/image802.png"/><Relationship Id="rId24" Type="http://schemas.openxmlformats.org/officeDocument/2006/relationships/customXml" Target="../ink/ink814.xml"/><Relationship Id="rId32" Type="http://schemas.openxmlformats.org/officeDocument/2006/relationships/customXml" Target="../ink/ink818.xml"/><Relationship Id="rId37" Type="http://schemas.openxmlformats.org/officeDocument/2006/relationships/image" Target="../media/image815.png"/><Relationship Id="rId40" Type="http://schemas.openxmlformats.org/officeDocument/2006/relationships/customXml" Target="../ink/ink822.xml"/><Relationship Id="rId45" Type="http://schemas.openxmlformats.org/officeDocument/2006/relationships/image" Target="../media/image819.png"/><Relationship Id="rId53" Type="http://schemas.openxmlformats.org/officeDocument/2006/relationships/image" Target="../media/image823.png"/><Relationship Id="rId58" Type="http://schemas.openxmlformats.org/officeDocument/2006/relationships/customXml" Target="../ink/ink831.xml"/><Relationship Id="rId66" Type="http://schemas.openxmlformats.org/officeDocument/2006/relationships/customXml" Target="../ink/ink835.xml"/><Relationship Id="rId5" Type="http://schemas.openxmlformats.org/officeDocument/2006/relationships/image" Target="../media/image799.png"/><Relationship Id="rId61" Type="http://schemas.openxmlformats.org/officeDocument/2006/relationships/image" Target="../media/image827.png"/><Relationship Id="rId19" Type="http://schemas.openxmlformats.org/officeDocument/2006/relationships/image" Target="../media/image806.png"/><Relationship Id="rId14" Type="http://schemas.openxmlformats.org/officeDocument/2006/relationships/customXml" Target="../ink/ink809.xml"/><Relationship Id="rId22" Type="http://schemas.openxmlformats.org/officeDocument/2006/relationships/customXml" Target="../ink/ink813.xml"/><Relationship Id="rId27" Type="http://schemas.openxmlformats.org/officeDocument/2006/relationships/image" Target="../media/image810.png"/><Relationship Id="rId30" Type="http://schemas.openxmlformats.org/officeDocument/2006/relationships/customXml" Target="../ink/ink817.xml"/><Relationship Id="rId35" Type="http://schemas.openxmlformats.org/officeDocument/2006/relationships/image" Target="../media/image814.png"/><Relationship Id="rId43" Type="http://schemas.openxmlformats.org/officeDocument/2006/relationships/image" Target="../media/image818.png"/><Relationship Id="rId48" Type="http://schemas.openxmlformats.org/officeDocument/2006/relationships/customXml" Target="../ink/ink826.xml"/><Relationship Id="rId56" Type="http://schemas.openxmlformats.org/officeDocument/2006/relationships/customXml" Target="../ink/ink830.xml"/><Relationship Id="rId64" Type="http://schemas.openxmlformats.org/officeDocument/2006/relationships/customXml" Target="../ink/ink834.xml"/><Relationship Id="rId69" Type="http://schemas.openxmlformats.org/officeDocument/2006/relationships/image" Target="../media/image831.png"/><Relationship Id="rId8" Type="http://schemas.openxmlformats.org/officeDocument/2006/relationships/customXml" Target="../ink/ink806.xml"/><Relationship Id="rId51" Type="http://schemas.openxmlformats.org/officeDocument/2006/relationships/image" Target="../media/image822.png"/><Relationship Id="rId3" Type="http://schemas.openxmlformats.org/officeDocument/2006/relationships/oleObject" Target="../embeddings/oleObject35.bin"/><Relationship Id="rId12" Type="http://schemas.openxmlformats.org/officeDocument/2006/relationships/customXml" Target="../ink/ink808.xml"/><Relationship Id="rId17" Type="http://schemas.openxmlformats.org/officeDocument/2006/relationships/image" Target="../media/image805.png"/><Relationship Id="rId25" Type="http://schemas.openxmlformats.org/officeDocument/2006/relationships/image" Target="../media/image809.png"/><Relationship Id="rId33" Type="http://schemas.openxmlformats.org/officeDocument/2006/relationships/image" Target="../media/image813.png"/><Relationship Id="rId38" Type="http://schemas.openxmlformats.org/officeDocument/2006/relationships/customXml" Target="../ink/ink821.xml"/><Relationship Id="rId46" Type="http://schemas.openxmlformats.org/officeDocument/2006/relationships/customXml" Target="../ink/ink825.xml"/><Relationship Id="rId59" Type="http://schemas.openxmlformats.org/officeDocument/2006/relationships/image" Target="../media/image826.png"/><Relationship Id="rId67" Type="http://schemas.openxmlformats.org/officeDocument/2006/relationships/image" Target="../media/image830.png"/><Relationship Id="rId20" Type="http://schemas.openxmlformats.org/officeDocument/2006/relationships/customXml" Target="../ink/ink812.xml"/><Relationship Id="rId41" Type="http://schemas.openxmlformats.org/officeDocument/2006/relationships/image" Target="../media/image817.png"/><Relationship Id="rId54" Type="http://schemas.openxmlformats.org/officeDocument/2006/relationships/customXml" Target="../ink/ink829.xml"/><Relationship Id="rId62" Type="http://schemas.openxmlformats.org/officeDocument/2006/relationships/customXml" Target="../ink/ink833.xml"/><Relationship Id="rId70" Type="http://schemas.openxmlformats.org/officeDocument/2006/relationships/customXml" Target="../ink/ink837.xml"/><Relationship Id="rId1" Type="http://schemas.openxmlformats.org/officeDocument/2006/relationships/tags" Target="../tags/tag36.xml"/><Relationship Id="rId6" Type="http://schemas.openxmlformats.org/officeDocument/2006/relationships/customXml" Target="../ink/ink805.xml"/><Relationship Id="rId15" Type="http://schemas.openxmlformats.org/officeDocument/2006/relationships/image" Target="../media/image804.png"/><Relationship Id="rId23" Type="http://schemas.openxmlformats.org/officeDocument/2006/relationships/image" Target="../media/image808.png"/><Relationship Id="rId28" Type="http://schemas.openxmlformats.org/officeDocument/2006/relationships/customXml" Target="../ink/ink816.xml"/><Relationship Id="rId36" Type="http://schemas.openxmlformats.org/officeDocument/2006/relationships/customXml" Target="../ink/ink820.xml"/><Relationship Id="rId49" Type="http://schemas.openxmlformats.org/officeDocument/2006/relationships/image" Target="../media/image821.png"/><Relationship Id="rId57" Type="http://schemas.openxmlformats.org/officeDocument/2006/relationships/image" Target="../media/image825.png"/><Relationship Id="rId10" Type="http://schemas.openxmlformats.org/officeDocument/2006/relationships/customXml" Target="../ink/ink807.xml"/><Relationship Id="rId31" Type="http://schemas.openxmlformats.org/officeDocument/2006/relationships/image" Target="../media/image812.png"/><Relationship Id="rId44" Type="http://schemas.openxmlformats.org/officeDocument/2006/relationships/customXml" Target="../ink/ink824.xml"/><Relationship Id="rId52" Type="http://schemas.openxmlformats.org/officeDocument/2006/relationships/customXml" Target="../ink/ink828.xml"/><Relationship Id="rId60" Type="http://schemas.openxmlformats.org/officeDocument/2006/relationships/customXml" Target="../ink/ink832.xml"/><Relationship Id="rId65" Type="http://schemas.openxmlformats.org/officeDocument/2006/relationships/image" Target="../media/image829.png"/><Relationship Id="rId4" Type="http://schemas.openxmlformats.org/officeDocument/2006/relationships/image" Target="../media/image1.emf"/><Relationship Id="rId9" Type="http://schemas.openxmlformats.org/officeDocument/2006/relationships/image" Target="../media/image801.png"/><Relationship Id="rId13" Type="http://schemas.openxmlformats.org/officeDocument/2006/relationships/image" Target="../media/image803.png"/><Relationship Id="rId18" Type="http://schemas.openxmlformats.org/officeDocument/2006/relationships/customXml" Target="../ink/ink811.xml"/><Relationship Id="rId39" Type="http://schemas.openxmlformats.org/officeDocument/2006/relationships/image" Target="../media/image816.png"/><Relationship Id="rId34" Type="http://schemas.openxmlformats.org/officeDocument/2006/relationships/customXml" Target="../ink/ink819.xml"/><Relationship Id="rId50" Type="http://schemas.openxmlformats.org/officeDocument/2006/relationships/customXml" Target="../ink/ink827.xml"/><Relationship Id="rId55" Type="http://schemas.openxmlformats.org/officeDocument/2006/relationships/image" Target="../media/image824.png"/></Relationships>
</file>

<file path=ppt/slides/_rels/slide38.xml.rels><?xml version="1.0" encoding="UTF-8" standalone="yes"?>
<Relationships xmlns="http://schemas.openxmlformats.org/package/2006/relationships"><Relationship Id="rId117" Type="http://schemas.openxmlformats.org/officeDocument/2006/relationships/customXml" Target="../ink/ink893.xml"/><Relationship Id="rId21" Type="http://schemas.openxmlformats.org/officeDocument/2006/relationships/customXml" Target="../ink/ink845.xml"/><Relationship Id="rId42" Type="http://schemas.openxmlformats.org/officeDocument/2006/relationships/image" Target="../media/image851.png"/><Relationship Id="rId63" Type="http://schemas.openxmlformats.org/officeDocument/2006/relationships/customXml" Target="../ink/ink866.xml"/><Relationship Id="rId84" Type="http://schemas.openxmlformats.org/officeDocument/2006/relationships/image" Target="../media/image872.png"/><Relationship Id="rId138" Type="http://schemas.openxmlformats.org/officeDocument/2006/relationships/image" Target="../media/image899.png"/><Relationship Id="rId159" Type="http://schemas.openxmlformats.org/officeDocument/2006/relationships/customXml" Target="../ink/ink914.xml"/><Relationship Id="rId170" Type="http://schemas.openxmlformats.org/officeDocument/2006/relationships/image" Target="../media/image915.png"/><Relationship Id="rId191" Type="http://schemas.openxmlformats.org/officeDocument/2006/relationships/customXml" Target="../ink/ink930.xml"/><Relationship Id="rId205" Type="http://schemas.openxmlformats.org/officeDocument/2006/relationships/customXml" Target="../ink/ink937.xml"/><Relationship Id="rId226" Type="http://schemas.openxmlformats.org/officeDocument/2006/relationships/image" Target="../media/image943.png"/><Relationship Id="rId107" Type="http://schemas.openxmlformats.org/officeDocument/2006/relationships/customXml" Target="../ink/ink888.xml"/><Relationship Id="rId11" Type="http://schemas.openxmlformats.org/officeDocument/2006/relationships/customXml" Target="../ink/ink840.xml"/><Relationship Id="rId32" Type="http://schemas.openxmlformats.org/officeDocument/2006/relationships/image" Target="../media/image846.png"/><Relationship Id="rId53" Type="http://schemas.openxmlformats.org/officeDocument/2006/relationships/customXml" Target="../ink/ink861.xml"/><Relationship Id="rId74" Type="http://schemas.openxmlformats.org/officeDocument/2006/relationships/image" Target="../media/image867.png"/><Relationship Id="rId128" Type="http://schemas.openxmlformats.org/officeDocument/2006/relationships/image" Target="../media/image894.png"/><Relationship Id="rId149" Type="http://schemas.openxmlformats.org/officeDocument/2006/relationships/customXml" Target="../ink/ink909.xml"/><Relationship Id="rId5" Type="http://schemas.openxmlformats.org/officeDocument/2006/relationships/image" Target="../media/image1.emf"/><Relationship Id="rId95" Type="http://schemas.openxmlformats.org/officeDocument/2006/relationships/customXml" Target="../ink/ink882.xml"/><Relationship Id="rId160" Type="http://schemas.openxmlformats.org/officeDocument/2006/relationships/image" Target="../media/image910.png"/><Relationship Id="rId181" Type="http://schemas.openxmlformats.org/officeDocument/2006/relationships/customXml" Target="../ink/ink925.xml"/><Relationship Id="rId216" Type="http://schemas.openxmlformats.org/officeDocument/2006/relationships/image" Target="../media/image938.png"/><Relationship Id="rId237" Type="http://schemas.openxmlformats.org/officeDocument/2006/relationships/customXml" Target="../ink/ink953.xml"/><Relationship Id="rId22" Type="http://schemas.openxmlformats.org/officeDocument/2006/relationships/image" Target="../media/image841.png"/><Relationship Id="rId43" Type="http://schemas.openxmlformats.org/officeDocument/2006/relationships/customXml" Target="../ink/ink856.xml"/><Relationship Id="rId64" Type="http://schemas.openxmlformats.org/officeDocument/2006/relationships/image" Target="../media/image862.png"/><Relationship Id="rId118" Type="http://schemas.openxmlformats.org/officeDocument/2006/relationships/image" Target="../media/image889.png"/><Relationship Id="rId139" Type="http://schemas.openxmlformats.org/officeDocument/2006/relationships/customXml" Target="../ink/ink904.xml"/><Relationship Id="rId85" Type="http://schemas.openxmlformats.org/officeDocument/2006/relationships/customXml" Target="../ink/ink877.xml"/><Relationship Id="rId150" Type="http://schemas.openxmlformats.org/officeDocument/2006/relationships/image" Target="../media/image905.png"/><Relationship Id="rId171" Type="http://schemas.openxmlformats.org/officeDocument/2006/relationships/customXml" Target="../ink/ink920.xml"/><Relationship Id="rId192" Type="http://schemas.openxmlformats.org/officeDocument/2006/relationships/image" Target="../media/image926.png"/><Relationship Id="rId206" Type="http://schemas.openxmlformats.org/officeDocument/2006/relationships/image" Target="../media/image933.png"/><Relationship Id="rId227" Type="http://schemas.openxmlformats.org/officeDocument/2006/relationships/customXml" Target="../ink/ink948.xml"/><Relationship Id="rId12" Type="http://schemas.openxmlformats.org/officeDocument/2006/relationships/image" Target="../media/image836.png"/><Relationship Id="rId33" Type="http://schemas.openxmlformats.org/officeDocument/2006/relationships/customXml" Target="../ink/ink851.xml"/><Relationship Id="rId108" Type="http://schemas.openxmlformats.org/officeDocument/2006/relationships/image" Target="../media/image884.png"/><Relationship Id="rId129" Type="http://schemas.openxmlformats.org/officeDocument/2006/relationships/customXml" Target="../ink/ink899.xml"/><Relationship Id="rId54" Type="http://schemas.openxmlformats.org/officeDocument/2006/relationships/image" Target="../media/image857.png"/><Relationship Id="rId75" Type="http://schemas.openxmlformats.org/officeDocument/2006/relationships/customXml" Target="../ink/ink872.xml"/><Relationship Id="rId96" Type="http://schemas.openxmlformats.org/officeDocument/2006/relationships/image" Target="../media/image878.png"/><Relationship Id="rId140" Type="http://schemas.openxmlformats.org/officeDocument/2006/relationships/image" Target="../media/image900.png"/><Relationship Id="rId161" Type="http://schemas.openxmlformats.org/officeDocument/2006/relationships/customXml" Target="../ink/ink915.xml"/><Relationship Id="rId182" Type="http://schemas.openxmlformats.org/officeDocument/2006/relationships/image" Target="../media/image921.png"/><Relationship Id="rId217" Type="http://schemas.openxmlformats.org/officeDocument/2006/relationships/customXml" Target="../ink/ink943.xml"/><Relationship Id="rId6" Type="http://schemas.openxmlformats.org/officeDocument/2006/relationships/image" Target="../media/image833.png"/><Relationship Id="rId238" Type="http://schemas.openxmlformats.org/officeDocument/2006/relationships/image" Target="../media/image949.png"/><Relationship Id="rId23" Type="http://schemas.openxmlformats.org/officeDocument/2006/relationships/customXml" Target="../ink/ink846.xml"/><Relationship Id="rId119" Type="http://schemas.openxmlformats.org/officeDocument/2006/relationships/customXml" Target="../ink/ink894.xml"/><Relationship Id="rId44" Type="http://schemas.openxmlformats.org/officeDocument/2006/relationships/image" Target="../media/image852.png"/><Relationship Id="rId65" Type="http://schemas.openxmlformats.org/officeDocument/2006/relationships/customXml" Target="../ink/ink867.xml"/><Relationship Id="rId86" Type="http://schemas.openxmlformats.org/officeDocument/2006/relationships/image" Target="../media/image873.png"/><Relationship Id="rId130" Type="http://schemas.openxmlformats.org/officeDocument/2006/relationships/image" Target="../media/image895.png"/><Relationship Id="rId151" Type="http://schemas.openxmlformats.org/officeDocument/2006/relationships/customXml" Target="../ink/ink910.xml"/><Relationship Id="rId172" Type="http://schemas.openxmlformats.org/officeDocument/2006/relationships/image" Target="../media/image916.png"/><Relationship Id="rId193" Type="http://schemas.openxmlformats.org/officeDocument/2006/relationships/customXml" Target="../ink/ink931.xml"/><Relationship Id="rId207" Type="http://schemas.openxmlformats.org/officeDocument/2006/relationships/customXml" Target="../ink/ink938.xml"/><Relationship Id="rId228" Type="http://schemas.openxmlformats.org/officeDocument/2006/relationships/image" Target="../media/image944.png"/><Relationship Id="rId13" Type="http://schemas.openxmlformats.org/officeDocument/2006/relationships/customXml" Target="../ink/ink841.xml"/><Relationship Id="rId109" Type="http://schemas.openxmlformats.org/officeDocument/2006/relationships/customXml" Target="../ink/ink889.xml"/><Relationship Id="rId34" Type="http://schemas.openxmlformats.org/officeDocument/2006/relationships/image" Target="../media/image847.png"/><Relationship Id="rId55" Type="http://schemas.openxmlformats.org/officeDocument/2006/relationships/customXml" Target="../ink/ink862.xml"/><Relationship Id="rId76" Type="http://schemas.openxmlformats.org/officeDocument/2006/relationships/image" Target="../media/image868.png"/><Relationship Id="rId97" Type="http://schemas.openxmlformats.org/officeDocument/2006/relationships/customXml" Target="../ink/ink883.xml"/><Relationship Id="rId120" Type="http://schemas.openxmlformats.org/officeDocument/2006/relationships/image" Target="../media/image890.png"/><Relationship Id="rId141" Type="http://schemas.openxmlformats.org/officeDocument/2006/relationships/customXml" Target="../ink/ink905.xml"/><Relationship Id="rId7" Type="http://schemas.openxmlformats.org/officeDocument/2006/relationships/customXml" Target="../ink/ink838.xml"/><Relationship Id="rId162" Type="http://schemas.openxmlformats.org/officeDocument/2006/relationships/image" Target="../media/image911.png"/><Relationship Id="rId183" Type="http://schemas.openxmlformats.org/officeDocument/2006/relationships/customXml" Target="../ink/ink926.xml"/><Relationship Id="rId218" Type="http://schemas.openxmlformats.org/officeDocument/2006/relationships/image" Target="../media/image939.png"/><Relationship Id="rId24" Type="http://schemas.openxmlformats.org/officeDocument/2006/relationships/image" Target="../media/image842.png"/><Relationship Id="rId45" Type="http://schemas.openxmlformats.org/officeDocument/2006/relationships/customXml" Target="../ink/ink857.xml"/><Relationship Id="rId66" Type="http://schemas.openxmlformats.org/officeDocument/2006/relationships/image" Target="../media/image863.png"/><Relationship Id="rId87" Type="http://schemas.openxmlformats.org/officeDocument/2006/relationships/customXml" Target="../ink/ink878.xml"/><Relationship Id="rId110" Type="http://schemas.openxmlformats.org/officeDocument/2006/relationships/image" Target="../media/image885.png"/><Relationship Id="rId131" Type="http://schemas.openxmlformats.org/officeDocument/2006/relationships/customXml" Target="../ink/ink900.xml"/><Relationship Id="rId152" Type="http://schemas.openxmlformats.org/officeDocument/2006/relationships/image" Target="../media/image906.png"/><Relationship Id="rId173" Type="http://schemas.openxmlformats.org/officeDocument/2006/relationships/customXml" Target="../ink/ink921.xml"/><Relationship Id="rId194" Type="http://schemas.openxmlformats.org/officeDocument/2006/relationships/image" Target="../media/image927.png"/><Relationship Id="rId208" Type="http://schemas.openxmlformats.org/officeDocument/2006/relationships/image" Target="../media/image934.png"/><Relationship Id="rId229" Type="http://schemas.openxmlformats.org/officeDocument/2006/relationships/customXml" Target="../ink/ink949.xml"/><Relationship Id="rId14" Type="http://schemas.openxmlformats.org/officeDocument/2006/relationships/image" Target="../media/image837.png"/><Relationship Id="rId35" Type="http://schemas.openxmlformats.org/officeDocument/2006/relationships/customXml" Target="../ink/ink852.xml"/><Relationship Id="rId56" Type="http://schemas.openxmlformats.org/officeDocument/2006/relationships/image" Target="../media/image858.png"/><Relationship Id="rId77" Type="http://schemas.openxmlformats.org/officeDocument/2006/relationships/customXml" Target="../ink/ink873.xml"/><Relationship Id="rId100" Type="http://schemas.openxmlformats.org/officeDocument/2006/relationships/image" Target="../media/image880.png"/><Relationship Id="rId8" Type="http://schemas.openxmlformats.org/officeDocument/2006/relationships/image" Target="../media/image834.png"/><Relationship Id="rId98" Type="http://schemas.openxmlformats.org/officeDocument/2006/relationships/image" Target="../media/image879.png"/><Relationship Id="rId121" Type="http://schemas.openxmlformats.org/officeDocument/2006/relationships/customXml" Target="../ink/ink895.xml"/><Relationship Id="rId142" Type="http://schemas.openxmlformats.org/officeDocument/2006/relationships/image" Target="../media/image901.png"/><Relationship Id="rId163" Type="http://schemas.openxmlformats.org/officeDocument/2006/relationships/customXml" Target="../ink/ink916.xml"/><Relationship Id="rId184" Type="http://schemas.openxmlformats.org/officeDocument/2006/relationships/image" Target="../media/image922.png"/><Relationship Id="rId219" Type="http://schemas.openxmlformats.org/officeDocument/2006/relationships/customXml" Target="../ink/ink944.xml"/><Relationship Id="rId230" Type="http://schemas.openxmlformats.org/officeDocument/2006/relationships/image" Target="../media/image945.png"/><Relationship Id="rId25" Type="http://schemas.openxmlformats.org/officeDocument/2006/relationships/customXml" Target="../ink/ink847.xml"/><Relationship Id="rId46" Type="http://schemas.openxmlformats.org/officeDocument/2006/relationships/image" Target="../media/image853.png"/><Relationship Id="rId67" Type="http://schemas.openxmlformats.org/officeDocument/2006/relationships/customXml" Target="../ink/ink868.xml"/><Relationship Id="rId88" Type="http://schemas.openxmlformats.org/officeDocument/2006/relationships/image" Target="../media/image874.png"/><Relationship Id="rId111" Type="http://schemas.openxmlformats.org/officeDocument/2006/relationships/customXml" Target="../ink/ink890.xml"/><Relationship Id="rId132" Type="http://schemas.openxmlformats.org/officeDocument/2006/relationships/image" Target="../media/image896.png"/><Relationship Id="rId153" Type="http://schemas.openxmlformats.org/officeDocument/2006/relationships/customXml" Target="../ink/ink911.xml"/><Relationship Id="rId174" Type="http://schemas.openxmlformats.org/officeDocument/2006/relationships/image" Target="../media/image917.png"/><Relationship Id="rId195" Type="http://schemas.openxmlformats.org/officeDocument/2006/relationships/customXml" Target="../ink/ink932.xml"/><Relationship Id="rId209" Type="http://schemas.openxmlformats.org/officeDocument/2006/relationships/customXml" Target="../ink/ink939.xml"/><Relationship Id="rId190" Type="http://schemas.openxmlformats.org/officeDocument/2006/relationships/image" Target="../media/image925.png"/><Relationship Id="rId204" Type="http://schemas.openxmlformats.org/officeDocument/2006/relationships/image" Target="../media/image932.png"/><Relationship Id="rId220" Type="http://schemas.openxmlformats.org/officeDocument/2006/relationships/image" Target="../media/image940.png"/><Relationship Id="rId225" Type="http://schemas.openxmlformats.org/officeDocument/2006/relationships/customXml" Target="../ink/ink947.xml"/><Relationship Id="rId15" Type="http://schemas.openxmlformats.org/officeDocument/2006/relationships/customXml" Target="../ink/ink842.xml"/><Relationship Id="rId36" Type="http://schemas.openxmlformats.org/officeDocument/2006/relationships/image" Target="../media/image848.png"/><Relationship Id="rId57" Type="http://schemas.openxmlformats.org/officeDocument/2006/relationships/customXml" Target="../ink/ink863.xml"/><Relationship Id="rId106" Type="http://schemas.openxmlformats.org/officeDocument/2006/relationships/image" Target="../media/image883.png"/><Relationship Id="rId127" Type="http://schemas.openxmlformats.org/officeDocument/2006/relationships/customXml" Target="../ink/ink898.xml"/><Relationship Id="rId10" Type="http://schemas.openxmlformats.org/officeDocument/2006/relationships/image" Target="../media/image835.png"/><Relationship Id="rId31" Type="http://schemas.openxmlformats.org/officeDocument/2006/relationships/customXml" Target="../ink/ink850.xml"/><Relationship Id="rId52" Type="http://schemas.openxmlformats.org/officeDocument/2006/relationships/image" Target="../media/image856.png"/><Relationship Id="rId73" Type="http://schemas.openxmlformats.org/officeDocument/2006/relationships/customXml" Target="../ink/ink871.xml"/><Relationship Id="rId78" Type="http://schemas.openxmlformats.org/officeDocument/2006/relationships/image" Target="../media/image869.png"/><Relationship Id="rId94" Type="http://schemas.openxmlformats.org/officeDocument/2006/relationships/image" Target="../media/image877.png"/><Relationship Id="rId99" Type="http://schemas.openxmlformats.org/officeDocument/2006/relationships/customXml" Target="../ink/ink884.xml"/><Relationship Id="rId101" Type="http://schemas.openxmlformats.org/officeDocument/2006/relationships/customXml" Target="../ink/ink885.xml"/><Relationship Id="rId122" Type="http://schemas.openxmlformats.org/officeDocument/2006/relationships/image" Target="../media/image891.png"/><Relationship Id="rId143" Type="http://schemas.openxmlformats.org/officeDocument/2006/relationships/customXml" Target="../ink/ink906.xml"/><Relationship Id="rId148" Type="http://schemas.openxmlformats.org/officeDocument/2006/relationships/image" Target="../media/image904.png"/><Relationship Id="rId164" Type="http://schemas.openxmlformats.org/officeDocument/2006/relationships/image" Target="../media/image912.png"/><Relationship Id="rId169" Type="http://schemas.openxmlformats.org/officeDocument/2006/relationships/customXml" Target="../ink/ink919.xml"/><Relationship Id="rId185" Type="http://schemas.openxmlformats.org/officeDocument/2006/relationships/customXml" Target="../ink/ink927.xml"/><Relationship Id="rId4" Type="http://schemas.openxmlformats.org/officeDocument/2006/relationships/oleObject" Target="../embeddings/oleObject36.bin"/><Relationship Id="rId9" Type="http://schemas.openxmlformats.org/officeDocument/2006/relationships/customXml" Target="../ink/ink839.xml"/><Relationship Id="rId180" Type="http://schemas.openxmlformats.org/officeDocument/2006/relationships/image" Target="../media/image920.png"/><Relationship Id="rId210" Type="http://schemas.openxmlformats.org/officeDocument/2006/relationships/image" Target="../media/image935.png"/><Relationship Id="rId215" Type="http://schemas.openxmlformats.org/officeDocument/2006/relationships/customXml" Target="../ink/ink942.xml"/><Relationship Id="rId236" Type="http://schemas.openxmlformats.org/officeDocument/2006/relationships/image" Target="../media/image948.png"/><Relationship Id="rId26" Type="http://schemas.openxmlformats.org/officeDocument/2006/relationships/image" Target="../media/image843.png"/><Relationship Id="rId231" Type="http://schemas.openxmlformats.org/officeDocument/2006/relationships/customXml" Target="../ink/ink950.xml"/><Relationship Id="rId47" Type="http://schemas.openxmlformats.org/officeDocument/2006/relationships/customXml" Target="../ink/ink858.xml"/><Relationship Id="rId68" Type="http://schemas.openxmlformats.org/officeDocument/2006/relationships/image" Target="../media/image864.png"/><Relationship Id="rId89" Type="http://schemas.openxmlformats.org/officeDocument/2006/relationships/customXml" Target="../ink/ink879.xml"/><Relationship Id="rId112" Type="http://schemas.openxmlformats.org/officeDocument/2006/relationships/image" Target="../media/image886.png"/><Relationship Id="rId133" Type="http://schemas.openxmlformats.org/officeDocument/2006/relationships/customXml" Target="../ink/ink901.xml"/><Relationship Id="rId154" Type="http://schemas.openxmlformats.org/officeDocument/2006/relationships/image" Target="../media/image907.png"/><Relationship Id="rId175" Type="http://schemas.openxmlformats.org/officeDocument/2006/relationships/customXml" Target="../ink/ink922.xml"/><Relationship Id="rId196" Type="http://schemas.openxmlformats.org/officeDocument/2006/relationships/image" Target="../media/image928.png"/><Relationship Id="rId200" Type="http://schemas.openxmlformats.org/officeDocument/2006/relationships/image" Target="../media/image930.png"/><Relationship Id="rId16" Type="http://schemas.openxmlformats.org/officeDocument/2006/relationships/image" Target="../media/image838.png"/><Relationship Id="rId221" Type="http://schemas.openxmlformats.org/officeDocument/2006/relationships/customXml" Target="../ink/ink945.xml"/><Relationship Id="rId37" Type="http://schemas.openxmlformats.org/officeDocument/2006/relationships/customXml" Target="../ink/ink853.xml"/><Relationship Id="rId58" Type="http://schemas.openxmlformats.org/officeDocument/2006/relationships/image" Target="../media/image859.png"/><Relationship Id="rId79" Type="http://schemas.openxmlformats.org/officeDocument/2006/relationships/customXml" Target="../ink/ink874.xml"/><Relationship Id="rId102" Type="http://schemas.openxmlformats.org/officeDocument/2006/relationships/image" Target="../media/image881.png"/><Relationship Id="rId123" Type="http://schemas.openxmlformats.org/officeDocument/2006/relationships/customXml" Target="../ink/ink896.xml"/><Relationship Id="rId144" Type="http://schemas.openxmlformats.org/officeDocument/2006/relationships/image" Target="../media/image902.png"/><Relationship Id="rId90" Type="http://schemas.openxmlformats.org/officeDocument/2006/relationships/image" Target="../media/image875.png"/><Relationship Id="rId165" Type="http://schemas.openxmlformats.org/officeDocument/2006/relationships/customXml" Target="../ink/ink917.xml"/><Relationship Id="rId186" Type="http://schemas.openxmlformats.org/officeDocument/2006/relationships/image" Target="../media/image923.png"/><Relationship Id="rId211" Type="http://schemas.openxmlformats.org/officeDocument/2006/relationships/customXml" Target="../ink/ink940.xml"/><Relationship Id="rId232" Type="http://schemas.openxmlformats.org/officeDocument/2006/relationships/image" Target="../media/image946.png"/><Relationship Id="rId27" Type="http://schemas.openxmlformats.org/officeDocument/2006/relationships/customXml" Target="../ink/ink848.xml"/><Relationship Id="rId48" Type="http://schemas.openxmlformats.org/officeDocument/2006/relationships/image" Target="../media/image854.png"/><Relationship Id="rId69" Type="http://schemas.openxmlformats.org/officeDocument/2006/relationships/customXml" Target="../ink/ink869.xml"/><Relationship Id="rId113" Type="http://schemas.openxmlformats.org/officeDocument/2006/relationships/customXml" Target="../ink/ink891.xml"/><Relationship Id="rId134" Type="http://schemas.openxmlformats.org/officeDocument/2006/relationships/image" Target="../media/image897.png"/><Relationship Id="rId80" Type="http://schemas.openxmlformats.org/officeDocument/2006/relationships/image" Target="../media/image870.png"/><Relationship Id="rId155" Type="http://schemas.openxmlformats.org/officeDocument/2006/relationships/customXml" Target="../ink/ink912.xml"/><Relationship Id="rId176" Type="http://schemas.openxmlformats.org/officeDocument/2006/relationships/image" Target="../media/image918.png"/><Relationship Id="rId197" Type="http://schemas.openxmlformats.org/officeDocument/2006/relationships/customXml" Target="../ink/ink933.xml"/><Relationship Id="rId201" Type="http://schemas.openxmlformats.org/officeDocument/2006/relationships/customXml" Target="../ink/ink935.xml"/><Relationship Id="rId222" Type="http://schemas.openxmlformats.org/officeDocument/2006/relationships/image" Target="../media/image941.png"/><Relationship Id="rId17" Type="http://schemas.openxmlformats.org/officeDocument/2006/relationships/customXml" Target="../ink/ink843.xml"/><Relationship Id="rId38" Type="http://schemas.openxmlformats.org/officeDocument/2006/relationships/image" Target="../media/image849.png"/><Relationship Id="rId59" Type="http://schemas.openxmlformats.org/officeDocument/2006/relationships/customXml" Target="../ink/ink864.xml"/><Relationship Id="rId103" Type="http://schemas.openxmlformats.org/officeDocument/2006/relationships/customXml" Target="../ink/ink886.xml"/><Relationship Id="rId124" Type="http://schemas.openxmlformats.org/officeDocument/2006/relationships/image" Target="../media/image892.png"/><Relationship Id="rId70" Type="http://schemas.openxmlformats.org/officeDocument/2006/relationships/image" Target="../media/image865.png"/><Relationship Id="rId91" Type="http://schemas.openxmlformats.org/officeDocument/2006/relationships/customXml" Target="../ink/ink880.xml"/><Relationship Id="rId145" Type="http://schemas.openxmlformats.org/officeDocument/2006/relationships/customXml" Target="../ink/ink907.xml"/><Relationship Id="rId166" Type="http://schemas.openxmlformats.org/officeDocument/2006/relationships/image" Target="../media/image913.png"/><Relationship Id="rId187" Type="http://schemas.openxmlformats.org/officeDocument/2006/relationships/customXml" Target="../ink/ink928.xml"/><Relationship Id="rId1" Type="http://schemas.openxmlformats.org/officeDocument/2006/relationships/tags" Target="../tags/tag37.xml"/><Relationship Id="rId212" Type="http://schemas.openxmlformats.org/officeDocument/2006/relationships/image" Target="../media/image936.png"/><Relationship Id="rId233" Type="http://schemas.openxmlformats.org/officeDocument/2006/relationships/customXml" Target="../ink/ink951.xml"/><Relationship Id="rId28" Type="http://schemas.openxmlformats.org/officeDocument/2006/relationships/image" Target="../media/image844.png"/><Relationship Id="rId49" Type="http://schemas.openxmlformats.org/officeDocument/2006/relationships/customXml" Target="../ink/ink859.xml"/><Relationship Id="rId114" Type="http://schemas.openxmlformats.org/officeDocument/2006/relationships/image" Target="../media/image887.png"/><Relationship Id="rId60" Type="http://schemas.openxmlformats.org/officeDocument/2006/relationships/image" Target="../media/image860.png"/><Relationship Id="rId81" Type="http://schemas.openxmlformats.org/officeDocument/2006/relationships/customXml" Target="../ink/ink875.xml"/><Relationship Id="rId135" Type="http://schemas.openxmlformats.org/officeDocument/2006/relationships/customXml" Target="../ink/ink902.xml"/><Relationship Id="rId156" Type="http://schemas.openxmlformats.org/officeDocument/2006/relationships/image" Target="../media/image908.png"/><Relationship Id="rId177" Type="http://schemas.openxmlformats.org/officeDocument/2006/relationships/customXml" Target="../ink/ink923.xml"/><Relationship Id="rId198" Type="http://schemas.openxmlformats.org/officeDocument/2006/relationships/image" Target="../media/image929.png"/><Relationship Id="rId202" Type="http://schemas.openxmlformats.org/officeDocument/2006/relationships/image" Target="../media/image931.png"/><Relationship Id="rId223" Type="http://schemas.openxmlformats.org/officeDocument/2006/relationships/customXml" Target="../ink/ink946.xml"/><Relationship Id="rId18" Type="http://schemas.openxmlformats.org/officeDocument/2006/relationships/image" Target="../media/image839.png"/><Relationship Id="rId39" Type="http://schemas.openxmlformats.org/officeDocument/2006/relationships/customXml" Target="../ink/ink854.xml"/><Relationship Id="rId50" Type="http://schemas.openxmlformats.org/officeDocument/2006/relationships/image" Target="../media/image855.png"/><Relationship Id="rId104" Type="http://schemas.openxmlformats.org/officeDocument/2006/relationships/image" Target="../media/image882.png"/><Relationship Id="rId125" Type="http://schemas.openxmlformats.org/officeDocument/2006/relationships/customXml" Target="../ink/ink897.xml"/><Relationship Id="rId146" Type="http://schemas.openxmlformats.org/officeDocument/2006/relationships/image" Target="../media/image903.png"/><Relationship Id="rId167" Type="http://schemas.openxmlformats.org/officeDocument/2006/relationships/customXml" Target="../ink/ink918.xml"/><Relationship Id="rId188" Type="http://schemas.openxmlformats.org/officeDocument/2006/relationships/image" Target="../media/image924.png"/><Relationship Id="rId71" Type="http://schemas.openxmlformats.org/officeDocument/2006/relationships/customXml" Target="../ink/ink870.xml"/><Relationship Id="rId92" Type="http://schemas.openxmlformats.org/officeDocument/2006/relationships/image" Target="../media/image876.png"/><Relationship Id="rId213" Type="http://schemas.openxmlformats.org/officeDocument/2006/relationships/customXml" Target="../ink/ink941.xml"/><Relationship Id="rId234" Type="http://schemas.openxmlformats.org/officeDocument/2006/relationships/image" Target="../media/image947.png"/><Relationship Id="rId2" Type="http://schemas.openxmlformats.org/officeDocument/2006/relationships/slideLayout" Target="../slideLayouts/slideLayout2.xml"/><Relationship Id="rId29" Type="http://schemas.openxmlformats.org/officeDocument/2006/relationships/customXml" Target="../ink/ink849.xml"/><Relationship Id="rId40" Type="http://schemas.openxmlformats.org/officeDocument/2006/relationships/image" Target="../media/image850.png"/><Relationship Id="rId115" Type="http://schemas.openxmlformats.org/officeDocument/2006/relationships/customXml" Target="../ink/ink892.xml"/><Relationship Id="rId136" Type="http://schemas.openxmlformats.org/officeDocument/2006/relationships/image" Target="../media/image898.png"/><Relationship Id="rId157" Type="http://schemas.openxmlformats.org/officeDocument/2006/relationships/customXml" Target="../ink/ink913.xml"/><Relationship Id="rId178" Type="http://schemas.openxmlformats.org/officeDocument/2006/relationships/image" Target="../media/image919.png"/><Relationship Id="rId61" Type="http://schemas.openxmlformats.org/officeDocument/2006/relationships/customXml" Target="../ink/ink865.xml"/><Relationship Id="rId82" Type="http://schemas.openxmlformats.org/officeDocument/2006/relationships/image" Target="../media/image871.png"/><Relationship Id="rId199" Type="http://schemas.openxmlformats.org/officeDocument/2006/relationships/customXml" Target="../ink/ink934.xml"/><Relationship Id="rId203" Type="http://schemas.openxmlformats.org/officeDocument/2006/relationships/customXml" Target="../ink/ink936.xml"/><Relationship Id="rId19" Type="http://schemas.openxmlformats.org/officeDocument/2006/relationships/customXml" Target="../ink/ink844.xml"/><Relationship Id="rId224" Type="http://schemas.openxmlformats.org/officeDocument/2006/relationships/image" Target="../media/image942.png"/><Relationship Id="rId30" Type="http://schemas.openxmlformats.org/officeDocument/2006/relationships/image" Target="../media/image845.png"/><Relationship Id="rId105" Type="http://schemas.openxmlformats.org/officeDocument/2006/relationships/customXml" Target="../ink/ink887.xml"/><Relationship Id="rId126" Type="http://schemas.openxmlformats.org/officeDocument/2006/relationships/image" Target="../media/image893.png"/><Relationship Id="rId147" Type="http://schemas.openxmlformats.org/officeDocument/2006/relationships/customXml" Target="../ink/ink908.xml"/><Relationship Id="rId168" Type="http://schemas.openxmlformats.org/officeDocument/2006/relationships/image" Target="../media/image914.png"/><Relationship Id="rId51" Type="http://schemas.openxmlformats.org/officeDocument/2006/relationships/customXml" Target="../ink/ink860.xml"/><Relationship Id="rId72" Type="http://schemas.openxmlformats.org/officeDocument/2006/relationships/image" Target="../media/image866.png"/><Relationship Id="rId93" Type="http://schemas.openxmlformats.org/officeDocument/2006/relationships/customXml" Target="../ink/ink881.xml"/><Relationship Id="rId189" Type="http://schemas.openxmlformats.org/officeDocument/2006/relationships/customXml" Target="../ink/ink929.xml"/><Relationship Id="rId3" Type="http://schemas.openxmlformats.org/officeDocument/2006/relationships/notesSlide" Target="../notesSlides/notesSlide2.xml"/><Relationship Id="rId214" Type="http://schemas.openxmlformats.org/officeDocument/2006/relationships/image" Target="../media/image937.png"/><Relationship Id="rId235" Type="http://schemas.openxmlformats.org/officeDocument/2006/relationships/customXml" Target="../ink/ink952.xml"/><Relationship Id="rId116" Type="http://schemas.openxmlformats.org/officeDocument/2006/relationships/image" Target="../media/image888.png"/><Relationship Id="rId137" Type="http://schemas.openxmlformats.org/officeDocument/2006/relationships/customXml" Target="../ink/ink903.xml"/><Relationship Id="rId158" Type="http://schemas.openxmlformats.org/officeDocument/2006/relationships/image" Target="../media/image909.png"/><Relationship Id="rId20" Type="http://schemas.openxmlformats.org/officeDocument/2006/relationships/image" Target="../media/image840.png"/><Relationship Id="rId41" Type="http://schemas.openxmlformats.org/officeDocument/2006/relationships/customXml" Target="../ink/ink855.xml"/><Relationship Id="rId62" Type="http://schemas.openxmlformats.org/officeDocument/2006/relationships/image" Target="../media/image861.png"/><Relationship Id="rId83" Type="http://schemas.openxmlformats.org/officeDocument/2006/relationships/customXml" Target="../ink/ink876.xml"/><Relationship Id="rId179" Type="http://schemas.openxmlformats.org/officeDocument/2006/relationships/customXml" Target="../ink/ink92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5" Type="http://schemas.openxmlformats.org/officeDocument/2006/relationships/image" Target="../media/image950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60.png"/><Relationship Id="rId21" Type="http://schemas.openxmlformats.org/officeDocument/2006/relationships/image" Target="../media/image112.png"/><Relationship Id="rId42" Type="http://schemas.openxmlformats.org/officeDocument/2006/relationships/customXml" Target="../ink/ink119.xml"/><Relationship Id="rId63" Type="http://schemas.openxmlformats.org/officeDocument/2006/relationships/image" Target="../media/image133.png"/><Relationship Id="rId84" Type="http://schemas.openxmlformats.org/officeDocument/2006/relationships/customXml" Target="../ink/ink140.xml"/><Relationship Id="rId138" Type="http://schemas.openxmlformats.org/officeDocument/2006/relationships/customXml" Target="../ink/ink167.xml"/><Relationship Id="rId159" Type="http://schemas.openxmlformats.org/officeDocument/2006/relationships/image" Target="../media/image181.png"/><Relationship Id="rId170" Type="http://schemas.openxmlformats.org/officeDocument/2006/relationships/customXml" Target="../ink/ink183.xml"/><Relationship Id="rId191" Type="http://schemas.openxmlformats.org/officeDocument/2006/relationships/image" Target="../media/image197.png"/><Relationship Id="rId205" Type="http://schemas.openxmlformats.org/officeDocument/2006/relationships/image" Target="../media/image204.png"/><Relationship Id="rId107" Type="http://schemas.openxmlformats.org/officeDocument/2006/relationships/image" Target="../media/image155.png"/><Relationship Id="rId11" Type="http://schemas.openxmlformats.org/officeDocument/2006/relationships/image" Target="../media/image107.png"/><Relationship Id="rId32" Type="http://schemas.openxmlformats.org/officeDocument/2006/relationships/customXml" Target="../ink/ink114.xml"/><Relationship Id="rId53" Type="http://schemas.openxmlformats.org/officeDocument/2006/relationships/image" Target="../media/image128.png"/><Relationship Id="rId74" Type="http://schemas.openxmlformats.org/officeDocument/2006/relationships/customXml" Target="../ink/ink135.xml"/><Relationship Id="rId128" Type="http://schemas.openxmlformats.org/officeDocument/2006/relationships/customXml" Target="../ink/ink162.xml"/><Relationship Id="rId149" Type="http://schemas.openxmlformats.org/officeDocument/2006/relationships/image" Target="../media/image176.png"/><Relationship Id="rId5" Type="http://schemas.openxmlformats.org/officeDocument/2006/relationships/image" Target="../media/image104.png"/><Relationship Id="rId95" Type="http://schemas.openxmlformats.org/officeDocument/2006/relationships/image" Target="../media/image149.png"/><Relationship Id="rId160" Type="http://schemas.openxmlformats.org/officeDocument/2006/relationships/customXml" Target="../ink/ink178.xml"/><Relationship Id="rId181" Type="http://schemas.openxmlformats.org/officeDocument/2006/relationships/image" Target="../media/image192.png"/><Relationship Id="rId216" Type="http://schemas.openxmlformats.org/officeDocument/2006/relationships/customXml" Target="../ink/ink206.xml"/><Relationship Id="rId22" Type="http://schemas.openxmlformats.org/officeDocument/2006/relationships/customXml" Target="../ink/ink109.xml"/><Relationship Id="rId43" Type="http://schemas.openxmlformats.org/officeDocument/2006/relationships/image" Target="../media/image123.png"/><Relationship Id="rId64" Type="http://schemas.openxmlformats.org/officeDocument/2006/relationships/customXml" Target="../ink/ink130.xml"/><Relationship Id="rId118" Type="http://schemas.openxmlformats.org/officeDocument/2006/relationships/customXml" Target="../ink/ink157.xml"/><Relationship Id="rId139" Type="http://schemas.openxmlformats.org/officeDocument/2006/relationships/image" Target="../media/image171.png"/><Relationship Id="rId85" Type="http://schemas.openxmlformats.org/officeDocument/2006/relationships/image" Target="../media/image144.png"/><Relationship Id="rId150" Type="http://schemas.openxmlformats.org/officeDocument/2006/relationships/customXml" Target="../ink/ink173.xml"/><Relationship Id="rId171" Type="http://schemas.openxmlformats.org/officeDocument/2006/relationships/image" Target="../media/image187.png"/><Relationship Id="rId192" Type="http://schemas.openxmlformats.org/officeDocument/2006/relationships/customXml" Target="../ink/ink194.xml"/><Relationship Id="rId206" Type="http://schemas.openxmlformats.org/officeDocument/2006/relationships/customXml" Target="../ink/ink201.xml"/><Relationship Id="rId12" Type="http://schemas.openxmlformats.org/officeDocument/2006/relationships/customXml" Target="../ink/ink104.xml"/><Relationship Id="rId33" Type="http://schemas.openxmlformats.org/officeDocument/2006/relationships/image" Target="../media/image118.png"/><Relationship Id="rId108" Type="http://schemas.openxmlformats.org/officeDocument/2006/relationships/customXml" Target="../ink/ink152.xml"/><Relationship Id="rId129" Type="http://schemas.openxmlformats.org/officeDocument/2006/relationships/image" Target="../media/image166.png"/><Relationship Id="rId54" Type="http://schemas.openxmlformats.org/officeDocument/2006/relationships/customXml" Target="../ink/ink125.xml"/><Relationship Id="rId75" Type="http://schemas.openxmlformats.org/officeDocument/2006/relationships/image" Target="../media/image139.png"/><Relationship Id="rId96" Type="http://schemas.openxmlformats.org/officeDocument/2006/relationships/customXml" Target="../ink/ink146.xml"/><Relationship Id="rId140" Type="http://schemas.openxmlformats.org/officeDocument/2006/relationships/customXml" Target="../ink/ink168.xml"/><Relationship Id="rId161" Type="http://schemas.openxmlformats.org/officeDocument/2006/relationships/image" Target="../media/image182.png"/><Relationship Id="rId182" Type="http://schemas.openxmlformats.org/officeDocument/2006/relationships/customXml" Target="../ink/ink189.xml"/><Relationship Id="rId217" Type="http://schemas.openxmlformats.org/officeDocument/2006/relationships/image" Target="../media/image210.png"/><Relationship Id="rId6" Type="http://schemas.openxmlformats.org/officeDocument/2006/relationships/customXml" Target="../ink/ink101.xml"/><Relationship Id="rId23" Type="http://schemas.openxmlformats.org/officeDocument/2006/relationships/image" Target="../media/image113.png"/><Relationship Id="rId119" Type="http://schemas.openxmlformats.org/officeDocument/2006/relationships/image" Target="../media/image161.png"/><Relationship Id="rId44" Type="http://schemas.openxmlformats.org/officeDocument/2006/relationships/customXml" Target="../ink/ink120.xml"/><Relationship Id="rId65" Type="http://schemas.openxmlformats.org/officeDocument/2006/relationships/image" Target="../media/image134.png"/><Relationship Id="rId86" Type="http://schemas.openxmlformats.org/officeDocument/2006/relationships/customXml" Target="../ink/ink141.xml"/><Relationship Id="rId130" Type="http://schemas.openxmlformats.org/officeDocument/2006/relationships/customXml" Target="../ink/ink163.xml"/><Relationship Id="rId151" Type="http://schemas.openxmlformats.org/officeDocument/2006/relationships/image" Target="../media/image177.png"/><Relationship Id="rId172" Type="http://schemas.openxmlformats.org/officeDocument/2006/relationships/customXml" Target="../ink/ink184.xml"/><Relationship Id="rId193" Type="http://schemas.openxmlformats.org/officeDocument/2006/relationships/image" Target="../media/image198.png"/><Relationship Id="rId207" Type="http://schemas.openxmlformats.org/officeDocument/2006/relationships/image" Target="../media/image205.png"/><Relationship Id="rId13" Type="http://schemas.openxmlformats.org/officeDocument/2006/relationships/image" Target="../media/image108.png"/><Relationship Id="rId109" Type="http://schemas.openxmlformats.org/officeDocument/2006/relationships/image" Target="../media/image156.png"/><Relationship Id="rId34" Type="http://schemas.openxmlformats.org/officeDocument/2006/relationships/customXml" Target="../ink/ink115.xml"/><Relationship Id="rId55" Type="http://schemas.openxmlformats.org/officeDocument/2006/relationships/image" Target="../media/image129.png"/><Relationship Id="rId76" Type="http://schemas.openxmlformats.org/officeDocument/2006/relationships/customXml" Target="../ink/ink136.xml"/><Relationship Id="rId97" Type="http://schemas.openxmlformats.org/officeDocument/2006/relationships/image" Target="../media/image150.png"/><Relationship Id="rId120" Type="http://schemas.openxmlformats.org/officeDocument/2006/relationships/customXml" Target="../ink/ink158.xml"/><Relationship Id="rId141" Type="http://schemas.openxmlformats.org/officeDocument/2006/relationships/image" Target="../media/image172.png"/><Relationship Id="rId7" Type="http://schemas.openxmlformats.org/officeDocument/2006/relationships/image" Target="../media/image105.png"/><Relationship Id="rId162" Type="http://schemas.openxmlformats.org/officeDocument/2006/relationships/customXml" Target="../ink/ink179.xml"/><Relationship Id="rId183" Type="http://schemas.openxmlformats.org/officeDocument/2006/relationships/image" Target="../media/image193.png"/><Relationship Id="rId24" Type="http://schemas.openxmlformats.org/officeDocument/2006/relationships/customXml" Target="../ink/ink110.xml"/><Relationship Id="rId45" Type="http://schemas.openxmlformats.org/officeDocument/2006/relationships/image" Target="../media/image124.png"/><Relationship Id="rId66" Type="http://schemas.openxmlformats.org/officeDocument/2006/relationships/customXml" Target="../ink/ink131.xml"/><Relationship Id="rId87" Type="http://schemas.openxmlformats.org/officeDocument/2006/relationships/image" Target="../media/image145.png"/><Relationship Id="rId110" Type="http://schemas.openxmlformats.org/officeDocument/2006/relationships/customXml" Target="../ink/ink153.xml"/><Relationship Id="rId131" Type="http://schemas.openxmlformats.org/officeDocument/2006/relationships/image" Target="../media/image167.png"/><Relationship Id="rId152" Type="http://schemas.openxmlformats.org/officeDocument/2006/relationships/customXml" Target="../ink/ink174.xml"/><Relationship Id="rId173" Type="http://schemas.openxmlformats.org/officeDocument/2006/relationships/image" Target="../media/image188.png"/><Relationship Id="rId194" Type="http://schemas.openxmlformats.org/officeDocument/2006/relationships/customXml" Target="../ink/ink195.xml"/><Relationship Id="rId208" Type="http://schemas.openxmlformats.org/officeDocument/2006/relationships/customXml" Target="../ink/ink202.xml"/><Relationship Id="rId14" Type="http://schemas.openxmlformats.org/officeDocument/2006/relationships/customXml" Target="../ink/ink105.xml"/><Relationship Id="rId30" Type="http://schemas.openxmlformats.org/officeDocument/2006/relationships/customXml" Target="../ink/ink113.xml"/><Relationship Id="rId35" Type="http://schemas.openxmlformats.org/officeDocument/2006/relationships/image" Target="../media/image119.png"/><Relationship Id="rId56" Type="http://schemas.openxmlformats.org/officeDocument/2006/relationships/customXml" Target="../ink/ink126.xml"/><Relationship Id="rId77" Type="http://schemas.openxmlformats.org/officeDocument/2006/relationships/image" Target="../media/image140.png"/><Relationship Id="rId100" Type="http://schemas.openxmlformats.org/officeDocument/2006/relationships/customXml" Target="../ink/ink148.xml"/><Relationship Id="rId105" Type="http://schemas.openxmlformats.org/officeDocument/2006/relationships/image" Target="../media/image154.png"/><Relationship Id="rId126" Type="http://schemas.openxmlformats.org/officeDocument/2006/relationships/customXml" Target="../ink/ink161.xml"/><Relationship Id="rId147" Type="http://schemas.openxmlformats.org/officeDocument/2006/relationships/image" Target="../media/image175.png"/><Relationship Id="rId168" Type="http://schemas.openxmlformats.org/officeDocument/2006/relationships/customXml" Target="../ink/ink182.xml"/><Relationship Id="rId8" Type="http://schemas.openxmlformats.org/officeDocument/2006/relationships/customXml" Target="../ink/ink102.xml"/><Relationship Id="rId51" Type="http://schemas.openxmlformats.org/officeDocument/2006/relationships/image" Target="../media/image127.png"/><Relationship Id="rId72" Type="http://schemas.openxmlformats.org/officeDocument/2006/relationships/customXml" Target="../ink/ink134.xml"/><Relationship Id="rId93" Type="http://schemas.openxmlformats.org/officeDocument/2006/relationships/image" Target="../media/image148.png"/><Relationship Id="rId98" Type="http://schemas.openxmlformats.org/officeDocument/2006/relationships/customXml" Target="../ink/ink147.xml"/><Relationship Id="rId121" Type="http://schemas.openxmlformats.org/officeDocument/2006/relationships/image" Target="../media/image162.png"/><Relationship Id="rId142" Type="http://schemas.openxmlformats.org/officeDocument/2006/relationships/customXml" Target="../ink/ink169.xml"/><Relationship Id="rId163" Type="http://schemas.openxmlformats.org/officeDocument/2006/relationships/image" Target="../media/image183.png"/><Relationship Id="rId184" Type="http://schemas.openxmlformats.org/officeDocument/2006/relationships/customXml" Target="../ink/ink190.xml"/><Relationship Id="rId189" Type="http://schemas.openxmlformats.org/officeDocument/2006/relationships/image" Target="../media/image196.png"/><Relationship Id="rId3" Type="http://schemas.openxmlformats.org/officeDocument/2006/relationships/oleObject" Target="../embeddings/oleObject4.bin"/><Relationship Id="rId214" Type="http://schemas.openxmlformats.org/officeDocument/2006/relationships/customXml" Target="../ink/ink205.xml"/><Relationship Id="rId25" Type="http://schemas.openxmlformats.org/officeDocument/2006/relationships/image" Target="../media/image114.png"/><Relationship Id="rId46" Type="http://schemas.openxmlformats.org/officeDocument/2006/relationships/customXml" Target="../ink/ink121.xml"/><Relationship Id="rId67" Type="http://schemas.openxmlformats.org/officeDocument/2006/relationships/image" Target="../media/image135.png"/><Relationship Id="rId116" Type="http://schemas.openxmlformats.org/officeDocument/2006/relationships/customXml" Target="../ink/ink156.xml"/><Relationship Id="rId137" Type="http://schemas.openxmlformats.org/officeDocument/2006/relationships/image" Target="../media/image170.png"/><Relationship Id="rId158" Type="http://schemas.openxmlformats.org/officeDocument/2006/relationships/customXml" Target="../ink/ink177.xml"/><Relationship Id="rId20" Type="http://schemas.openxmlformats.org/officeDocument/2006/relationships/customXml" Target="../ink/ink108.xml"/><Relationship Id="rId41" Type="http://schemas.openxmlformats.org/officeDocument/2006/relationships/image" Target="../media/image122.png"/><Relationship Id="rId62" Type="http://schemas.openxmlformats.org/officeDocument/2006/relationships/customXml" Target="../ink/ink129.xml"/><Relationship Id="rId83" Type="http://schemas.openxmlformats.org/officeDocument/2006/relationships/image" Target="../media/image143.png"/><Relationship Id="rId88" Type="http://schemas.openxmlformats.org/officeDocument/2006/relationships/customXml" Target="../ink/ink142.xml"/><Relationship Id="rId111" Type="http://schemas.openxmlformats.org/officeDocument/2006/relationships/image" Target="../media/image157.png"/><Relationship Id="rId132" Type="http://schemas.openxmlformats.org/officeDocument/2006/relationships/customXml" Target="../ink/ink164.xml"/><Relationship Id="rId153" Type="http://schemas.openxmlformats.org/officeDocument/2006/relationships/image" Target="../media/image178.png"/><Relationship Id="rId174" Type="http://schemas.openxmlformats.org/officeDocument/2006/relationships/customXml" Target="../ink/ink185.xml"/><Relationship Id="rId179" Type="http://schemas.openxmlformats.org/officeDocument/2006/relationships/image" Target="../media/image191.png"/><Relationship Id="rId195" Type="http://schemas.openxmlformats.org/officeDocument/2006/relationships/image" Target="../media/image199.png"/><Relationship Id="rId209" Type="http://schemas.openxmlformats.org/officeDocument/2006/relationships/image" Target="../media/image206.png"/><Relationship Id="rId190" Type="http://schemas.openxmlformats.org/officeDocument/2006/relationships/customXml" Target="../ink/ink193.xml"/><Relationship Id="rId204" Type="http://schemas.openxmlformats.org/officeDocument/2006/relationships/customXml" Target="../ink/ink200.xml"/><Relationship Id="rId15" Type="http://schemas.openxmlformats.org/officeDocument/2006/relationships/image" Target="../media/image109.png"/><Relationship Id="rId36" Type="http://schemas.openxmlformats.org/officeDocument/2006/relationships/customXml" Target="../ink/ink116.xml"/><Relationship Id="rId57" Type="http://schemas.openxmlformats.org/officeDocument/2006/relationships/image" Target="../media/image130.png"/><Relationship Id="rId106" Type="http://schemas.openxmlformats.org/officeDocument/2006/relationships/customXml" Target="../ink/ink151.xml"/><Relationship Id="rId127" Type="http://schemas.openxmlformats.org/officeDocument/2006/relationships/image" Target="../media/image165.png"/><Relationship Id="rId10" Type="http://schemas.openxmlformats.org/officeDocument/2006/relationships/customXml" Target="../ink/ink103.xml"/><Relationship Id="rId31" Type="http://schemas.openxmlformats.org/officeDocument/2006/relationships/image" Target="../media/image117.png"/><Relationship Id="rId52" Type="http://schemas.openxmlformats.org/officeDocument/2006/relationships/customXml" Target="../ink/ink124.xml"/><Relationship Id="rId73" Type="http://schemas.openxmlformats.org/officeDocument/2006/relationships/image" Target="../media/image138.png"/><Relationship Id="rId78" Type="http://schemas.openxmlformats.org/officeDocument/2006/relationships/customXml" Target="../ink/ink137.xml"/><Relationship Id="rId94" Type="http://schemas.openxmlformats.org/officeDocument/2006/relationships/customXml" Target="../ink/ink145.xml"/><Relationship Id="rId99" Type="http://schemas.openxmlformats.org/officeDocument/2006/relationships/image" Target="../media/image151.png"/><Relationship Id="rId101" Type="http://schemas.openxmlformats.org/officeDocument/2006/relationships/image" Target="../media/image152.png"/><Relationship Id="rId122" Type="http://schemas.openxmlformats.org/officeDocument/2006/relationships/customXml" Target="../ink/ink159.xml"/><Relationship Id="rId143" Type="http://schemas.openxmlformats.org/officeDocument/2006/relationships/image" Target="../media/image173.png"/><Relationship Id="rId148" Type="http://schemas.openxmlformats.org/officeDocument/2006/relationships/customXml" Target="../ink/ink172.xml"/><Relationship Id="rId164" Type="http://schemas.openxmlformats.org/officeDocument/2006/relationships/customXml" Target="../ink/ink180.xml"/><Relationship Id="rId169" Type="http://schemas.openxmlformats.org/officeDocument/2006/relationships/image" Target="../media/image186.png"/><Relationship Id="rId185" Type="http://schemas.openxmlformats.org/officeDocument/2006/relationships/image" Target="../media/image194.png"/><Relationship Id="rId4" Type="http://schemas.openxmlformats.org/officeDocument/2006/relationships/image" Target="../media/image1.emf"/><Relationship Id="rId9" Type="http://schemas.openxmlformats.org/officeDocument/2006/relationships/image" Target="../media/image106.png"/><Relationship Id="rId180" Type="http://schemas.openxmlformats.org/officeDocument/2006/relationships/customXml" Target="../ink/ink188.xml"/><Relationship Id="rId210" Type="http://schemas.openxmlformats.org/officeDocument/2006/relationships/customXml" Target="../ink/ink203.xml"/><Relationship Id="rId215" Type="http://schemas.openxmlformats.org/officeDocument/2006/relationships/image" Target="../media/image209.png"/><Relationship Id="rId26" Type="http://schemas.openxmlformats.org/officeDocument/2006/relationships/customXml" Target="../ink/ink111.xml"/><Relationship Id="rId47" Type="http://schemas.openxmlformats.org/officeDocument/2006/relationships/image" Target="../media/image125.png"/><Relationship Id="rId68" Type="http://schemas.openxmlformats.org/officeDocument/2006/relationships/customXml" Target="../ink/ink132.xml"/><Relationship Id="rId89" Type="http://schemas.openxmlformats.org/officeDocument/2006/relationships/image" Target="../media/image146.png"/><Relationship Id="rId112" Type="http://schemas.openxmlformats.org/officeDocument/2006/relationships/customXml" Target="../ink/ink154.xml"/><Relationship Id="rId133" Type="http://schemas.openxmlformats.org/officeDocument/2006/relationships/image" Target="../media/image168.png"/><Relationship Id="rId154" Type="http://schemas.openxmlformats.org/officeDocument/2006/relationships/customXml" Target="../ink/ink175.xml"/><Relationship Id="rId175" Type="http://schemas.openxmlformats.org/officeDocument/2006/relationships/image" Target="../media/image189.png"/><Relationship Id="rId196" Type="http://schemas.openxmlformats.org/officeDocument/2006/relationships/customXml" Target="../ink/ink196.xml"/><Relationship Id="rId200" Type="http://schemas.openxmlformats.org/officeDocument/2006/relationships/customXml" Target="../ink/ink198.xml"/><Relationship Id="rId16" Type="http://schemas.openxmlformats.org/officeDocument/2006/relationships/customXml" Target="../ink/ink106.xml"/><Relationship Id="rId37" Type="http://schemas.openxmlformats.org/officeDocument/2006/relationships/image" Target="../media/image120.png"/><Relationship Id="rId58" Type="http://schemas.openxmlformats.org/officeDocument/2006/relationships/customXml" Target="../ink/ink127.xml"/><Relationship Id="rId79" Type="http://schemas.openxmlformats.org/officeDocument/2006/relationships/image" Target="../media/image141.png"/><Relationship Id="rId102" Type="http://schemas.openxmlformats.org/officeDocument/2006/relationships/customXml" Target="../ink/ink149.xml"/><Relationship Id="rId123" Type="http://schemas.openxmlformats.org/officeDocument/2006/relationships/image" Target="../media/image163.png"/><Relationship Id="rId144" Type="http://schemas.openxmlformats.org/officeDocument/2006/relationships/customXml" Target="../ink/ink170.xml"/><Relationship Id="rId90" Type="http://schemas.openxmlformats.org/officeDocument/2006/relationships/customXml" Target="../ink/ink143.xml"/><Relationship Id="rId165" Type="http://schemas.openxmlformats.org/officeDocument/2006/relationships/image" Target="../media/image184.png"/><Relationship Id="rId186" Type="http://schemas.openxmlformats.org/officeDocument/2006/relationships/customXml" Target="../ink/ink191.xml"/><Relationship Id="rId211" Type="http://schemas.openxmlformats.org/officeDocument/2006/relationships/image" Target="../media/image207.png"/><Relationship Id="rId27" Type="http://schemas.openxmlformats.org/officeDocument/2006/relationships/image" Target="../media/image115.png"/><Relationship Id="rId48" Type="http://schemas.openxmlformats.org/officeDocument/2006/relationships/customXml" Target="../ink/ink122.xml"/><Relationship Id="rId69" Type="http://schemas.openxmlformats.org/officeDocument/2006/relationships/image" Target="../media/image136.png"/><Relationship Id="rId113" Type="http://schemas.openxmlformats.org/officeDocument/2006/relationships/image" Target="../media/image158.png"/><Relationship Id="rId134" Type="http://schemas.openxmlformats.org/officeDocument/2006/relationships/customXml" Target="../ink/ink165.xml"/><Relationship Id="rId80" Type="http://schemas.openxmlformats.org/officeDocument/2006/relationships/customXml" Target="../ink/ink138.xml"/><Relationship Id="rId155" Type="http://schemas.openxmlformats.org/officeDocument/2006/relationships/image" Target="../media/image179.png"/><Relationship Id="rId176" Type="http://schemas.openxmlformats.org/officeDocument/2006/relationships/customXml" Target="../ink/ink186.xml"/><Relationship Id="rId197" Type="http://schemas.openxmlformats.org/officeDocument/2006/relationships/image" Target="../media/image200.png"/><Relationship Id="rId201" Type="http://schemas.openxmlformats.org/officeDocument/2006/relationships/image" Target="../media/image202.png"/><Relationship Id="rId17" Type="http://schemas.openxmlformats.org/officeDocument/2006/relationships/image" Target="../media/image110.png"/><Relationship Id="rId38" Type="http://schemas.openxmlformats.org/officeDocument/2006/relationships/customXml" Target="../ink/ink117.xml"/><Relationship Id="rId59" Type="http://schemas.openxmlformats.org/officeDocument/2006/relationships/image" Target="../media/image131.png"/><Relationship Id="rId103" Type="http://schemas.openxmlformats.org/officeDocument/2006/relationships/image" Target="../media/image153.png"/><Relationship Id="rId124" Type="http://schemas.openxmlformats.org/officeDocument/2006/relationships/customXml" Target="../ink/ink160.xml"/><Relationship Id="rId70" Type="http://schemas.openxmlformats.org/officeDocument/2006/relationships/customXml" Target="../ink/ink133.xml"/><Relationship Id="rId91" Type="http://schemas.openxmlformats.org/officeDocument/2006/relationships/image" Target="../media/image147.png"/><Relationship Id="rId145" Type="http://schemas.openxmlformats.org/officeDocument/2006/relationships/image" Target="../media/image174.png"/><Relationship Id="rId166" Type="http://schemas.openxmlformats.org/officeDocument/2006/relationships/customXml" Target="../ink/ink181.xml"/><Relationship Id="rId187" Type="http://schemas.openxmlformats.org/officeDocument/2006/relationships/image" Target="../media/image195.png"/><Relationship Id="rId1" Type="http://schemas.openxmlformats.org/officeDocument/2006/relationships/tags" Target="../tags/tag5.xml"/><Relationship Id="rId212" Type="http://schemas.openxmlformats.org/officeDocument/2006/relationships/customXml" Target="../ink/ink204.xml"/><Relationship Id="rId28" Type="http://schemas.openxmlformats.org/officeDocument/2006/relationships/customXml" Target="../ink/ink112.xml"/><Relationship Id="rId49" Type="http://schemas.openxmlformats.org/officeDocument/2006/relationships/image" Target="../media/image126.png"/><Relationship Id="rId114" Type="http://schemas.openxmlformats.org/officeDocument/2006/relationships/customXml" Target="../ink/ink155.xml"/><Relationship Id="rId60" Type="http://schemas.openxmlformats.org/officeDocument/2006/relationships/customXml" Target="../ink/ink128.xml"/><Relationship Id="rId81" Type="http://schemas.openxmlformats.org/officeDocument/2006/relationships/image" Target="../media/image142.png"/><Relationship Id="rId135" Type="http://schemas.openxmlformats.org/officeDocument/2006/relationships/image" Target="../media/image169.png"/><Relationship Id="rId156" Type="http://schemas.openxmlformats.org/officeDocument/2006/relationships/customXml" Target="../ink/ink176.xml"/><Relationship Id="rId177" Type="http://schemas.openxmlformats.org/officeDocument/2006/relationships/image" Target="../media/image190.png"/><Relationship Id="rId198" Type="http://schemas.openxmlformats.org/officeDocument/2006/relationships/customXml" Target="../ink/ink197.xml"/><Relationship Id="rId202" Type="http://schemas.openxmlformats.org/officeDocument/2006/relationships/customXml" Target="../ink/ink199.xml"/><Relationship Id="rId18" Type="http://schemas.openxmlformats.org/officeDocument/2006/relationships/customXml" Target="../ink/ink107.xml"/><Relationship Id="rId39" Type="http://schemas.openxmlformats.org/officeDocument/2006/relationships/image" Target="../media/image121.png"/><Relationship Id="rId50" Type="http://schemas.openxmlformats.org/officeDocument/2006/relationships/customXml" Target="../ink/ink123.xml"/><Relationship Id="rId104" Type="http://schemas.openxmlformats.org/officeDocument/2006/relationships/customXml" Target="../ink/ink150.xml"/><Relationship Id="rId125" Type="http://schemas.openxmlformats.org/officeDocument/2006/relationships/image" Target="../media/image164.png"/><Relationship Id="rId146" Type="http://schemas.openxmlformats.org/officeDocument/2006/relationships/customXml" Target="../ink/ink171.xml"/><Relationship Id="rId167" Type="http://schemas.openxmlformats.org/officeDocument/2006/relationships/image" Target="../media/image185.png"/><Relationship Id="rId188" Type="http://schemas.openxmlformats.org/officeDocument/2006/relationships/customXml" Target="../ink/ink192.xml"/><Relationship Id="rId71" Type="http://schemas.openxmlformats.org/officeDocument/2006/relationships/image" Target="../media/image137.png"/><Relationship Id="rId92" Type="http://schemas.openxmlformats.org/officeDocument/2006/relationships/customXml" Target="../ink/ink144.xml"/><Relationship Id="rId213" Type="http://schemas.openxmlformats.org/officeDocument/2006/relationships/image" Target="../media/image208.png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116.png"/><Relationship Id="rId40" Type="http://schemas.openxmlformats.org/officeDocument/2006/relationships/customXml" Target="../ink/ink118.xml"/><Relationship Id="rId115" Type="http://schemas.openxmlformats.org/officeDocument/2006/relationships/image" Target="../media/image159.png"/><Relationship Id="rId136" Type="http://schemas.openxmlformats.org/officeDocument/2006/relationships/customXml" Target="../ink/ink166.xml"/><Relationship Id="rId157" Type="http://schemas.openxmlformats.org/officeDocument/2006/relationships/image" Target="../media/image180.png"/><Relationship Id="rId178" Type="http://schemas.openxmlformats.org/officeDocument/2006/relationships/customXml" Target="../ink/ink187.xml"/><Relationship Id="rId61" Type="http://schemas.openxmlformats.org/officeDocument/2006/relationships/image" Target="../media/image132.png"/><Relationship Id="rId82" Type="http://schemas.openxmlformats.org/officeDocument/2006/relationships/customXml" Target="../ink/ink139.xml"/><Relationship Id="rId199" Type="http://schemas.openxmlformats.org/officeDocument/2006/relationships/image" Target="../media/image201.png"/><Relationship Id="rId203" Type="http://schemas.openxmlformats.org/officeDocument/2006/relationships/image" Target="../media/image203.png"/><Relationship Id="rId19" Type="http://schemas.openxmlformats.org/officeDocument/2006/relationships/image" Target="../media/image11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951.png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5" Type="http://schemas.openxmlformats.org/officeDocument/2006/relationships/image" Target="../media/image952.png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953.png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5" Type="http://schemas.openxmlformats.org/officeDocument/2006/relationships/image" Target="../media/image954.png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955.png"/><Relationship Id="rId4" Type="http://schemas.openxmlformats.org/officeDocument/2006/relationships/image" Target="../media/image1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5" Type="http://schemas.openxmlformats.org/officeDocument/2006/relationships/image" Target="../media/image956.png"/><Relationship Id="rId4" Type="http://schemas.openxmlformats.org/officeDocument/2006/relationships/image" Target="../media/image1.emf"/></Relationships>
</file>

<file path=ppt/slides/_rels/slide4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61.png"/><Relationship Id="rId18" Type="http://schemas.openxmlformats.org/officeDocument/2006/relationships/customXml" Target="../ink/ink960.xml"/><Relationship Id="rId26" Type="http://schemas.openxmlformats.org/officeDocument/2006/relationships/customXml" Target="../ink/ink964.xml"/><Relationship Id="rId39" Type="http://schemas.openxmlformats.org/officeDocument/2006/relationships/image" Target="../media/image974.png"/><Relationship Id="rId21" Type="http://schemas.openxmlformats.org/officeDocument/2006/relationships/image" Target="../media/image965.png"/><Relationship Id="rId34" Type="http://schemas.openxmlformats.org/officeDocument/2006/relationships/customXml" Target="../ink/ink968.xml"/><Relationship Id="rId42" Type="http://schemas.openxmlformats.org/officeDocument/2006/relationships/customXml" Target="../ink/ink972.xml"/><Relationship Id="rId47" Type="http://schemas.openxmlformats.org/officeDocument/2006/relationships/image" Target="../media/image978.png"/><Relationship Id="rId50" Type="http://schemas.openxmlformats.org/officeDocument/2006/relationships/customXml" Target="../ink/ink976.xml"/><Relationship Id="rId7" Type="http://schemas.openxmlformats.org/officeDocument/2006/relationships/image" Target="../media/image958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959.xml"/><Relationship Id="rId29" Type="http://schemas.openxmlformats.org/officeDocument/2006/relationships/image" Target="../media/image969.png"/><Relationship Id="rId11" Type="http://schemas.openxmlformats.org/officeDocument/2006/relationships/image" Target="../media/image960.png"/><Relationship Id="rId24" Type="http://schemas.openxmlformats.org/officeDocument/2006/relationships/customXml" Target="../ink/ink963.xml"/><Relationship Id="rId32" Type="http://schemas.openxmlformats.org/officeDocument/2006/relationships/customXml" Target="../ink/ink967.xml"/><Relationship Id="rId37" Type="http://schemas.openxmlformats.org/officeDocument/2006/relationships/image" Target="../media/image973.png"/><Relationship Id="rId40" Type="http://schemas.openxmlformats.org/officeDocument/2006/relationships/customXml" Target="../ink/ink971.xml"/><Relationship Id="rId45" Type="http://schemas.openxmlformats.org/officeDocument/2006/relationships/image" Target="../media/image977.png"/><Relationship Id="rId5" Type="http://schemas.openxmlformats.org/officeDocument/2006/relationships/image" Target="../media/image957.png"/><Relationship Id="rId15" Type="http://schemas.openxmlformats.org/officeDocument/2006/relationships/image" Target="../media/image962.png"/><Relationship Id="rId23" Type="http://schemas.openxmlformats.org/officeDocument/2006/relationships/image" Target="../media/image966.png"/><Relationship Id="rId28" Type="http://schemas.openxmlformats.org/officeDocument/2006/relationships/customXml" Target="../ink/ink965.xml"/><Relationship Id="rId36" Type="http://schemas.openxmlformats.org/officeDocument/2006/relationships/customXml" Target="../ink/ink969.xml"/><Relationship Id="rId49" Type="http://schemas.openxmlformats.org/officeDocument/2006/relationships/image" Target="../media/image979.png"/><Relationship Id="rId10" Type="http://schemas.openxmlformats.org/officeDocument/2006/relationships/customXml" Target="../ink/ink956.xml"/><Relationship Id="rId19" Type="http://schemas.openxmlformats.org/officeDocument/2006/relationships/image" Target="../media/image964.png"/><Relationship Id="rId31" Type="http://schemas.openxmlformats.org/officeDocument/2006/relationships/image" Target="../media/image970.png"/><Relationship Id="rId44" Type="http://schemas.openxmlformats.org/officeDocument/2006/relationships/customXml" Target="../ink/ink973.xml"/><Relationship Id="rId4" Type="http://schemas.openxmlformats.org/officeDocument/2006/relationships/image" Target="../media/image1.emf"/><Relationship Id="rId9" Type="http://schemas.openxmlformats.org/officeDocument/2006/relationships/image" Target="../media/image959.png"/><Relationship Id="rId14" Type="http://schemas.openxmlformats.org/officeDocument/2006/relationships/customXml" Target="../ink/ink958.xml"/><Relationship Id="rId22" Type="http://schemas.openxmlformats.org/officeDocument/2006/relationships/customXml" Target="../ink/ink962.xml"/><Relationship Id="rId27" Type="http://schemas.openxmlformats.org/officeDocument/2006/relationships/image" Target="../media/image968.png"/><Relationship Id="rId30" Type="http://schemas.openxmlformats.org/officeDocument/2006/relationships/customXml" Target="../ink/ink966.xml"/><Relationship Id="rId35" Type="http://schemas.openxmlformats.org/officeDocument/2006/relationships/image" Target="../media/image972.png"/><Relationship Id="rId43" Type="http://schemas.openxmlformats.org/officeDocument/2006/relationships/image" Target="../media/image976.png"/><Relationship Id="rId48" Type="http://schemas.openxmlformats.org/officeDocument/2006/relationships/customXml" Target="../ink/ink975.xml"/><Relationship Id="rId8" Type="http://schemas.openxmlformats.org/officeDocument/2006/relationships/customXml" Target="../ink/ink955.xml"/><Relationship Id="rId51" Type="http://schemas.openxmlformats.org/officeDocument/2006/relationships/image" Target="../media/image980.png"/><Relationship Id="rId3" Type="http://schemas.openxmlformats.org/officeDocument/2006/relationships/oleObject" Target="../embeddings/oleObject44.bin"/><Relationship Id="rId12" Type="http://schemas.openxmlformats.org/officeDocument/2006/relationships/customXml" Target="../ink/ink957.xml"/><Relationship Id="rId17" Type="http://schemas.openxmlformats.org/officeDocument/2006/relationships/image" Target="../media/image963.png"/><Relationship Id="rId25" Type="http://schemas.openxmlformats.org/officeDocument/2006/relationships/image" Target="../media/image967.png"/><Relationship Id="rId33" Type="http://schemas.openxmlformats.org/officeDocument/2006/relationships/image" Target="../media/image971.png"/><Relationship Id="rId38" Type="http://schemas.openxmlformats.org/officeDocument/2006/relationships/customXml" Target="../ink/ink970.xml"/><Relationship Id="rId46" Type="http://schemas.openxmlformats.org/officeDocument/2006/relationships/customXml" Target="../ink/ink974.xml"/><Relationship Id="rId20" Type="http://schemas.openxmlformats.org/officeDocument/2006/relationships/customXml" Target="../ink/ink961.xml"/><Relationship Id="rId41" Type="http://schemas.openxmlformats.org/officeDocument/2006/relationships/image" Target="../media/image975.png"/><Relationship Id="rId1" Type="http://schemas.openxmlformats.org/officeDocument/2006/relationships/tags" Target="../tags/tag45.xml"/><Relationship Id="rId6" Type="http://schemas.openxmlformats.org/officeDocument/2006/relationships/customXml" Target="../ink/ink95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5" Type="http://schemas.openxmlformats.org/officeDocument/2006/relationships/image" Target="../media/image981.png"/><Relationship Id="rId4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86.png"/><Relationship Id="rId18" Type="http://schemas.openxmlformats.org/officeDocument/2006/relationships/customXml" Target="../ink/ink983.xml"/><Relationship Id="rId26" Type="http://schemas.openxmlformats.org/officeDocument/2006/relationships/customXml" Target="../ink/ink987.xml"/><Relationship Id="rId39" Type="http://schemas.openxmlformats.org/officeDocument/2006/relationships/image" Target="../media/image999.png"/><Relationship Id="rId21" Type="http://schemas.openxmlformats.org/officeDocument/2006/relationships/image" Target="../media/image990.png"/><Relationship Id="rId34" Type="http://schemas.openxmlformats.org/officeDocument/2006/relationships/customXml" Target="../ink/ink991.xml"/><Relationship Id="rId7" Type="http://schemas.openxmlformats.org/officeDocument/2006/relationships/image" Target="../media/image983.png"/><Relationship Id="rId12" Type="http://schemas.openxmlformats.org/officeDocument/2006/relationships/customXml" Target="../ink/ink980.xml"/><Relationship Id="rId17" Type="http://schemas.openxmlformats.org/officeDocument/2006/relationships/image" Target="../media/image988.png"/><Relationship Id="rId25" Type="http://schemas.openxmlformats.org/officeDocument/2006/relationships/image" Target="../media/image992.png"/><Relationship Id="rId33" Type="http://schemas.openxmlformats.org/officeDocument/2006/relationships/image" Target="../media/image996.png"/><Relationship Id="rId38" Type="http://schemas.openxmlformats.org/officeDocument/2006/relationships/customXml" Target="../ink/ink993.xml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982.xml"/><Relationship Id="rId20" Type="http://schemas.openxmlformats.org/officeDocument/2006/relationships/customXml" Target="../ink/ink984.xml"/><Relationship Id="rId29" Type="http://schemas.openxmlformats.org/officeDocument/2006/relationships/image" Target="../media/image994.png"/><Relationship Id="rId1" Type="http://schemas.openxmlformats.org/officeDocument/2006/relationships/tags" Target="../tags/tag47.xml"/><Relationship Id="rId6" Type="http://schemas.openxmlformats.org/officeDocument/2006/relationships/customXml" Target="../ink/ink977.xml"/><Relationship Id="rId11" Type="http://schemas.openxmlformats.org/officeDocument/2006/relationships/image" Target="../media/image985.png"/><Relationship Id="rId24" Type="http://schemas.openxmlformats.org/officeDocument/2006/relationships/customXml" Target="../ink/ink986.xml"/><Relationship Id="rId32" Type="http://schemas.openxmlformats.org/officeDocument/2006/relationships/customXml" Target="../ink/ink990.xml"/><Relationship Id="rId37" Type="http://schemas.openxmlformats.org/officeDocument/2006/relationships/image" Target="../media/image998.png"/><Relationship Id="rId5" Type="http://schemas.openxmlformats.org/officeDocument/2006/relationships/image" Target="../media/image982.png"/><Relationship Id="rId15" Type="http://schemas.openxmlformats.org/officeDocument/2006/relationships/image" Target="../media/image987.png"/><Relationship Id="rId23" Type="http://schemas.openxmlformats.org/officeDocument/2006/relationships/image" Target="../media/image991.png"/><Relationship Id="rId28" Type="http://schemas.openxmlformats.org/officeDocument/2006/relationships/customXml" Target="../ink/ink988.xml"/><Relationship Id="rId36" Type="http://schemas.openxmlformats.org/officeDocument/2006/relationships/customXml" Target="../ink/ink992.xml"/><Relationship Id="rId10" Type="http://schemas.openxmlformats.org/officeDocument/2006/relationships/customXml" Target="../ink/ink979.xml"/><Relationship Id="rId19" Type="http://schemas.openxmlformats.org/officeDocument/2006/relationships/image" Target="../media/image989.png"/><Relationship Id="rId31" Type="http://schemas.openxmlformats.org/officeDocument/2006/relationships/image" Target="../media/image995.png"/><Relationship Id="rId4" Type="http://schemas.openxmlformats.org/officeDocument/2006/relationships/image" Target="../media/image1.emf"/><Relationship Id="rId9" Type="http://schemas.openxmlformats.org/officeDocument/2006/relationships/image" Target="../media/image984.png"/><Relationship Id="rId14" Type="http://schemas.openxmlformats.org/officeDocument/2006/relationships/customXml" Target="../ink/ink981.xml"/><Relationship Id="rId22" Type="http://schemas.openxmlformats.org/officeDocument/2006/relationships/customXml" Target="../ink/ink985.xml"/><Relationship Id="rId27" Type="http://schemas.openxmlformats.org/officeDocument/2006/relationships/image" Target="../media/image993.png"/><Relationship Id="rId30" Type="http://schemas.openxmlformats.org/officeDocument/2006/relationships/customXml" Target="../ink/ink989.xml"/><Relationship Id="rId35" Type="http://schemas.openxmlformats.org/officeDocument/2006/relationships/image" Target="../media/image997.png"/><Relationship Id="rId8" Type="http://schemas.openxmlformats.org/officeDocument/2006/relationships/customXml" Target="../ink/ink978.xml"/><Relationship Id="rId3" Type="http://schemas.openxmlformats.org/officeDocument/2006/relationships/oleObject" Target="../embeddings/oleObject46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customXml" Target="../ink/ink995.xml"/><Relationship Id="rId3" Type="http://schemas.openxmlformats.org/officeDocument/2006/relationships/oleObject" Target="../embeddings/oleObject47.bin"/><Relationship Id="rId7" Type="http://schemas.openxmlformats.org/officeDocument/2006/relationships/image" Target="../media/image100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6" Type="http://schemas.openxmlformats.org/officeDocument/2006/relationships/customXml" Target="../ink/ink994.xml"/><Relationship Id="rId11" Type="http://schemas.openxmlformats.org/officeDocument/2006/relationships/image" Target="../media/image1003.png"/><Relationship Id="rId5" Type="http://schemas.openxmlformats.org/officeDocument/2006/relationships/image" Target="../media/image1000.png"/><Relationship Id="rId10" Type="http://schemas.openxmlformats.org/officeDocument/2006/relationships/customXml" Target="../ink/ink996.xml"/><Relationship Id="rId4" Type="http://schemas.openxmlformats.org/officeDocument/2006/relationships/image" Target="../media/image1.emf"/><Relationship Id="rId9" Type="http://schemas.openxmlformats.org/officeDocument/2006/relationships/image" Target="../media/image100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5" Type="http://schemas.openxmlformats.org/officeDocument/2006/relationships/image" Target="../media/image1004.png"/><Relationship Id="rId4" Type="http://schemas.openxmlformats.org/officeDocument/2006/relationships/image" Target="../media/image1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5" Type="http://schemas.openxmlformats.org/officeDocument/2006/relationships/image" Target="../media/image1005.png"/><Relationship Id="rId4" Type="http://schemas.openxmlformats.org/officeDocument/2006/relationships/image" Target="../media/image1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5" Type="http://schemas.openxmlformats.org/officeDocument/2006/relationships/image" Target="../media/image1006.png"/><Relationship Id="rId4" Type="http://schemas.openxmlformats.org/officeDocument/2006/relationships/image" Target="../media/image1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5" Type="http://schemas.openxmlformats.org/officeDocument/2006/relationships/image" Target="../media/image1007.png"/><Relationship Id="rId4" Type="http://schemas.openxmlformats.org/officeDocument/2006/relationships/image" Target="../media/image1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7" Type="http://schemas.openxmlformats.org/officeDocument/2006/relationships/hyperlink" Target="https://github.com/wangshusen/DeepLearning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6" Type="http://schemas.openxmlformats.org/officeDocument/2006/relationships/hyperlink" Target="https://towardsdatascience.com/one-shot-learning-with-siamese-networks-using-keras-17f34e75bb3d" TargetMode="External"/><Relationship Id="rId5" Type="http://schemas.openxmlformats.org/officeDocument/2006/relationships/hyperlink" Target="https://medium.com/swlh/one-shot-learning-with-siamese-network-1c7404c35fda" TargetMode="Externa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customXml" Target="../ink/ink262.xml"/><Relationship Id="rId21" Type="http://schemas.openxmlformats.org/officeDocument/2006/relationships/customXml" Target="../ink/ink214.xml"/><Relationship Id="rId42" Type="http://schemas.openxmlformats.org/officeDocument/2006/relationships/image" Target="../media/image231.png"/><Relationship Id="rId63" Type="http://schemas.openxmlformats.org/officeDocument/2006/relationships/customXml" Target="../ink/ink235.xml"/><Relationship Id="rId84" Type="http://schemas.openxmlformats.org/officeDocument/2006/relationships/image" Target="../media/image252.png"/><Relationship Id="rId138" Type="http://schemas.openxmlformats.org/officeDocument/2006/relationships/image" Target="../media/image279.png"/><Relationship Id="rId159" Type="http://schemas.openxmlformats.org/officeDocument/2006/relationships/customXml" Target="../ink/ink283.xml"/><Relationship Id="rId170" Type="http://schemas.openxmlformats.org/officeDocument/2006/relationships/image" Target="../media/image295.png"/><Relationship Id="rId191" Type="http://schemas.openxmlformats.org/officeDocument/2006/relationships/customXml" Target="../ink/ink299.xml"/><Relationship Id="rId205" Type="http://schemas.openxmlformats.org/officeDocument/2006/relationships/customXml" Target="../ink/ink306.xml"/><Relationship Id="rId226" Type="http://schemas.openxmlformats.org/officeDocument/2006/relationships/image" Target="../media/image323.png"/><Relationship Id="rId107" Type="http://schemas.openxmlformats.org/officeDocument/2006/relationships/customXml" Target="../ink/ink257.xml"/><Relationship Id="rId11" Type="http://schemas.openxmlformats.org/officeDocument/2006/relationships/customXml" Target="../ink/ink209.xml"/><Relationship Id="rId32" Type="http://schemas.openxmlformats.org/officeDocument/2006/relationships/image" Target="../media/image226.png"/><Relationship Id="rId53" Type="http://schemas.openxmlformats.org/officeDocument/2006/relationships/customXml" Target="../ink/ink230.xml"/><Relationship Id="rId74" Type="http://schemas.openxmlformats.org/officeDocument/2006/relationships/image" Target="../media/image247.png"/><Relationship Id="rId128" Type="http://schemas.openxmlformats.org/officeDocument/2006/relationships/image" Target="../media/image274.png"/><Relationship Id="rId149" Type="http://schemas.openxmlformats.org/officeDocument/2006/relationships/customXml" Target="../ink/ink278.xml"/><Relationship Id="rId5" Type="http://schemas.openxmlformats.org/officeDocument/2006/relationships/image" Target="../media/image1.emf"/><Relationship Id="rId95" Type="http://schemas.openxmlformats.org/officeDocument/2006/relationships/customXml" Target="../ink/ink251.xml"/><Relationship Id="rId160" Type="http://schemas.openxmlformats.org/officeDocument/2006/relationships/image" Target="../media/image290.png"/><Relationship Id="rId181" Type="http://schemas.openxmlformats.org/officeDocument/2006/relationships/customXml" Target="../ink/ink294.xml"/><Relationship Id="rId216" Type="http://schemas.openxmlformats.org/officeDocument/2006/relationships/image" Target="../media/image318.png"/><Relationship Id="rId237" Type="http://schemas.openxmlformats.org/officeDocument/2006/relationships/customXml" Target="../ink/ink322.xml"/><Relationship Id="rId22" Type="http://schemas.openxmlformats.org/officeDocument/2006/relationships/image" Target="../media/image221.png"/><Relationship Id="rId43" Type="http://schemas.openxmlformats.org/officeDocument/2006/relationships/customXml" Target="../ink/ink225.xml"/><Relationship Id="rId64" Type="http://schemas.openxmlformats.org/officeDocument/2006/relationships/image" Target="../media/image242.png"/><Relationship Id="rId118" Type="http://schemas.openxmlformats.org/officeDocument/2006/relationships/image" Target="../media/image269.png"/><Relationship Id="rId139" Type="http://schemas.openxmlformats.org/officeDocument/2006/relationships/customXml" Target="../ink/ink273.xml"/><Relationship Id="rId85" Type="http://schemas.openxmlformats.org/officeDocument/2006/relationships/customXml" Target="../ink/ink246.xml"/><Relationship Id="rId150" Type="http://schemas.openxmlformats.org/officeDocument/2006/relationships/image" Target="../media/image285.png"/><Relationship Id="rId171" Type="http://schemas.openxmlformats.org/officeDocument/2006/relationships/customXml" Target="../ink/ink289.xml"/><Relationship Id="rId192" Type="http://schemas.openxmlformats.org/officeDocument/2006/relationships/image" Target="../media/image306.png"/><Relationship Id="rId206" Type="http://schemas.openxmlformats.org/officeDocument/2006/relationships/image" Target="../media/image313.png"/><Relationship Id="rId227" Type="http://schemas.openxmlformats.org/officeDocument/2006/relationships/customXml" Target="../ink/ink317.xml"/><Relationship Id="rId12" Type="http://schemas.openxmlformats.org/officeDocument/2006/relationships/image" Target="../media/image216.png"/><Relationship Id="rId33" Type="http://schemas.openxmlformats.org/officeDocument/2006/relationships/customXml" Target="../ink/ink220.xml"/><Relationship Id="rId108" Type="http://schemas.openxmlformats.org/officeDocument/2006/relationships/image" Target="../media/image264.png"/><Relationship Id="rId129" Type="http://schemas.openxmlformats.org/officeDocument/2006/relationships/customXml" Target="../ink/ink268.xml"/><Relationship Id="rId54" Type="http://schemas.openxmlformats.org/officeDocument/2006/relationships/image" Target="../media/image237.png"/><Relationship Id="rId75" Type="http://schemas.openxmlformats.org/officeDocument/2006/relationships/customXml" Target="../ink/ink241.xml"/><Relationship Id="rId96" Type="http://schemas.openxmlformats.org/officeDocument/2006/relationships/image" Target="../media/image258.png"/><Relationship Id="rId140" Type="http://schemas.openxmlformats.org/officeDocument/2006/relationships/image" Target="../media/image280.png"/><Relationship Id="rId161" Type="http://schemas.openxmlformats.org/officeDocument/2006/relationships/customXml" Target="../ink/ink284.xml"/><Relationship Id="rId182" Type="http://schemas.openxmlformats.org/officeDocument/2006/relationships/image" Target="../media/image301.png"/><Relationship Id="rId217" Type="http://schemas.openxmlformats.org/officeDocument/2006/relationships/customXml" Target="../ink/ink312.xml"/><Relationship Id="rId6" Type="http://schemas.openxmlformats.org/officeDocument/2006/relationships/image" Target="../media/image213.png"/><Relationship Id="rId238" Type="http://schemas.openxmlformats.org/officeDocument/2006/relationships/image" Target="../media/image329.png"/><Relationship Id="rId23" Type="http://schemas.openxmlformats.org/officeDocument/2006/relationships/customXml" Target="../ink/ink215.xml"/><Relationship Id="rId119" Type="http://schemas.openxmlformats.org/officeDocument/2006/relationships/customXml" Target="../ink/ink263.xml"/><Relationship Id="rId44" Type="http://schemas.openxmlformats.org/officeDocument/2006/relationships/image" Target="../media/image232.png"/><Relationship Id="rId65" Type="http://schemas.openxmlformats.org/officeDocument/2006/relationships/customXml" Target="../ink/ink236.xml"/><Relationship Id="rId86" Type="http://schemas.openxmlformats.org/officeDocument/2006/relationships/image" Target="../media/image253.png"/><Relationship Id="rId130" Type="http://schemas.openxmlformats.org/officeDocument/2006/relationships/image" Target="../media/image275.png"/><Relationship Id="rId151" Type="http://schemas.openxmlformats.org/officeDocument/2006/relationships/customXml" Target="../ink/ink279.xml"/><Relationship Id="rId172" Type="http://schemas.openxmlformats.org/officeDocument/2006/relationships/image" Target="../media/image296.png"/><Relationship Id="rId193" Type="http://schemas.openxmlformats.org/officeDocument/2006/relationships/customXml" Target="../ink/ink300.xml"/><Relationship Id="rId207" Type="http://schemas.openxmlformats.org/officeDocument/2006/relationships/customXml" Target="../ink/ink307.xml"/><Relationship Id="rId228" Type="http://schemas.openxmlformats.org/officeDocument/2006/relationships/image" Target="../media/image324.png"/><Relationship Id="rId13" Type="http://schemas.openxmlformats.org/officeDocument/2006/relationships/customXml" Target="../ink/ink210.xml"/><Relationship Id="rId109" Type="http://schemas.openxmlformats.org/officeDocument/2006/relationships/customXml" Target="../ink/ink258.xml"/><Relationship Id="rId34" Type="http://schemas.openxmlformats.org/officeDocument/2006/relationships/image" Target="../media/image227.png"/><Relationship Id="rId55" Type="http://schemas.openxmlformats.org/officeDocument/2006/relationships/customXml" Target="../ink/ink231.xml"/><Relationship Id="rId76" Type="http://schemas.openxmlformats.org/officeDocument/2006/relationships/image" Target="../media/image248.png"/><Relationship Id="rId97" Type="http://schemas.openxmlformats.org/officeDocument/2006/relationships/customXml" Target="../ink/ink252.xml"/><Relationship Id="rId120" Type="http://schemas.openxmlformats.org/officeDocument/2006/relationships/image" Target="../media/image270.png"/><Relationship Id="rId141" Type="http://schemas.openxmlformats.org/officeDocument/2006/relationships/customXml" Target="../ink/ink274.xml"/><Relationship Id="rId7" Type="http://schemas.openxmlformats.org/officeDocument/2006/relationships/customXml" Target="../ink/ink207.xml"/><Relationship Id="rId162" Type="http://schemas.openxmlformats.org/officeDocument/2006/relationships/image" Target="../media/image291.png"/><Relationship Id="rId183" Type="http://schemas.openxmlformats.org/officeDocument/2006/relationships/customXml" Target="../ink/ink295.xml"/><Relationship Id="rId218" Type="http://schemas.openxmlformats.org/officeDocument/2006/relationships/image" Target="../media/image319.png"/><Relationship Id="rId239" Type="http://schemas.openxmlformats.org/officeDocument/2006/relationships/customXml" Target="../ink/ink323.xml"/><Relationship Id="rId24" Type="http://schemas.openxmlformats.org/officeDocument/2006/relationships/image" Target="../media/image222.png"/><Relationship Id="rId45" Type="http://schemas.openxmlformats.org/officeDocument/2006/relationships/customXml" Target="../ink/ink226.xml"/><Relationship Id="rId66" Type="http://schemas.openxmlformats.org/officeDocument/2006/relationships/image" Target="../media/image243.png"/><Relationship Id="rId87" Type="http://schemas.openxmlformats.org/officeDocument/2006/relationships/customXml" Target="../ink/ink247.xml"/><Relationship Id="rId110" Type="http://schemas.openxmlformats.org/officeDocument/2006/relationships/image" Target="../media/image265.png"/><Relationship Id="rId131" Type="http://schemas.openxmlformats.org/officeDocument/2006/relationships/customXml" Target="../ink/ink269.xml"/><Relationship Id="rId152" Type="http://schemas.openxmlformats.org/officeDocument/2006/relationships/image" Target="../media/image286.png"/><Relationship Id="rId173" Type="http://schemas.openxmlformats.org/officeDocument/2006/relationships/customXml" Target="../ink/ink290.xml"/><Relationship Id="rId194" Type="http://schemas.openxmlformats.org/officeDocument/2006/relationships/image" Target="../media/image307.png"/><Relationship Id="rId208" Type="http://schemas.openxmlformats.org/officeDocument/2006/relationships/image" Target="../media/image314.png"/><Relationship Id="rId229" Type="http://schemas.openxmlformats.org/officeDocument/2006/relationships/customXml" Target="../ink/ink318.xml"/><Relationship Id="rId240" Type="http://schemas.openxmlformats.org/officeDocument/2006/relationships/image" Target="../media/image330.png"/><Relationship Id="rId14" Type="http://schemas.openxmlformats.org/officeDocument/2006/relationships/image" Target="../media/image217.png"/><Relationship Id="rId35" Type="http://schemas.openxmlformats.org/officeDocument/2006/relationships/customXml" Target="../ink/ink221.xml"/><Relationship Id="rId56" Type="http://schemas.openxmlformats.org/officeDocument/2006/relationships/image" Target="../media/image238.png"/><Relationship Id="rId77" Type="http://schemas.openxmlformats.org/officeDocument/2006/relationships/customXml" Target="../ink/ink242.xml"/><Relationship Id="rId100" Type="http://schemas.openxmlformats.org/officeDocument/2006/relationships/image" Target="../media/image260.png"/><Relationship Id="rId8" Type="http://schemas.openxmlformats.org/officeDocument/2006/relationships/image" Target="../media/image214.png"/><Relationship Id="rId98" Type="http://schemas.openxmlformats.org/officeDocument/2006/relationships/image" Target="../media/image259.png"/><Relationship Id="rId121" Type="http://schemas.openxmlformats.org/officeDocument/2006/relationships/customXml" Target="../ink/ink264.xml"/><Relationship Id="rId142" Type="http://schemas.openxmlformats.org/officeDocument/2006/relationships/image" Target="../media/image281.png"/><Relationship Id="rId163" Type="http://schemas.openxmlformats.org/officeDocument/2006/relationships/customXml" Target="../ink/ink285.xml"/><Relationship Id="rId184" Type="http://schemas.openxmlformats.org/officeDocument/2006/relationships/image" Target="../media/image302.png"/><Relationship Id="rId219" Type="http://schemas.openxmlformats.org/officeDocument/2006/relationships/customXml" Target="../ink/ink313.xml"/><Relationship Id="rId230" Type="http://schemas.openxmlformats.org/officeDocument/2006/relationships/image" Target="../media/image325.png"/><Relationship Id="rId25" Type="http://schemas.openxmlformats.org/officeDocument/2006/relationships/customXml" Target="../ink/ink216.xml"/><Relationship Id="rId46" Type="http://schemas.openxmlformats.org/officeDocument/2006/relationships/image" Target="../media/image233.png"/><Relationship Id="rId67" Type="http://schemas.openxmlformats.org/officeDocument/2006/relationships/customXml" Target="../ink/ink237.xml"/><Relationship Id="rId88" Type="http://schemas.openxmlformats.org/officeDocument/2006/relationships/image" Target="../media/image254.png"/><Relationship Id="rId111" Type="http://schemas.openxmlformats.org/officeDocument/2006/relationships/customXml" Target="../ink/ink259.xml"/><Relationship Id="rId132" Type="http://schemas.openxmlformats.org/officeDocument/2006/relationships/image" Target="../media/image276.png"/><Relationship Id="rId153" Type="http://schemas.openxmlformats.org/officeDocument/2006/relationships/customXml" Target="../ink/ink280.xml"/><Relationship Id="rId174" Type="http://schemas.openxmlformats.org/officeDocument/2006/relationships/image" Target="../media/image297.png"/><Relationship Id="rId195" Type="http://schemas.openxmlformats.org/officeDocument/2006/relationships/customXml" Target="../ink/ink301.xml"/><Relationship Id="rId209" Type="http://schemas.openxmlformats.org/officeDocument/2006/relationships/customXml" Target="../ink/ink308.xml"/><Relationship Id="rId220" Type="http://schemas.openxmlformats.org/officeDocument/2006/relationships/image" Target="../media/image320.png"/><Relationship Id="rId241" Type="http://schemas.openxmlformats.org/officeDocument/2006/relationships/customXml" Target="../ink/ink324.xml"/><Relationship Id="rId15" Type="http://schemas.openxmlformats.org/officeDocument/2006/relationships/customXml" Target="../ink/ink211.xml"/><Relationship Id="rId36" Type="http://schemas.openxmlformats.org/officeDocument/2006/relationships/image" Target="../media/image228.png"/><Relationship Id="rId57" Type="http://schemas.openxmlformats.org/officeDocument/2006/relationships/customXml" Target="../ink/ink232.xml"/><Relationship Id="rId106" Type="http://schemas.openxmlformats.org/officeDocument/2006/relationships/image" Target="../media/image263.png"/><Relationship Id="rId127" Type="http://schemas.openxmlformats.org/officeDocument/2006/relationships/customXml" Target="../ink/ink267.xml"/><Relationship Id="rId10" Type="http://schemas.openxmlformats.org/officeDocument/2006/relationships/image" Target="../media/image215.png"/><Relationship Id="rId31" Type="http://schemas.openxmlformats.org/officeDocument/2006/relationships/customXml" Target="../ink/ink219.xml"/><Relationship Id="rId52" Type="http://schemas.openxmlformats.org/officeDocument/2006/relationships/image" Target="../media/image236.png"/><Relationship Id="rId73" Type="http://schemas.openxmlformats.org/officeDocument/2006/relationships/customXml" Target="../ink/ink240.xml"/><Relationship Id="rId78" Type="http://schemas.openxmlformats.org/officeDocument/2006/relationships/image" Target="../media/image249.png"/><Relationship Id="rId94" Type="http://schemas.openxmlformats.org/officeDocument/2006/relationships/image" Target="../media/image257.png"/><Relationship Id="rId99" Type="http://schemas.openxmlformats.org/officeDocument/2006/relationships/customXml" Target="../ink/ink253.xml"/><Relationship Id="rId101" Type="http://schemas.openxmlformats.org/officeDocument/2006/relationships/customXml" Target="../ink/ink254.xml"/><Relationship Id="rId122" Type="http://schemas.openxmlformats.org/officeDocument/2006/relationships/image" Target="../media/image271.png"/><Relationship Id="rId143" Type="http://schemas.openxmlformats.org/officeDocument/2006/relationships/customXml" Target="../ink/ink275.xml"/><Relationship Id="rId148" Type="http://schemas.openxmlformats.org/officeDocument/2006/relationships/image" Target="../media/image284.png"/><Relationship Id="rId164" Type="http://schemas.openxmlformats.org/officeDocument/2006/relationships/image" Target="../media/image292.png"/><Relationship Id="rId169" Type="http://schemas.openxmlformats.org/officeDocument/2006/relationships/customXml" Target="../ink/ink288.xml"/><Relationship Id="rId185" Type="http://schemas.openxmlformats.org/officeDocument/2006/relationships/customXml" Target="../ink/ink296.xml"/><Relationship Id="rId4" Type="http://schemas.openxmlformats.org/officeDocument/2006/relationships/oleObject" Target="../embeddings/oleObject5.bin"/><Relationship Id="rId9" Type="http://schemas.openxmlformats.org/officeDocument/2006/relationships/customXml" Target="../ink/ink208.xml"/><Relationship Id="rId180" Type="http://schemas.openxmlformats.org/officeDocument/2006/relationships/image" Target="../media/image300.png"/><Relationship Id="rId210" Type="http://schemas.openxmlformats.org/officeDocument/2006/relationships/image" Target="../media/image315.png"/><Relationship Id="rId215" Type="http://schemas.openxmlformats.org/officeDocument/2006/relationships/customXml" Target="../ink/ink311.xml"/><Relationship Id="rId236" Type="http://schemas.openxmlformats.org/officeDocument/2006/relationships/image" Target="../media/image328.png"/><Relationship Id="rId26" Type="http://schemas.openxmlformats.org/officeDocument/2006/relationships/image" Target="../media/image223.png"/><Relationship Id="rId231" Type="http://schemas.openxmlformats.org/officeDocument/2006/relationships/customXml" Target="../ink/ink319.xml"/><Relationship Id="rId47" Type="http://schemas.openxmlformats.org/officeDocument/2006/relationships/customXml" Target="../ink/ink227.xml"/><Relationship Id="rId68" Type="http://schemas.openxmlformats.org/officeDocument/2006/relationships/image" Target="../media/image244.png"/><Relationship Id="rId89" Type="http://schemas.openxmlformats.org/officeDocument/2006/relationships/customXml" Target="../ink/ink248.xml"/><Relationship Id="rId112" Type="http://schemas.openxmlformats.org/officeDocument/2006/relationships/image" Target="../media/image266.png"/><Relationship Id="rId133" Type="http://schemas.openxmlformats.org/officeDocument/2006/relationships/customXml" Target="../ink/ink270.xml"/><Relationship Id="rId154" Type="http://schemas.openxmlformats.org/officeDocument/2006/relationships/image" Target="../media/image287.png"/><Relationship Id="rId175" Type="http://schemas.openxmlformats.org/officeDocument/2006/relationships/customXml" Target="../ink/ink291.xml"/><Relationship Id="rId196" Type="http://schemas.openxmlformats.org/officeDocument/2006/relationships/image" Target="../media/image308.png"/><Relationship Id="rId200" Type="http://schemas.openxmlformats.org/officeDocument/2006/relationships/image" Target="../media/image310.png"/><Relationship Id="rId16" Type="http://schemas.openxmlformats.org/officeDocument/2006/relationships/image" Target="../media/image218.png"/><Relationship Id="rId221" Type="http://schemas.openxmlformats.org/officeDocument/2006/relationships/customXml" Target="../ink/ink314.xml"/><Relationship Id="rId242" Type="http://schemas.openxmlformats.org/officeDocument/2006/relationships/image" Target="../media/image331.png"/><Relationship Id="rId37" Type="http://schemas.openxmlformats.org/officeDocument/2006/relationships/customXml" Target="../ink/ink222.xml"/><Relationship Id="rId58" Type="http://schemas.openxmlformats.org/officeDocument/2006/relationships/image" Target="../media/image239.png"/><Relationship Id="rId79" Type="http://schemas.openxmlformats.org/officeDocument/2006/relationships/customXml" Target="../ink/ink243.xml"/><Relationship Id="rId102" Type="http://schemas.openxmlformats.org/officeDocument/2006/relationships/image" Target="../media/image261.png"/><Relationship Id="rId123" Type="http://schemas.openxmlformats.org/officeDocument/2006/relationships/customXml" Target="../ink/ink265.xml"/><Relationship Id="rId144" Type="http://schemas.openxmlformats.org/officeDocument/2006/relationships/image" Target="../media/image282.png"/><Relationship Id="rId90" Type="http://schemas.openxmlformats.org/officeDocument/2006/relationships/image" Target="../media/image255.png"/><Relationship Id="rId165" Type="http://schemas.openxmlformats.org/officeDocument/2006/relationships/customXml" Target="../ink/ink286.xml"/><Relationship Id="rId186" Type="http://schemas.openxmlformats.org/officeDocument/2006/relationships/image" Target="../media/image303.png"/><Relationship Id="rId211" Type="http://schemas.openxmlformats.org/officeDocument/2006/relationships/customXml" Target="../ink/ink309.xml"/><Relationship Id="rId232" Type="http://schemas.openxmlformats.org/officeDocument/2006/relationships/image" Target="../media/image326.png"/><Relationship Id="rId27" Type="http://schemas.openxmlformats.org/officeDocument/2006/relationships/customXml" Target="../ink/ink217.xml"/><Relationship Id="rId48" Type="http://schemas.openxmlformats.org/officeDocument/2006/relationships/image" Target="../media/image234.png"/><Relationship Id="rId69" Type="http://schemas.openxmlformats.org/officeDocument/2006/relationships/customXml" Target="../ink/ink238.xml"/><Relationship Id="rId113" Type="http://schemas.openxmlformats.org/officeDocument/2006/relationships/customXml" Target="../ink/ink260.xml"/><Relationship Id="rId134" Type="http://schemas.openxmlformats.org/officeDocument/2006/relationships/image" Target="../media/image277.png"/><Relationship Id="rId80" Type="http://schemas.openxmlformats.org/officeDocument/2006/relationships/image" Target="../media/image250.png"/><Relationship Id="rId155" Type="http://schemas.openxmlformats.org/officeDocument/2006/relationships/customXml" Target="../ink/ink281.xml"/><Relationship Id="rId176" Type="http://schemas.openxmlformats.org/officeDocument/2006/relationships/image" Target="../media/image298.png"/><Relationship Id="rId197" Type="http://schemas.openxmlformats.org/officeDocument/2006/relationships/customXml" Target="../ink/ink302.xml"/><Relationship Id="rId201" Type="http://schemas.openxmlformats.org/officeDocument/2006/relationships/customXml" Target="../ink/ink304.xml"/><Relationship Id="rId222" Type="http://schemas.openxmlformats.org/officeDocument/2006/relationships/image" Target="../media/image321.png"/><Relationship Id="rId243" Type="http://schemas.openxmlformats.org/officeDocument/2006/relationships/customXml" Target="../ink/ink325.xml"/><Relationship Id="rId17" Type="http://schemas.openxmlformats.org/officeDocument/2006/relationships/customXml" Target="../ink/ink212.xml"/><Relationship Id="rId38" Type="http://schemas.openxmlformats.org/officeDocument/2006/relationships/image" Target="../media/image229.png"/><Relationship Id="rId59" Type="http://schemas.openxmlformats.org/officeDocument/2006/relationships/customXml" Target="../ink/ink233.xml"/><Relationship Id="rId103" Type="http://schemas.openxmlformats.org/officeDocument/2006/relationships/customXml" Target="../ink/ink255.xml"/><Relationship Id="rId124" Type="http://schemas.openxmlformats.org/officeDocument/2006/relationships/image" Target="../media/image272.png"/><Relationship Id="rId70" Type="http://schemas.openxmlformats.org/officeDocument/2006/relationships/image" Target="../media/image245.png"/><Relationship Id="rId91" Type="http://schemas.openxmlformats.org/officeDocument/2006/relationships/customXml" Target="../ink/ink249.xml"/><Relationship Id="rId145" Type="http://schemas.openxmlformats.org/officeDocument/2006/relationships/customXml" Target="../ink/ink276.xml"/><Relationship Id="rId166" Type="http://schemas.openxmlformats.org/officeDocument/2006/relationships/image" Target="../media/image293.png"/><Relationship Id="rId187" Type="http://schemas.openxmlformats.org/officeDocument/2006/relationships/customXml" Target="../ink/ink297.xml"/><Relationship Id="rId1" Type="http://schemas.openxmlformats.org/officeDocument/2006/relationships/tags" Target="../tags/tag6.xml"/><Relationship Id="rId212" Type="http://schemas.openxmlformats.org/officeDocument/2006/relationships/image" Target="../media/image316.png"/><Relationship Id="rId233" Type="http://schemas.openxmlformats.org/officeDocument/2006/relationships/customXml" Target="../ink/ink320.xml"/><Relationship Id="rId28" Type="http://schemas.openxmlformats.org/officeDocument/2006/relationships/image" Target="../media/image224.png"/><Relationship Id="rId49" Type="http://schemas.openxmlformats.org/officeDocument/2006/relationships/customXml" Target="../ink/ink228.xml"/><Relationship Id="rId114" Type="http://schemas.openxmlformats.org/officeDocument/2006/relationships/image" Target="../media/image267.png"/><Relationship Id="rId60" Type="http://schemas.openxmlformats.org/officeDocument/2006/relationships/image" Target="../media/image240.png"/><Relationship Id="rId81" Type="http://schemas.openxmlformats.org/officeDocument/2006/relationships/customXml" Target="../ink/ink244.xml"/><Relationship Id="rId135" Type="http://schemas.openxmlformats.org/officeDocument/2006/relationships/customXml" Target="../ink/ink271.xml"/><Relationship Id="rId156" Type="http://schemas.openxmlformats.org/officeDocument/2006/relationships/image" Target="../media/image288.png"/><Relationship Id="rId177" Type="http://schemas.openxmlformats.org/officeDocument/2006/relationships/customXml" Target="../ink/ink292.xml"/><Relationship Id="rId198" Type="http://schemas.openxmlformats.org/officeDocument/2006/relationships/image" Target="../media/image309.png"/><Relationship Id="rId202" Type="http://schemas.openxmlformats.org/officeDocument/2006/relationships/image" Target="../media/image311.png"/><Relationship Id="rId223" Type="http://schemas.openxmlformats.org/officeDocument/2006/relationships/customXml" Target="../ink/ink315.xml"/><Relationship Id="rId244" Type="http://schemas.openxmlformats.org/officeDocument/2006/relationships/image" Target="../media/image332.png"/><Relationship Id="rId18" Type="http://schemas.openxmlformats.org/officeDocument/2006/relationships/image" Target="../media/image219.png"/><Relationship Id="rId39" Type="http://schemas.openxmlformats.org/officeDocument/2006/relationships/customXml" Target="../ink/ink223.xml"/><Relationship Id="rId50" Type="http://schemas.openxmlformats.org/officeDocument/2006/relationships/image" Target="../media/image235.png"/><Relationship Id="rId104" Type="http://schemas.openxmlformats.org/officeDocument/2006/relationships/image" Target="../media/image262.png"/><Relationship Id="rId125" Type="http://schemas.openxmlformats.org/officeDocument/2006/relationships/customXml" Target="../ink/ink266.xml"/><Relationship Id="rId146" Type="http://schemas.openxmlformats.org/officeDocument/2006/relationships/image" Target="../media/image283.png"/><Relationship Id="rId167" Type="http://schemas.openxmlformats.org/officeDocument/2006/relationships/customXml" Target="../ink/ink287.xml"/><Relationship Id="rId188" Type="http://schemas.openxmlformats.org/officeDocument/2006/relationships/image" Target="../media/image304.png"/><Relationship Id="rId71" Type="http://schemas.openxmlformats.org/officeDocument/2006/relationships/customXml" Target="../ink/ink239.xml"/><Relationship Id="rId92" Type="http://schemas.openxmlformats.org/officeDocument/2006/relationships/image" Target="../media/image256.png"/><Relationship Id="rId213" Type="http://schemas.openxmlformats.org/officeDocument/2006/relationships/customXml" Target="../ink/ink310.xml"/><Relationship Id="rId234" Type="http://schemas.openxmlformats.org/officeDocument/2006/relationships/image" Target="../media/image327.png"/><Relationship Id="rId2" Type="http://schemas.openxmlformats.org/officeDocument/2006/relationships/slideLayout" Target="../slideLayouts/slideLayout2.xml"/><Relationship Id="rId29" Type="http://schemas.openxmlformats.org/officeDocument/2006/relationships/customXml" Target="../ink/ink218.xml"/><Relationship Id="rId40" Type="http://schemas.openxmlformats.org/officeDocument/2006/relationships/image" Target="../media/image230.png"/><Relationship Id="rId115" Type="http://schemas.openxmlformats.org/officeDocument/2006/relationships/customXml" Target="../ink/ink261.xml"/><Relationship Id="rId136" Type="http://schemas.openxmlformats.org/officeDocument/2006/relationships/image" Target="../media/image278.png"/><Relationship Id="rId157" Type="http://schemas.openxmlformats.org/officeDocument/2006/relationships/customXml" Target="../ink/ink282.xml"/><Relationship Id="rId178" Type="http://schemas.openxmlformats.org/officeDocument/2006/relationships/image" Target="../media/image299.png"/><Relationship Id="rId61" Type="http://schemas.openxmlformats.org/officeDocument/2006/relationships/customXml" Target="../ink/ink234.xml"/><Relationship Id="rId82" Type="http://schemas.openxmlformats.org/officeDocument/2006/relationships/image" Target="../media/image251.png"/><Relationship Id="rId199" Type="http://schemas.openxmlformats.org/officeDocument/2006/relationships/customXml" Target="../ink/ink303.xml"/><Relationship Id="rId203" Type="http://schemas.openxmlformats.org/officeDocument/2006/relationships/customXml" Target="../ink/ink305.xml"/><Relationship Id="rId19" Type="http://schemas.openxmlformats.org/officeDocument/2006/relationships/customXml" Target="../ink/ink213.xml"/><Relationship Id="rId224" Type="http://schemas.openxmlformats.org/officeDocument/2006/relationships/image" Target="../media/image322.png"/><Relationship Id="rId30" Type="http://schemas.openxmlformats.org/officeDocument/2006/relationships/image" Target="../media/image225.png"/><Relationship Id="rId105" Type="http://schemas.openxmlformats.org/officeDocument/2006/relationships/customXml" Target="../ink/ink256.xml"/><Relationship Id="rId126" Type="http://schemas.openxmlformats.org/officeDocument/2006/relationships/image" Target="../media/image273.png"/><Relationship Id="rId147" Type="http://schemas.openxmlformats.org/officeDocument/2006/relationships/customXml" Target="../ink/ink277.xml"/><Relationship Id="rId168" Type="http://schemas.openxmlformats.org/officeDocument/2006/relationships/image" Target="../media/image294.png"/><Relationship Id="rId51" Type="http://schemas.openxmlformats.org/officeDocument/2006/relationships/customXml" Target="../ink/ink229.xml"/><Relationship Id="rId72" Type="http://schemas.openxmlformats.org/officeDocument/2006/relationships/image" Target="../media/image246.png"/><Relationship Id="rId93" Type="http://schemas.openxmlformats.org/officeDocument/2006/relationships/customXml" Target="../ink/ink250.xml"/><Relationship Id="rId189" Type="http://schemas.openxmlformats.org/officeDocument/2006/relationships/customXml" Target="../ink/ink298.xml"/><Relationship Id="rId3" Type="http://schemas.openxmlformats.org/officeDocument/2006/relationships/notesSlide" Target="../notesSlides/notesSlide1.xml"/><Relationship Id="rId214" Type="http://schemas.openxmlformats.org/officeDocument/2006/relationships/image" Target="../media/image317.png"/><Relationship Id="rId235" Type="http://schemas.openxmlformats.org/officeDocument/2006/relationships/customXml" Target="../ink/ink321.xml"/><Relationship Id="rId116" Type="http://schemas.openxmlformats.org/officeDocument/2006/relationships/image" Target="../media/image268.png"/><Relationship Id="rId137" Type="http://schemas.openxmlformats.org/officeDocument/2006/relationships/customXml" Target="../ink/ink272.xml"/><Relationship Id="rId158" Type="http://schemas.openxmlformats.org/officeDocument/2006/relationships/image" Target="../media/image289.png"/><Relationship Id="rId20" Type="http://schemas.openxmlformats.org/officeDocument/2006/relationships/image" Target="../media/image220.png"/><Relationship Id="rId41" Type="http://schemas.openxmlformats.org/officeDocument/2006/relationships/customXml" Target="../ink/ink224.xml"/><Relationship Id="rId62" Type="http://schemas.openxmlformats.org/officeDocument/2006/relationships/image" Target="../media/image241.png"/><Relationship Id="rId83" Type="http://schemas.openxmlformats.org/officeDocument/2006/relationships/customXml" Target="../ink/ink245.xml"/><Relationship Id="rId179" Type="http://schemas.openxmlformats.org/officeDocument/2006/relationships/customXml" Target="../ink/ink293.xml"/><Relationship Id="rId190" Type="http://schemas.openxmlformats.org/officeDocument/2006/relationships/image" Target="../media/image305.png"/><Relationship Id="rId204" Type="http://schemas.openxmlformats.org/officeDocument/2006/relationships/image" Target="../media/image312.png"/><Relationship Id="rId225" Type="http://schemas.openxmlformats.org/officeDocument/2006/relationships/customXml" Target="../ink/ink316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customXml" Target="../ink/ink336.xml"/><Relationship Id="rId21" Type="http://schemas.openxmlformats.org/officeDocument/2006/relationships/image" Target="../media/image341.png"/><Relationship Id="rId42" Type="http://schemas.openxmlformats.org/officeDocument/2006/relationships/customXml" Target="../ink/ink344.xml"/><Relationship Id="rId47" Type="http://schemas.openxmlformats.org/officeDocument/2006/relationships/image" Target="../media/image354.png"/><Relationship Id="rId63" Type="http://schemas.openxmlformats.org/officeDocument/2006/relationships/image" Target="../media/image362.png"/><Relationship Id="rId68" Type="http://schemas.openxmlformats.org/officeDocument/2006/relationships/customXml" Target="../ink/ink357.xml"/><Relationship Id="rId16" Type="http://schemas.openxmlformats.org/officeDocument/2006/relationships/customXml" Target="../ink/ink331.xml"/><Relationship Id="rId11" Type="http://schemas.openxmlformats.org/officeDocument/2006/relationships/image" Target="../media/image336.png"/><Relationship Id="rId24" Type="http://schemas.openxmlformats.org/officeDocument/2006/relationships/customXml" Target="../ink/ink335.xml"/><Relationship Id="rId32" Type="http://schemas.openxmlformats.org/officeDocument/2006/relationships/customXml" Target="../ink/ink339.xml"/><Relationship Id="rId37" Type="http://schemas.openxmlformats.org/officeDocument/2006/relationships/image" Target="../media/image349.png"/><Relationship Id="rId40" Type="http://schemas.openxmlformats.org/officeDocument/2006/relationships/customXml" Target="../ink/ink343.xml"/><Relationship Id="rId45" Type="http://schemas.openxmlformats.org/officeDocument/2006/relationships/image" Target="../media/image353.png"/><Relationship Id="rId53" Type="http://schemas.openxmlformats.org/officeDocument/2006/relationships/image" Target="../media/image357.png"/><Relationship Id="rId58" Type="http://schemas.openxmlformats.org/officeDocument/2006/relationships/customXml" Target="../ink/ink352.xml"/><Relationship Id="rId66" Type="http://schemas.openxmlformats.org/officeDocument/2006/relationships/customXml" Target="../ink/ink356.xml"/><Relationship Id="rId74" Type="http://schemas.openxmlformats.org/officeDocument/2006/relationships/customXml" Target="../ink/ink360.xml"/><Relationship Id="rId79" Type="http://schemas.openxmlformats.org/officeDocument/2006/relationships/image" Target="../media/image370.png"/><Relationship Id="rId5" Type="http://schemas.openxmlformats.org/officeDocument/2006/relationships/image" Target="../media/image333.png"/><Relationship Id="rId61" Type="http://schemas.openxmlformats.org/officeDocument/2006/relationships/image" Target="../media/image361.png"/><Relationship Id="rId19" Type="http://schemas.openxmlformats.org/officeDocument/2006/relationships/image" Target="../media/image340.png"/><Relationship Id="rId14" Type="http://schemas.openxmlformats.org/officeDocument/2006/relationships/customXml" Target="../ink/ink330.xml"/><Relationship Id="rId22" Type="http://schemas.openxmlformats.org/officeDocument/2006/relationships/customXml" Target="../ink/ink334.xml"/><Relationship Id="rId27" Type="http://schemas.openxmlformats.org/officeDocument/2006/relationships/image" Target="../media/image344.png"/><Relationship Id="rId30" Type="http://schemas.openxmlformats.org/officeDocument/2006/relationships/customXml" Target="../ink/ink338.xml"/><Relationship Id="rId35" Type="http://schemas.openxmlformats.org/officeDocument/2006/relationships/image" Target="../media/image348.png"/><Relationship Id="rId43" Type="http://schemas.openxmlformats.org/officeDocument/2006/relationships/image" Target="../media/image352.png"/><Relationship Id="rId48" Type="http://schemas.openxmlformats.org/officeDocument/2006/relationships/customXml" Target="../ink/ink347.xml"/><Relationship Id="rId56" Type="http://schemas.openxmlformats.org/officeDocument/2006/relationships/customXml" Target="../ink/ink351.xml"/><Relationship Id="rId64" Type="http://schemas.openxmlformats.org/officeDocument/2006/relationships/customXml" Target="../ink/ink355.xml"/><Relationship Id="rId69" Type="http://schemas.openxmlformats.org/officeDocument/2006/relationships/image" Target="../media/image365.png"/><Relationship Id="rId77" Type="http://schemas.openxmlformats.org/officeDocument/2006/relationships/image" Target="../media/image369.png"/><Relationship Id="rId8" Type="http://schemas.openxmlformats.org/officeDocument/2006/relationships/customXml" Target="../ink/ink327.xml"/><Relationship Id="rId51" Type="http://schemas.openxmlformats.org/officeDocument/2006/relationships/image" Target="../media/image356.png"/><Relationship Id="rId72" Type="http://schemas.openxmlformats.org/officeDocument/2006/relationships/customXml" Target="../ink/ink359.xml"/><Relationship Id="rId3" Type="http://schemas.openxmlformats.org/officeDocument/2006/relationships/oleObject" Target="../embeddings/oleObject6.bin"/><Relationship Id="rId12" Type="http://schemas.openxmlformats.org/officeDocument/2006/relationships/customXml" Target="../ink/ink329.xml"/><Relationship Id="rId17" Type="http://schemas.openxmlformats.org/officeDocument/2006/relationships/image" Target="../media/image339.png"/><Relationship Id="rId25" Type="http://schemas.openxmlformats.org/officeDocument/2006/relationships/image" Target="../media/image343.png"/><Relationship Id="rId33" Type="http://schemas.openxmlformats.org/officeDocument/2006/relationships/image" Target="../media/image347.png"/><Relationship Id="rId38" Type="http://schemas.openxmlformats.org/officeDocument/2006/relationships/customXml" Target="../ink/ink342.xml"/><Relationship Id="rId46" Type="http://schemas.openxmlformats.org/officeDocument/2006/relationships/customXml" Target="../ink/ink346.xml"/><Relationship Id="rId59" Type="http://schemas.openxmlformats.org/officeDocument/2006/relationships/image" Target="../media/image360.png"/><Relationship Id="rId67" Type="http://schemas.openxmlformats.org/officeDocument/2006/relationships/image" Target="../media/image364.png"/><Relationship Id="rId20" Type="http://schemas.openxmlformats.org/officeDocument/2006/relationships/customXml" Target="../ink/ink333.xml"/><Relationship Id="rId41" Type="http://schemas.openxmlformats.org/officeDocument/2006/relationships/image" Target="../media/image351.png"/><Relationship Id="rId54" Type="http://schemas.openxmlformats.org/officeDocument/2006/relationships/customXml" Target="../ink/ink350.xml"/><Relationship Id="rId62" Type="http://schemas.openxmlformats.org/officeDocument/2006/relationships/customXml" Target="../ink/ink354.xml"/><Relationship Id="rId70" Type="http://schemas.openxmlformats.org/officeDocument/2006/relationships/customXml" Target="../ink/ink358.xml"/><Relationship Id="rId75" Type="http://schemas.openxmlformats.org/officeDocument/2006/relationships/image" Target="../media/image368.png"/><Relationship Id="rId1" Type="http://schemas.openxmlformats.org/officeDocument/2006/relationships/tags" Target="../tags/tag7.xml"/><Relationship Id="rId6" Type="http://schemas.openxmlformats.org/officeDocument/2006/relationships/customXml" Target="../ink/ink326.xml"/><Relationship Id="rId15" Type="http://schemas.openxmlformats.org/officeDocument/2006/relationships/image" Target="../media/image338.png"/><Relationship Id="rId23" Type="http://schemas.openxmlformats.org/officeDocument/2006/relationships/image" Target="../media/image342.png"/><Relationship Id="rId28" Type="http://schemas.openxmlformats.org/officeDocument/2006/relationships/customXml" Target="../ink/ink337.xml"/><Relationship Id="rId36" Type="http://schemas.openxmlformats.org/officeDocument/2006/relationships/customXml" Target="../ink/ink341.xml"/><Relationship Id="rId49" Type="http://schemas.openxmlformats.org/officeDocument/2006/relationships/image" Target="../media/image355.png"/><Relationship Id="rId57" Type="http://schemas.openxmlformats.org/officeDocument/2006/relationships/image" Target="../media/image359.png"/><Relationship Id="rId10" Type="http://schemas.openxmlformats.org/officeDocument/2006/relationships/customXml" Target="../ink/ink328.xml"/><Relationship Id="rId31" Type="http://schemas.openxmlformats.org/officeDocument/2006/relationships/image" Target="../media/image346.png"/><Relationship Id="rId44" Type="http://schemas.openxmlformats.org/officeDocument/2006/relationships/customXml" Target="../ink/ink345.xml"/><Relationship Id="rId52" Type="http://schemas.openxmlformats.org/officeDocument/2006/relationships/customXml" Target="../ink/ink349.xml"/><Relationship Id="rId60" Type="http://schemas.openxmlformats.org/officeDocument/2006/relationships/customXml" Target="../ink/ink353.xml"/><Relationship Id="rId65" Type="http://schemas.openxmlformats.org/officeDocument/2006/relationships/image" Target="../media/image363.png"/><Relationship Id="rId73" Type="http://schemas.openxmlformats.org/officeDocument/2006/relationships/image" Target="../media/image367.png"/><Relationship Id="rId78" Type="http://schemas.openxmlformats.org/officeDocument/2006/relationships/customXml" Target="../ink/ink362.xml"/><Relationship Id="rId4" Type="http://schemas.openxmlformats.org/officeDocument/2006/relationships/image" Target="../media/image1.emf"/><Relationship Id="rId9" Type="http://schemas.openxmlformats.org/officeDocument/2006/relationships/image" Target="../media/image335.png"/><Relationship Id="rId13" Type="http://schemas.openxmlformats.org/officeDocument/2006/relationships/image" Target="../media/image337.png"/><Relationship Id="rId18" Type="http://schemas.openxmlformats.org/officeDocument/2006/relationships/customXml" Target="../ink/ink332.xml"/><Relationship Id="rId39" Type="http://schemas.openxmlformats.org/officeDocument/2006/relationships/image" Target="../media/image350.png"/><Relationship Id="rId34" Type="http://schemas.openxmlformats.org/officeDocument/2006/relationships/customXml" Target="../ink/ink340.xml"/><Relationship Id="rId50" Type="http://schemas.openxmlformats.org/officeDocument/2006/relationships/customXml" Target="../ink/ink348.xml"/><Relationship Id="rId55" Type="http://schemas.openxmlformats.org/officeDocument/2006/relationships/image" Target="../media/image358.png"/><Relationship Id="rId76" Type="http://schemas.openxmlformats.org/officeDocument/2006/relationships/customXml" Target="../ink/ink361.xml"/><Relationship Id="rId7" Type="http://schemas.openxmlformats.org/officeDocument/2006/relationships/image" Target="../media/image334.png"/><Relationship Id="rId71" Type="http://schemas.openxmlformats.org/officeDocument/2006/relationships/image" Target="../media/image366.png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34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371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630A558-2BC1-40DC-8D5F-DBE39ACC15C2}"/>
              </a:ext>
            </a:extLst>
          </p:cNvPr>
          <p:cNvSpPr txBox="1"/>
          <p:nvPr/>
        </p:nvSpPr>
        <p:spPr>
          <a:xfrm>
            <a:off x="1552575" y="2600325"/>
            <a:ext cx="89439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dirty="0"/>
              <a:t>Few Shot Learning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BCE2DD0-B9A6-406B-BDB8-A592642AD192}"/>
              </a:ext>
            </a:extLst>
          </p:cNvPr>
          <p:cNvGrpSpPr/>
          <p:nvPr/>
        </p:nvGrpSpPr>
        <p:grpSpPr>
          <a:xfrm>
            <a:off x="2183169" y="4048362"/>
            <a:ext cx="1233360" cy="420840"/>
            <a:chOff x="2183169" y="4048362"/>
            <a:chExt cx="1233360" cy="4208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3" name="Ink 2">
                  <a:extLst>
                    <a:ext uri="{FF2B5EF4-FFF2-40B4-BE49-F238E27FC236}">
                      <a16:creationId xmlns:a16="http://schemas.microsoft.com/office/drawing/2014/main" id="{856292DB-8319-4CF5-91C5-A1428458033D}"/>
                    </a:ext>
                  </a:extLst>
                </p14:cNvPr>
                <p14:cNvContentPartPr/>
                <p14:nvPr/>
              </p14:nvContentPartPr>
              <p14:xfrm>
                <a:off x="2183169" y="4135482"/>
                <a:ext cx="41040" cy="333720"/>
              </p14:xfrm>
            </p:contentPart>
          </mc:Choice>
          <mc:Fallback xmlns="">
            <p:pic>
              <p:nvPicPr>
                <p:cNvPr id="3" name="Ink 2">
                  <a:extLst>
                    <a:ext uri="{FF2B5EF4-FFF2-40B4-BE49-F238E27FC236}">
                      <a16:creationId xmlns:a16="http://schemas.microsoft.com/office/drawing/2014/main" id="{856292DB-8319-4CF5-91C5-A1428458033D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165169" y="4117842"/>
                  <a:ext cx="76680" cy="36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30D4D7C1-3B7D-4ED6-B81F-434CD9A39EDA}"/>
                    </a:ext>
                  </a:extLst>
                </p14:cNvPr>
                <p14:cNvContentPartPr/>
                <p14:nvPr/>
              </p14:nvContentPartPr>
              <p14:xfrm>
                <a:off x="2193969" y="4048362"/>
                <a:ext cx="145080" cy="17964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30D4D7C1-3B7D-4ED6-B81F-434CD9A39EDA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175969" y="4030722"/>
                  <a:ext cx="180720" cy="21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2FDF5D93-EF58-417F-B49C-43345F6B371E}"/>
                    </a:ext>
                  </a:extLst>
                </p14:cNvPr>
                <p14:cNvContentPartPr/>
                <p14:nvPr/>
              </p14:nvContentPartPr>
              <p14:xfrm>
                <a:off x="2346969" y="4222962"/>
                <a:ext cx="240120" cy="17064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2FDF5D93-EF58-417F-B49C-43345F6B371E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329329" y="4204962"/>
                  <a:ext cx="27576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0507DD52-F847-4621-B58D-D438807DD42D}"/>
                    </a:ext>
                  </a:extLst>
                </p14:cNvPr>
                <p14:cNvContentPartPr/>
                <p14:nvPr/>
              </p14:nvContentPartPr>
              <p14:xfrm>
                <a:off x="2642529" y="4176162"/>
                <a:ext cx="173160" cy="20772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0507DD52-F847-4621-B58D-D438807DD42D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2624889" y="4158162"/>
                  <a:ext cx="208800" cy="24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8C97F335-8D2F-445B-A8DB-EA50F1039949}"/>
                    </a:ext>
                  </a:extLst>
                </p14:cNvPr>
                <p14:cNvContentPartPr/>
                <p14:nvPr/>
              </p14:nvContentPartPr>
              <p14:xfrm>
                <a:off x="2836209" y="4151682"/>
                <a:ext cx="84960" cy="29052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8C97F335-8D2F-445B-A8DB-EA50F1039949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2818209" y="4133682"/>
                  <a:ext cx="120600" cy="32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7B02374A-0615-4BC6-8B4B-A8B92A9DBB55}"/>
                    </a:ext>
                  </a:extLst>
                </p14:cNvPr>
                <p14:cNvContentPartPr/>
                <p14:nvPr/>
              </p14:nvContentPartPr>
              <p14:xfrm>
                <a:off x="2969409" y="4234122"/>
                <a:ext cx="113040" cy="16920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7B02374A-0615-4BC6-8B4B-A8B92A9DBB55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2951769" y="4216482"/>
                  <a:ext cx="148680" cy="20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63A8C0B4-5DFA-4908-834C-6467F4D54F03}"/>
                    </a:ext>
                  </a:extLst>
                </p14:cNvPr>
                <p14:cNvContentPartPr/>
                <p14:nvPr/>
              </p14:nvContentPartPr>
              <p14:xfrm>
                <a:off x="3167769" y="4269762"/>
                <a:ext cx="248760" cy="13680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63A8C0B4-5DFA-4908-834C-6467F4D54F03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3149769" y="4251762"/>
                  <a:ext cx="284400" cy="172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20EC213-2C9A-45A1-9DCB-DF30C5B5D9EB}"/>
              </a:ext>
            </a:extLst>
          </p:cNvPr>
          <p:cNvGrpSpPr/>
          <p:nvPr/>
        </p:nvGrpSpPr>
        <p:grpSpPr>
          <a:xfrm>
            <a:off x="3696609" y="4136202"/>
            <a:ext cx="5115600" cy="442800"/>
            <a:chOff x="3696609" y="4136202"/>
            <a:chExt cx="5115600" cy="442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5021BD15-5724-463B-B1C8-09B468D4A174}"/>
                    </a:ext>
                  </a:extLst>
                </p14:cNvPr>
                <p14:cNvContentPartPr/>
                <p14:nvPr/>
              </p14:nvContentPartPr>
              <p14:xfrm>
                <a:off x="3696609" y="4248162"/>
                <a:ext cx="99000" cy="15516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5021BD15-5724-463B-B1C8-09B468D4A174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3678609" y="4230162"/>
                  <a:ext cx="134640" cy="19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A2FF294D-7CF3-4B3D-AEC2-5ED6F5F37CFA}"/>
                    </a:ext>
                  </a:extLst>
                </p14:cNvPr>
                <p14:cNvContentPartPr/>
                <p14:nvPr/>
              </p14:nvContentPartPr>
              <p14:xfrm>
                <a:off x="3897849" y="4136202"/>
                <a:ext cx="193680" cy="29124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A2FF294D-7CF3-4B3D-AEC2-5ED6F5F37CFA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3879849" y="4118202"/>
                  <a:ext cx="229320" cy="32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53E38B9D-A683-40CC-8146-32838C6B7234}"/>
                    </a:ext>
                  </a:extLst>
                </p14:cNvPr>
                <p14:cNvContentPartPr/>
                <p14:nvPr/>
              </p14:nvContentPartPr>
              <p14:xfrm>
                <a:off x="4023489" y="4315122"/>
                <a:ext cx="143280" cy="1872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53E38B9D-A683-40CC-8146-32838C6B7234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4005849" y="4297122"/>
                  <a:ext cx="178920" cy="5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5AC13BC2-6DEB-4FB8-A6B4-3A2FBEBD0C4E}"/>
                    </a:ext>
                  </a:extLst>
                </p14:cNvPr>
                <p14:cNvContentPartPr/>
                <p14:nvPr/>
              </p14:nvContentPartPr>
              <p14:xfrm>
                <a:off x="4377009" y="4239522"/>
                <a:ext cx="634680" cy="19800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5AC13BC2-6DEB-4FB8-A6B4-3A2FBEBD0C4E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4359009" y="4221882"/>
                  <a:ext cx="670320" cy="233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49B7E219-1C32-47FA-ACBA-A2E3FCE03C56}"/>
                    </a:ext>
                  </a:extLst>
                </p14:cNvPr>
                <p14:cNvContentPartPr/>
                <p14:nvPr/>
              </p14:nvContentPartPr>
              <p14:xfrm>
                <a:off x="5062089" y="4310082"/>
                <a:ext cx="168840" cy="10116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49B7E219-1C32-47FA-ACBA-A2E3FCE03C56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5044089" y="4292082"/>
                  <a:ext cx="204480" cy="13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E2EA04F9-CE02-4112-90ED-2E9B521C580E}"/>
                    </a:ext>
                  </a:extLst>
                </p14:cNvPr>
                <p14:cNvContentPartPr/>
                <p14:nvPr/>
              </p14:nvContentPartPr>
              <p14:xfrm>
                <a:off x="5203929" y="4244202"/>
                <a:ext cx="33480" cy="6732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E2EA04F9-CE02-4112-90ED-2E9B521C580E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5186289" y="4226202"/>
                  <a:ext cx="69120" cy="102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62C1D0EA-9406-409C-8BD3-C7B309C72FED}"/>
                    </a:ext>
                  </a:extLst>
                </p14:cNvPr>
                <p14:cNvContentPartPr/>
                <p14:nvPr/>
              </p14:nvContentPartPr>
              <p14:xfrm>
                <a:off x="5273769" y="4206042"/>
                <a:ext cx="318600" cy="26604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62C1D0EA-9406-409C-8BD3-C7B309C72FED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5256129" y="4188042"/>
                  <a:ext cx="354240" cy="30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25BCED88-6B93-4E08-8502-910CA7BC5D04}"/>
                    </a:ext>
                  </a:extLst>
                </p14:cNvPr>
                <p14:cNvContentPartPr/>
                <p14:nvPr/>
              </p14:nvContentPartPr>
              <p14:xfrm>
                <a:off x="5803329" y="4179402"/>
                <a:ext cx="140400" cy="39960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25BCED88-6B93-4E08-8502-910CA7BC5D04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5785689" y="4161402"/>
                  <a:ext cx="176040" cy="43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94DAB3CA-D27B-4B07-A081-FF2D5BC7B956}"/>
                    </a:ext>
                  </a:extLst>
                </p14:cNvPr>
                <p14:cNvContentPartPr/>
                <p14:nvPr/>
              </p14:nvContentPartPr>
              <p14:xfrm>
                <a:off x="5968209" y="4238802"/>
                <a:ext cx="311040" cy="19584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94DAB3CA-D27B-4B07-A081-FF2D5BC7B956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5950209" y="4221162"/>
                  <a:ext cx="346680" cy="23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B40A276A-B558-46FA-87B0-3403B21919BA}"/>
                    </a:ext>
                  </a:extLst>
                </p14:cNvPr>
                <p14:cNvContentPartPr/>
                <p14:nvPr/>
              </p14:nvContentPartPr>
              <p14:xfrm>
                <a:off x="6475449" y="4170402"/>
                <a:ext cx="267120" cy="23364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B40A276A-B558-46FA-87B0-3403B21919BA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6457809" y="4152762"/>
                  <a:ext cx="302760" cy="26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B17D7DF0-4BD0-4529-8C45-6762A2EE3FDE}"/>
                    </a:ext>
                  </a:extLst>
                </p14:cNvPr>
                <p14:cNvContentPartPr/>
                <p14:nvPr/>
              </p14:nvContentPartPr>
              <p14:xfrm>
                <a:off x="6744369" y="4201002"/>
                <a:ext cx="20160" cy="9000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B17D7DF0-4BD0-4529-8C45-6762A2EE3FDE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6726729" y="4183362"/>
                  <a:ext cx="55800" cy="125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526AE71C-B092-4093-8B73-ECB43CEC3719}"/>
                    </a:ext>
                  </a:extLst>
                </p14:cNvPr>
                <p14:cNvContentPartPr/>
                <p14:nvPr/>
              </p14:nvContentPartPr>
              <p14:xfrm>
                <a:off x="6836529" y="4212162"/>
                <a:ext cx="192600" cy="20412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526AE71C-B092-4093-8B73-ECB43CEC3719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6818889" y="4194162"/>
                  <a:ext cx="228240" cy="23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46E23C54-AAA1-4773-9DEB-3315BB54486F}"/>
                    </a:ext>
                  </a:extLst>
                </p14:cNvPr>
                <p14:cNvContentPartPr/>
                <p14:nvPr/>
              </p14:nvContentPartPr>
              <p14:xfrm>
                <a:off x="6993849" y="4156722"/>
                <a:ext cx="213120" cy="23796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46E23C54-AAA1-4773-9DEB-3315BB54486F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6976209" y="4138722"/>
                  <a:ext cx="248760" cy="27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01545B25-C14B-46AF-A0D2-AAC31E358C59}"/>
                    </a:ext>
                  </a:extLst>
                </p14:cNvPr>
                <p14:cNvContentPartPr/>
                <p14:nvPr/>
              </p14:nvContentPartPr>
              <p14:xfrm>
                <a:off x="7244049" y="4226922"/>
                <a:ext cx="61920" cy="13104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01545B25-C14B-46AF-A0D2-AAC31E358C59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7226409" y="4209282"/>
                  <a:ext cx="97560" cy="166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F73F531E-55D8-42DB-8C55-18D245719521}"/>
                    </a:ext>
                  </a:extLst>
                </p14:cNvPr>
                <p14:cNvContentPartPr/>
                <p14:nvPr/>
              </p14:nvContentPartPr>
              <p14:xfrm>
                <a:off x="7358889" y="4240242"/>
                <a:ext cx="176040" cy="14976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F73F531E-55D8-42DB-8C55-18D245719521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7341249" y="4222602"/>
                  <a:ext cx="211680" cy="185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C68B949B-8452-4048-94AA-4047F8772C3B}"/>
                    </a:ext>
                  </a:extLst>
                </p14:cNvPr>
                <p14:cNvContentPartPr/>
                <p14:nvPr/>
              </p14:nvContentPartPr>
              <p14:xfrm>
                <a:off x="7668129" y="4237002"/>
                <a:ext cx="84600" cy="13572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C68B949B-8452-4048-94AA-4047F8772C3B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7650129" y="4219362"/>
                  <a:ext cx="120240" cy="17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2AEC81D9-B318-4F63-AB51-C1E8C183D2C6}"/>
                    </a:ext>
                  </a:extLst>
                </p14:cNvPr>
                <p14:cNvContentPartPr/>
                <p14:nvPr/>
              </p14:nvContentPartPr>
              <p14:xfrm>
                <a:off x="7964769" y="4269042"/>
                <a:ext cx="266400" cy="15228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2AEC81D9-B318-4F63-AB51-C1E8C183D2C6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7946769" y="4251402"/>
                  <a:ext cx="302040" cy="18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750633A0-1C86-40DE-B328-24CDFFA70A2A}"/>
                    </a:ext>
                  </a:extLst>
                </p14:cNvPr>
                <p14:cNvContentPartPr/>
                <p14:nvPr/>
              </p14:nvContentPartPr>
              <p14:xfrm>
                <a:off x="8263929" y="4150242"/>
                <a:ext cx="77040" cy="24264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750633A0-1C86-40DE-B328-24CDFFA70A2A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8245929" y="4132602"/>
                  <a:ext cx="112680" cy="27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1A7C4699-1F62-4366-BD44-D23B58E7195B}"/>
                    </a:ext>
                  </a:extLst>
                </p14:cNvPr>
                <p14:cNvContentPartPr/>
                <p14:nvPr/>
              </p14:nvContentPartPr>
              <p14:xfrm>
                <a:off x="8464089" y="4161402"/>
                <a:ext cx="63720" cy="19044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1A7C4699-1F62-4366-BD44-D23B58E7195B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8446449" y="4143402"/>
                  <a:ext cx="99360" cy="22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565D1A10-3FB2-4F6F-AD68-44D2E83E2F2D}"/>
                    </a:ext>
                  </a:extLst>
                </p14:cNvPr>
                <p14:cNvContentPartPr/>
                <p14:nvPr/>
              </p14:nvContentPartPr>
              <p14:xfrm>
                <a:off x="8422329" y="4317282"/>
                <a:ext cx="296280" cy="7560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565D1A10-3FB2-4F6F-AD68-44D2E83E2F2D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8404329" y="4299282"/>
                  <a:ext cx="331920" cy="11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DE5C3C8A-08A8-4A13-8352-554321845F46}"/>
                    </a:ext>
                  </a:extLst>
                </p14:cNvPr>
                <p14:cNvContentPartPr/>
                <p14:nvPr/>
              </p14:nvContentPartPr>
              <p14:xfrm>
                <a:off x="8632569" y="4173282"/>
                <a:ext cx="179640" cy="21816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DE5C3C8A-08A8-4A13-8352-554321845F46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8614929" y="4155642"/>
                  <a:ext cx="215280" cy="253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EE7C03C-E959-4D67-BB0B-12A6F5037301}"/>
              </a:ext>
            </a:extLst>
          </p:cNvPr>
          <p:cNvGrpSpPr/>
          <p:nvPr/>
        </p:nvGrpSpPr>
        <p:grpSpPr>
          <a:xfrm>
            <a:off x="9067809" y="4220082"/>
            <a:ext cx="1755000" cy="234000"/>
            <a:chOff x="9067809" y="4220082"/>
            <a:chExt cx="1755000" cy="234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88679A18-7B17-49F4-ADF9-5C818D0A39C3}"/>
                    </a:ext>
                  </a:extLst>
                </p14:cNvPr>
                <p14:cNvContentPartPr/>
                <p14:nvPr/>
              </p14:nvContentPartPr>
              <p14:xfrm>
                <a:off x="9188049" y="4225482"/>
                <a:ext cx="12600" cy="22536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88679A18-7B17-49F4-ADF9-5C818D0A39C3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9170049" y="4207842"/>
                  <a:ext cx="48240" cy="261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89F4E960-4FD3-4E39-AF23-1BC5F121EA56}"/>
                    </a:ext>
                  </a:extLst>
                </p14:cNvPr>
                <p14:cNvContentPartPr/>
                <p14:nvPr/>
              </p14:nvContentPartPr>
              <p14:xfrm>
                <a:off x="9067809" y="4314762"/>
                <a:ext cx="376920" cy="12564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89F4E960-4FD3-4E39-AF23-1BC5F121EA56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9050169" y="4296762"/>
                  <a:ext cx="412560" cy="16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0876EEE4-7D11-425C-B47B-9D98211039BB}"/>
                    </a:ext>
                  </a:extLst>
                </p14:cNvPr>
                <p14:cNvContentPartPr/>
                <p14:nvPr/>
              </p14:nvContentPartPr>
              <p14:xfrm>
                <a:off x="9543369" y="4306842"/>
                <a:ext cx="86040" cy="9468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0876EEE4-7D11-425C-B47B-9D98211039BB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9525729" y="4289202"/>
                  <a:ext cx="121680" cy="13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E1DD0C27-5AB3-4F9F-964C-4427B9631AA9}"/>
                    </a:ext>
                  </a:extLst>
                </p14:cNvPr>
                <p14:cNvContentPartPr/>
                <p14:nvPr/>
              </p14:nvContentPartPr>
              <p14:xfrm>
                <a:off x="9781329" y="4250682"/>
                <a:ext cx="126000" cy="18288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E1DD0C27-5AB3-4F9F-964C-4427B9631AA9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9763329" y="4233042"/>
                  <a:ext cx="161640" cy="21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75AD8D77-B789-411B-8DC6-6B6C5C7EE4FF}"/>
                    </a:ext>
                  </a:extLst>
                </p14:cNvPr>
                <p14:cNvContentPartPr/>
                <p14:nvPr/>
              </p14:nvContentPartPr>
              <p14:xfrm>
                <a:off x="9934329" y="4220082"/>
                <a:ext cx="888480" cy="23400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75AD8D77-B789-411B-8DC6-6B6C5C7EE4FF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9916329" y="4202082"/>
                  <a:ext cx="924120" cy="269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6369D4F-BB24-4ABE-8027-13A253153517}"/>
              </a:ext>
            </a:extLst>
          </p:cNvPr>
          <p:cNvGrpSpPr/>
          <p:nvPr/>
        </p:nvGrpSpPr>
        <p:grpSpPr>
          <a:xfrm>
            <a:off x="10180209" y="4723362"/>
            <a:ext cx="1343520" cy="240840"/>
            <a:chOff x="10180209" y="4723362"/>
            <a:chExt cx="1343520" cy="2408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D701B659-27C1-4ADD-BCC4-5355C8E2FD6A}"/>
                    </a:ext>
                  </a:extLst>
                </p14:cNvPr>
                <p14:cNvContentPartPr/>
                <p14:nvPr/>
              </p14:nvContentPartPr>
              <p14:xfrm>
                <a:off x="10180209" y="4723362"/>
                <a:ext cx="133920" cy="19512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D701B659-27C1-4ADD-BCC4-5355C8E2FD6A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10162569" y="4705722"/>
                  <a:ext cx="169560" cy="23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CF92B410-9E7B-4051-A7DD-8287B8FE107E}"/>
                    </a:ext>
                  </a:extLst>
                </p14:cNvPr>
                <p14:cNvContentPartPr/>
                <p14:nvPr/>
              </p14:nvContentPartPr>
              <p14:xfrm>
                <a:off x="10431129" y="4753962"/>
                <a:ext cx="176760" cy="15624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CF92B410-9E7B-4051-A7DD-8287B8FE107E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10413129" y="4736322"/>
                  <a:ext cx="212400" cy="19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D40604FB-7BD5-4147-9056-52C1856E1412}"/>
                    </a:ext>
                  </a:extLst>
                </p14:cNvPr>
                <p14:cNvContentPartPr/>
                <p14:nvPr/>
              </p14:nvContentPartPr>
              <p14:xfrm>
                <a:off x="10653969" y="4814802"/>
                <a:ext cx="301680" cy="10944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D40604FB-7BD5-4147-9056-52C1856E1412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10636329" y="4797162"/>
                  <a:ext cx="337320" cy="14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40442313-CC7E-488F-AD0D-E3A9084558FC}"/>
                    </a:ext>
                  </a:extLst>
                </p14:cNvPr>
                <p14:cNvContentPartPr/>
                <p14:nvPr/>
              </p14:nvContentPartPr>
              <p14:xfrm>
                <a:off x="11010729" y="4733802"/>
                <a:ext cx="144000" cy="23040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40442313-CC7E-488F-AD0D-E3A9084558FC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0992729" y="4716162"/>
                  <a:ext cx="179640" cy="26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579A6907-A81D-4B31-B371-17065F9182DE}"/>
                    </a:ext>
                  </a:extLst>
                </p14:cNvPr>
                <p14:cNvContentPartPr/>
                <p14:nvPr/>
              </p14:nvContentPartPr>
              <p14:xfrm>
                <a:off x="11211609" y="4739202"/>
                <a:ext cx="79560" cy="14292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579A6907-A81D-4B31-B371-17065F9182DE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11193969" y="4721562"/>
                  <a:ext cx="115200" cy="178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6EA7F54E-1E99-49EC-922A-911FF797E86D}"/>
                    </a:ext>
                  </a:extLst>
                </p14:cNvPr>
                <p14:cNvContentPartPr/>
                <p14:nvPr/>
              </p14:nvContentPartPr>
              <p14:xfrm>
                <a:off x="11322129" y="4757562"/>
                <a:ext cx="201600" cy="14616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6EA7F54E-1E99-49EC-922A-911FF797E86D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11304129" y="4739922"/>
                  <a:ext cx="237240" cy="1818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83">
            <p14:nvContentPartPr>
              <p14:cNvPr id="46" name="Ink 45">
                <a:extLst>
                  <a:ext uri="{FF2B5EF4-FFF2-40B4-BE49-F238E27FC236}">
                    <a16:creationId xmlns:a16="http://schemas.microsoft.com/office/drawing/2014/main" id="{03BE6C46-F4F6-4960-98E3-66DD0BC86E02}"/>
                  </a:ext>
                </a:extLst>
              </p14:cNvPr>
              <p14:cNvContentPartPr/>
              <p14:nvPr/>
            </p14:nvContentPartPr>
            <p14:xfrm>
              <a:off x="11015409" y="5078322"/>
              <a:ext cx="350280" cy="124560"/>
            </p14:xfrm>
          </p:contentPart>
        </mc:Choice>
        <mc:Fallback xmlns="">
          <p:pic>
            <p:nvPicPr>
              <p:cNvPr id="46" name="Ink 45">
                <a:extLst>
                  <a:ext uri="{FF2B5EF4-FFF2-40B4-BE49-F238E27FC236}">
                    <a16:creationId xmlns:a16="http://schemas.microsoft.com/office/drawing/2014/main" id="{03BE6C46-F4F6-4960-98E3-66DD0BC86E02}"/>
                  </a:ext>
                </a:extLst>
              </p:cNvPr>
              <p:cNvPicPr/>
              <p:nvPr/>
            </p:nvPicPr>
            <p:blipFill>
              <a:blip r:embed="rId84"/>
              <a:stretch>
                <a:fillRect/>
              </a:stretch>
            </p:blipFill>
            <p:spPr>
              <a:xfrm>
                <a:off x="10997769" y="5060682"/>
                <a:ext cx="385920" cy="1602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01262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52FDCF3-D256-4D6B-AA64-CDAF1CB659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AF16BB81-1B49-4AF9-965F-81D8002E3547}"/>
              </a:ext>
            </a:extLst>
          </p:cNvPr>
          <p:cNvGrpSpPr/>
          <p:nvPr/>
        </p:nvGrpSpPr>
        <p:grpSpPr>
          <a:xfrm>
            <a:off x="8138235" y="1430265"/>
            <a:ext cx="3415680" cy="843480"/>
            <a:chOff x="8138235" y="1430265"/>
            <a:chExt cx="3415680" cy="8434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5F6575F0-AC76-401C-854C-2AC170404B34}"/>
                    </a:ext>
                  </a:extLst>
                </p14:cNvPr>
                <p14:cNvContentPartPr/>
                <p14:nvPr/>
              </p14:nvContentPartPr>
              <p14:xfrm>
                <a:off x="8138235" y="2104905"/>
                <a:ext cx="429480" cy="16596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5F6575F0-AC76-401C-854C-2AC170404B34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120235" y="2087265"/>
                  <a:ext cx="465120" cy="201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5C080EF9-F8E4-4FC3-B1AB-6A2030F32F3C}"/>
                    </a:ext>
                  </a:extLst>
                </p14:cNvPr>
                <p14:cNvContentPartPr/>
                <p14:nvPr/>
              </p14:nvContentPartPr>
              <p14:xfrm>
                <a:off x="8568795" y="1996545"/>
                <a:ext cx="173160" cy="19980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5C080EF9-F8E4-4FC3-B1AB-6A2030F32F3C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550795" y="1978545"/>
                  <a:ext cx="208800" cy="23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776992A8-76BC-43E0-9DDF-01A6918BEE67}"/>
                    </a:ext>
                  </a:extLst>
                </p14:cNvPr>
                <p14:cNvContentPartPr/>
                <p14:nvPr/>
              </p14:nvContentPartPr>
              <p14:xfrm>
                <a:off x="8631075" y="2052345"/>
                <a:ext cx="112680" cy="3456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776992A8-76BC-43E0-9DDF-01A6918BEE67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8613435" y="2034345"/>
                  <a:ext cx="148320" cy="7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FFFED93D-DF2D-4A15-AE6A-B2A134969731}"/>
                    </a:ext>
                  </a:extLst>
                </p14:cNvPr>
                <p14:cNvContentPartPr/>
                <p14:nvPr/>
              </p14:nvContentPartPr>
              <p14:xfrm>
                <a:off x="8867955" y="1851825"/>
                <a:ext cx="94320" cy="40428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FFFED93D-DF2D-4A15-AE6A-B2A134969731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849955" y="1833825"/>
                  <a:ext cx="129960" cy="43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B938388C-9914-4111-BF54-D68D90D8CEF2}"/>
                    </a:ext>
                  </a:extLst>
                </p14:cNvPr>
                <p14:cNvContentPartPr/>
                <p14:nvPr/>
              </p14:nvContentPartPr>
              <p14:xfrm>
                <a:off x="8906475" y="1769025"/>
                <a:ext cx="790920" cy="37512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B938388C-9914-4111-BF54-D68D90D8CEF2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888475" y="1751025"/>
                  <a:ext cx="826560" cy="41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831D7CAB-EC2F-4A8D-8648-72B5D5A07AAB}"/>
                    </a:ext>
                  </a:extLst>
                </p14:cNvPr>
                <p14:cNvContentPartPr/>
                <p14:nvPr/>
              </p14:nvContentPartPr>
              <p14:xfrm>
                <a:off x="9667515" y="1851105"/>
                <a:ext cx="96480" cy="3924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831D7CAB-EC2F-4A8D-8648-72B5D5A07AAB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9649875" y="1833465"/>
                  <a:ext cx="13212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870A28DB-91EB-46B6-B2E7-DE7B3420A502}"/>
                    </a:ext>
                  </a:extLst>
                </p14:cNvPr>
                <p14:cNvContentPartPr/>
                <p14:nvPr/>
              </p14:nvContentPartPr>
              <p14:xfrm>
                <a:off x="9824475" y="1709985"/>
                <a:ext cx="108360" cy="21024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870A28DB-91EB-46B6-B2E7-DE7B3420A502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9806475" y="1691985"/>
                  <a:ext cx="144000" cy="24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67369981-E02C-4097-ACF4-064629CBDC41}"/>
                    </a:ext>
                  </a:extLst>
                </p14:cNvPr>
                <p14:cNvContentPartPr/>
                <p14:nvPr/>
              </p14:nvContentPartPr>
              <p14:xfrm>
                <a:off x="9940395" y="1743105"/>
                <a:ext cx="194400" cy="12204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67369981-E02C-4097-ACF4-064629CBDC41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922395" y="1725105"/>
                  <a:ext cx="230040" cy="15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86DBE3BF-8C97-423B-A2CA-2E37BC7A5526}"/>
                    </a:ext>
                  </a:extLst>
                </p14:cNvPr>
                <p14:cNvContentPartPr/>
                <p14:nvPr/>
              </p14:nvContentPartPr>
              <p14:xfrm>
                <a:off x="10329195" y="1624305"/>
                <a:ext cx="78120" cy="19476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86DBE3BF-8C97-423B-A2CA-2E37BC7A5526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0311195" y="1606305"/>
                  <a:ext cx="113760" cy="23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8DF9AEBE-3840-4CF4-84D4-B7D9F4A1DF4B}"/>
                    </a:ext>
                  </a:extLst>
                </p14:cNvPr>
                <p14:cNvContentPartPr/>
                <p14:nvPr/>
              </p14:nvContentPartPr>
              <p14:xfrm>
                <a:off x="10268355" y="1637625"/>
                <a:ext cx="535680" cy="18504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8DF9AEBE-3840-4CF4-84D4-B7D9F4A1DF4B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0250355" y="1619625"/>
                  <a:ext cx="571320" cy="220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DFE22422-132D-44B9-A8B6-887DBCB8FB21}"/>
                    </a:ext>
                  </a:extLst>
                </p14:cNvPr>
                <p14:cNvContentPartPr/>
                <p14:nvPr/>
              </p14:nvContentPartPr>
              <p14:xfrm>
                <a:off x="10718715" y="1549785"/>
                <a:ext cx="327240" cy="14112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DFE22422-132D-44B9-A8B6-887DBCB8FB21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701075" y="1531785"/>
                  <a:ext cx="362880" cy="176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2F171E35-B407-4B05-A678-7B376519819A}"/>
                    </a:ext>
                  </a:extLst>
                </p14:cNvPr>
                <p14:cNvContentPartPr/>
                <p14:nvPr/>
              </p14:nvContentPartPr>
              <p14:xfrm>
                <a:off x="10968555" y="1430265"/>
                <a:ext cx="529200" cy="46260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2F171E35-B407-4B05-A678-7B376519819A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0950555" y="1412625"/>
                  <a:ext cx="564840" cy="49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9B587C06-5C03-4C1F-96BB-19E5FFEDAB3A}"/>
                    </a:ext>
                  </a:extLst>
                </p14:cNvPr>
                <p14:cNvContentPartPr/>
                <p14:nvPr/>
              </p14:nvContentPartPr>
              <p14:xfrm>
                <a:off x="11036595" y="1926345"/>
                <a:ext cx="389160" cy="34740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9B587C06-5C03-4C1F-96BB-19E5FFEDAB3A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1018955" y="1908705"/>
                  <a:ext cx="424800" cy="38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690DF692-7D03-48E3-B0CB-9E777FE7D51B}"/>
                    </a:ext>
                  </a:extLst>
                </p14:cNvPr>
                <p14:cNvContentPartPr/>
                <p14:nvPr/>
              </p14:nvContentPartPr>
              <p14:xfrm>
                <a:off x="11398755" y="2087625"/>
                <a:ext cx="155160" cy="6444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690DF692-7D03-48E3-B0CB-9E777FE7D51B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1381115" y="2069985"/>
                  <a:ext cx="190800" cy="1000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7430770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EE72A7E-0379-4585-BBA4-B510DDCD9E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428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72678DC-7C1B-419E-9FF0-DFE1D0FAE3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7293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3E7A520-B653-42AF-99EA-C24CA68719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4121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2BA972FB-8A08-4F5F-8C49-08ECB427A4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9525"/>
            <a:ext cx="12192000" cy="6858000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1EF1E49B-BF10-4032-A003-062ED566736C}"/>
              </a:ext>
            </a:extLst>
          </p:cNvPr>
          <p:cNvGrpSpPr/>
          <p:nvPr/>
        </p:nvGrpSpPr>
        <p:grpSpPr>
          <a:xfrm>
            <a:off x="202035" y="419385"/>
            <a:ext cx="1214640" cy="448560"/>
            <a:chOff x="202035" y="419385"/>
            <a:chExt cx="1214640" cy="4485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FF3F3061-0DD3-4A6F-A508-429BDD609BD4}"/>
                    </a:ext>
                  </a:extLst>
                </p14:cNvPr>
                <p14:cNvContentPartPr/>
                <p14:nvPr/>
              </p14:nvContentPartPr>
              <p14:xfrm>
                <a:off x="202035" y="644745"/>
                <a:ext cx="198360" cy="22320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FF3F3061-0DD3-4A6F-A508-429BDD609BD4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84035" y="626745"/>
                  <a:ext cx="234000" cy="25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6F3F8235-504A-4EAA-ADF4-2B3772261DC6}"/>
                    </a:ext>
                  </a:extLst>
                </p14:cNvPr>
                <p14:cNvContentPartPr/>
                <p14:nvPr/>
              </p14:nvContentPartPr>
              <p14:xfrm>
                <a:off x="239115" y="717465"/>
                <a:ext cx="119880" cy="10404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6F3F8235-504A-4EAA-ADF4-2B3772261DC6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21475" y="699465"/>
                  <a:ext cx="155520" cy="13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A10CF7C2-D371-458E-A067-BF924AE57EDA}"/>
                    </a:ext>
                  </a:extLst>
                </p14:cNvPr>
                <p14:cNvContentPartPr/>
                <p14:nvPr/>
              </p14:nvContentPartPr>
              <p14:xfrm>
                <a:off x="434595" y="610905"/>
                <a:ext cx="95040" cy="14328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A10CF7C2-D371-458E-A067-BF924AE57EDA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416955" y="593265"/>
                  <a:ext cx="130680" cy="17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4CDDEC26-02E3-4244-B4DE-AB05AE2355D7}"/>
                    </a:ext>
                  </a:extLst>
                </p14:cNvPr>
                <p14:cNvContentPartPr/>
                <p14:nvPr/>
              </p14:nvContentPartPr>
              <p14:xfrm>
                <a:off x="576795" y="605505"/>
                <a:ext cx="306000" cy="13464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4CDDEC26-02E3-4244-B4DE-AB05AE2355D7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59155" y="587505"/>
                  <a:ext cx="341640" cy="17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A60C696C-AF87-4D6C-BEFC-91B58C480B31}"/>
                    </a:ext>
                  </a:extLst>
                </p14:cNvPr>
                <p14:cNvContentPartPr/>
                <p14:nvPr/>
              </p14:nvContentPartPr>
              <p14:xfrm>
                <a:off x="913395" y="446385"/>
                <a:ext cx="327960" cy="19296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A60C696C-AF87-4D6C-BEFC-91B58C480B31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95395" y="428745"/>
                  <a:ext cx="363600" cy="22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4B41BA01-3C93-4553-914A-3228CAA32F80}"/>
                    </a:ext>
                  </a:extLst>
                </p14:cNvPr>
                <p14:cNvContentPartPr/>
                <p14:nvPr/>
              </p14:nvContentPartPr>
              <p14:xfrm>
                <a:off x="1293915" y="419385"/>
                <a:ext cx="122760" cy="21924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4B41BA01-3C93-4553-914A-3228CAA32F80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275915" y="401385"/>
                  <a:ext cx="158400" cy="254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3EE9FF1-C47C-479D-BF17-B5C027FBB4BD}"/>
              </a:ext>
            </a:extLst>
          </p:cNvPr>
          <p:cNvGrpSpPr/>
          <p:nvPr/>
        </p:nvGrpSpPr>
        <p:grpSpPr>
          <a:xfrm>
            <a:off x="453675" y="998985"/>
            <a:ext cx="3123720" cy="1770120"/>
            <a:chOff x="453675" y="998985"/>
            <a:chExt cx="3123720" cy="17701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FF0BBAAB-4A75-465E-ADF4-3E4C7BCCE273}"/>
                    </a:ext>
                  </a:extLst>
                </p14:cNvPr>
                <p14:cNvContentPartPr/>
                <p14:nvPr/>
              </p14:nvContentPartPr>
              <p14:xfrm>
                <a:off x="453675" y="998985"/>
                <a:ext cx="2044440" cy="170532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FF0BBAAB-4A75-465E-ADF4-3E4C7BCCE273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435675" y="980985"/>
                  <a:ext cx="2080080" cy="174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EE24DEAE-2B89-43FD-AAD7-AB0F906F4CAC}"/>
                    </a:ext>
                  </a:extLst>
                </p14:cNvPr>
                <p14:cNvContentPartPr/>
                <p14:nvPr/>
              </p14:nvContentPartPr>
              <p14:xfrm>
                <a:off x="2173755" y="2567865"/>
                <a:ext cx="249480" cy="8640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EE24DEAE-2B89-43FD-AAD7-AB0F906F4CAC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2156115" y="2550225"/>
                  <a:ext cx="285120" cy="12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22BAF12A-75A8-4002-97EC-971C2D9051BA}"/>
                    </a:ext>
                  </a:extLst>
                </p14:cNvPr>
                <p14:cNvContentPartPr/>
                <p14:nvPr/>
              </p14:nvContentPartPr>
              <p14:xfrm>
                <a:off x="2226675" y="2663625"/>
                <a:ext cx="147600" cy="6552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22BAF12A-75A8-4002-97EC-971C2D9051BA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2209035" y="2645985"/>
                  <a:ext cx="183240" cy="10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0BACCAA1-5493-45A2-A27D-242E770EB608}"/>
                    </a:ext>
                  </a:extLst>
                </p14:cNvPr>
                <p14:cNvContentPartPr/>
                <p14:nvPr/>
              </p14:nvContentPartPr>
              <p14:xfrm>
                <a:off x="2221635" y="2543025"/>
                <a:ext cx="145800" cy="22608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0BACCAA1-5493-45A2-A27D-242E770EB608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2203635" y="2525385"/>
                  <a:ext cx="181440" cy="26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90357CAC-F627-4426-8698-F2528C9C8855}"/>
                    </a:ext>
                  </a:extLst>
                </p14:cNvPr>
                <p14:cNvContentPartPr/>
                <p14:nvPr/>
              </p14:nvContentPartPr>
              <p14:xfrm>
                <a:off x="2476155" y="2543385"/>
                <a:ext cx="162360" cy="13716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90357CAC-F627-4426-8698-F2528C9C8855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2458515" y="2525745"/>
                  <a:ext cx="198000" cy="17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C5335B79-7D41-4794-AEB5-AF125399044D}"/>
                    </a:ext>
                  </a:extLst>
                </p14:cNvPr>
                <p14:cNvContentPartPr/>
                <p14:nvPr/>
              </p14:nvContentPartPr>
              <p14:xfrm>
                <a:off x="2716995" y="2477505"/>
                <a:ext cx="298800" cy="24372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C5335B79-7D41-4794-AEB5-AF125399044D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2699355" y="2459865"/>
                  <a:ext cx="334440" cy="27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55BCAEF1-F3EC-4D9E-97F3-AB1AE8EC4713}"/>
                    </a:ext>
                  </a:extLst>
                </p14:cNvPr>
                <p14:cNvContentPartPr/>
                <p14:nvPr/>
              </p14:nvContentPartPr>
              <p14:xfrm>
                <a:off x="2841555" y="2401905"/>
                <a:ext cx="128880" cy="14436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55BCAEF1-F3EC-4D9E-97F3-AB1AE8EC4713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2823915" y="2384265"/>
                  <a:ext cx="164520" cy="18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2AE187B1-A12E-4888-AEE9-BE270D7644AD}"/>
                    </a:ext>
                  </a:extLst>
                </p14:cNvPr>
                <p14:cNvContentPartPr/>
                <p14:nvPr/>
              </p14:nvContentPartPr>
              <p14:xfrm>
                <a:off x="721875" y="1141185"/>
                <a:ext cx="2025000" cy="69264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2AE187B1-A12E-4888-AEE9-BE270D7644AD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703875" y="1123185"/>
                  <a:ext cx="2060640" cy="72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7AB7F377-ED24-4786-8A43-55666FCE690B}"/>
                    </a:ext>
                  </a:extLst>
                </p14:cNvPr>
                <p14:cNvContentPartPr/>
                <p14:nvPr/>
              </p14:nvContentPartPr>
              <p14:xfrm>
                <a:off x="3285435" y="2643105"/>
                <a:ext cx="276840" cy="2700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7AB7F377-ED24-4786-8A43-55666FCE690B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3267795" y="2625465"/>
                  <a:ext cx="312480" cy="6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8545BF2E-274A-4084-BF35-50B0E5F270F6}"/>
                    </a:ext>
                  </a:extLst>
                </p14:cNvPr>
                <p14:cNvContentPartPr/>
                <p14:nvPr/>
              </p14:nvContentPartPr>
              <p14:xfrm>
                <a:off x="3381195" y="2604945"/>
                <a:ext cx="196200" cy="15336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8545BF2E-274A-4084-BF35-50B0E5F270F6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3363555" y="2587305"/>
                  <a:ext cx="231840" cy="189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5FFE0E7-F364-4DD0-A1C0-BF04536379CB}"/>
              </a:ext>
            </a:extLst>
          </p:cNvPr>
          <p:cNvGrpSpPr/>
          <p:nvPr/>
        </p:nvGrpSpPr>
        <p:grpSpPr>
          <a:xfrm>
            <a:off x="3880155" y="2551305"/>
            <a:ext cx="885960" cy="274320"/>
            <a:chOff x="3880155" y="2551305"/>
            <a:chExt cx="885960" cy="274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9E64A1EB-9543-4516-A5EF-C0664FB4A74B}"/>
                    </a:ext>
                  </a:extLst>
                </p14:cNvPr>
                <p14:cNvContentPartPr/>
                <p14:nvPr/>
              </p14:nvContentPartPr>
              <p14:xfrm>
                <a:off x="3880155" y="2608545"/>
                <a:ext cx="204120" cy="1656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9E64A1EB-9543-4516-A5EF-C0664FB4A74B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3862515" y="2590905"/>
                  <a:ext cx="239760" cy="52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02A237F9-A7FA-4D5D-B00B-D35CD6C78B8A}"/>
                    </a:ext>
                  </a:extLst>
                </p14:cNvPr>
                <p14:cNvContentPartPr/>
                <p14:nvPr/>
              </p14:nvContentPartPr>
              <p14:xfrm>
                <a:off x="3946755" y="2554185"/>
                <a:ext cx="28080" cy="23544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02A237F9-A7FA-4D5D-B00B-D35CD6C78B8A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3928755" y="2536545"/>
                  <a:ext cx="63720" cy="271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9F74B5E3-4345-4342-B24B-8C292EE5616C}"/>
                    </a:ext>
                  </a:extLst>
                </p14:cNvPr>
                <p14:cNvContentPartPr/>
                <p14:nvPr/>
              </p14:nvContentPartPr>
              <p14:xfrm>
                <a:off x="3996795" y="2558865"/>
                <a:ext cx="60840" cy="18900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9F74B5E3-4345-4342-B24B-8C292EE5616C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3979155" y="2540865"/>
                  <a:ext cx="96480" cy="22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CA061DB7-4915-44ED-B363-ED47524CA5CC}"/>
                    </a:ext>
                  </a:extLst>
                </p14:cNvPr>
                <p14:cNvContentPartPr/>
                <p14:nvPr/>
              </p14:nvContentPartPr>
              <p14:xfrm>
                <a:off x="3920835" y="2704665"/>
                <a:ext cx="126720" cy="4896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CA061DB7-4915-44ED-B363-ED47524CA5CC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3902835" y="2686665"/>
                  <a:ext cx="162360" cy="8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3738B281-285E-491F-A843-E6CB6E4D4841}"/>
                    </a:ext>
                  </a:extLst>
                </p14:cNvPr>
                <p14:cNvContentPartPr/>
                <p14:nvPr/>
              </p14:nvContentPartPr>
              <p14:xfrm>
                <a:off x="4197675" y="2586585"/>
                <a:ext cx="145080" cy="13500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3738B281-285E-491F-A843-E6CB6E4D4841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4180035" y="2568945"/>
                  <a:ext cx="180720" cy="17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76FB0298-AB52-4FE0-891F-EFA7A54170C2}"/>
                    </a:ext>
                  </a:extLst>
                </p14:cNvPr>
                <p14:cNvContentPartPr/>
                <p14:nvPr/>
              </p14:nvContentPartPr>
              <p14:xfrm>
                <a:off x="4449675" y="2551305"/>
                <a:ext cx="316440" cy="27432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76FB0298-AB52-4FE0-891F-EFA7A54170C2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4431675" y="2533305"/>
                  <a:ext cx="352080" cy="309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FD93C43-D34E-4D23-98E6-9CBCB9DED104}"/>
              </a:ext>
            </a:extLst>
          </p:cNvPr>
          <p:cNvGrpSpPr/>
          <p:nvPr/>
        </p:nvGrpSpPr>
        <p:grpSpPr>
          <a:xfrm>
            <a:off x="4996875" y="2436465"/>
            <a:ext cx="2049480" cy="243360"/>
            <a:chOff x="4996875" y="2436465"/>
            <a:chExt cx="2049480" cy="243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909AE07B-076C-484D-9D19-FCBDEF1E698B}"/>
                    </a:ext>
                  </a:extLst>
                </p14:cNvPr>
                <p14:cNvContentPartPr/>
                <p14:nvPr/>
              </p14:nvContentPartPr>
              <p14:xfrm>
                <a:off x="5050155" y="2539785"/>
                <a:ext cx="13320" cy="14004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909AE07B-076C-484D-9D19-FCBDEF1E698B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5032515" y="2521785"/>
                  <a:ext cx="48960" cy="17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909FF43D-6489-42D4-9A9A-CCE355373755}"/>
                    </a:ext>
                  </a:extLst>
                </p14:cNvPr>
                <p14:cNvContentPartPr/>
                <p14:nvPr/>
              </p14:nvContentPartPr>
              <p14:xfrm>
                <a:off x="4996875" y="2482905"/>
                <a:ext cx="19080" cy="3456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909FF43D-6489-42D4-9A9A-CCE355373755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4979235" y="2465265"/>
                  <a:ext cx="54720" cy="7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6D392186-D38D-40A3-A961-618A6B511771}"/>
                    </a:ext>
                  </a:extLst>
                </p14:cNvPr>
                <p14:cNvContentPartPr/>
                <p14:nvPr/>
              </p14:nvContentPartPr>
              <p14:xfrm>
                <a:off x="5087595" y="2517465"/>
                <a:ext cx="189000" cy="15768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6D392186-D38D-40A3-A961-618A6B511771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5069955" y="2499465"/>
                  <a:ext cx="224640" cy="19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E84D64F3-195F-4845-A631-E114BDA4C186}"/>
                    </a:ext>
                  </a:extLst>
                </p14:cNvPr>
                <p14:cNvContentPartPr/>
                <p14:nvPr/>
              </p14:nvContentPartPr>
              <p14:xfrm>
                <a:off x="5334915" y="2536545"/>
                <a:ext cx="68400" cy="12240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E84D64F3-195F-4845-A631-E114BDA4C186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5316915" y="2518545"/>
                  <a:ext cx="104040" cy="15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FDB18038-1F6B-4B70-80D6-99E652EEA30F}"/>
                    </a:ext>
                  </a:extLst>
                </p14:cNvPr>
                <p14:cNvContentPartPr/>
                <p14:nvPr/>
              </p14:nvContentPartPr>
              <p14:xfrm>
                <a:off x="5487195" y="2462745"/>
                <a:ext cx="710280" cy="18360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FDB18038-1F6B-4B70-80D6-99E652EEA30F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5469555" y="2445105"/>
                  <a:ext cx="745920" cy="21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45E28B4F-9710-415C-82A3-F7636A14282E}"/>
                    </a:ext>
                  </a:extLst>
                </p14:cNvPr>
                <p14:cNvContentPartPr/>
                <p14:nvPr/>
              </p14:nvContentPartPr>
              <p14:xfrm>
                <a:off x="6505275" y="2436465"/>
                <a:ext cx="34920" cy="23112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45E28B4F-9710-415C-82A3-F7636A14282E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6487635" y="2418465"/>
                  <a:ext cx="70560" cy="266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B344087E-53E6-4EF7-A79F-41E283C0A896}"/>
                    </a:ext>
                  </a:extLst>
                </p14:cNvPr>
                <p14:cNvContentPartPr/>
                <p14:nvPr/>
              </p14:nvContentPartPr>
              <p14:xfrm>
                <a:off x="6402675" y="2508825"/>
                <a:ext cx="450720" cy="12636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B344087E-53E6-4EF7-A79F-41E283C0A896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6385035" y="2491185"/>
                  <a:ext cx="486360" cy="16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9CD7798C-9971-46BD-BD1A-E0EDEA190649}"/>
                    </a:ext>
                  </a:extLst>
                </p14:cNvPr>
                <p14:cNvContentPartPr/>
                <p14:nvPr/>
              </p14:nvContentPartPr>
              <p14:xfrm>
                <a:off x="6931875" y="2526465"/>
                <a:ext cx="114480" cy="13644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9CD7798C-9971-46BD-BD1A-E0EDEA190649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6913875" y="2508465"/>
                  <a:ext cx="150120" cy="172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86325CF-0BFE-4188-869E-6BCB2FC602E4}"/>
              </a:ext>
            </a:extLst>
          </p:cNvPr>
          <p:cNvGrpSpPr/>
          <p:nvPr/>
        </p:nvGrpSpPr>
        <p:grpSpPr>
          <a:xfrm>
            <a:off x="7288995" y="2494425"/>
            <a:ext cx="1230120" cy="254880"/>
            <a:chOff x="7288995" y="2494425"/>
            <a:chExt cx="1230120" cy="2548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8EA592B8-0F60-4FB8-96B4-4540A3A186D9}"/>
                    </a:ext>
                  </a:extLst>
                </p14:cNvPr>
                <p14:cNvContentPartPr/>
                <p14:nvPr/>
              </p14:nvContentPartPr>
              <p14:xfrm>
                <a:off x="7288995" y="2514225"/>
                <a:ext cx="116640" cy="12132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8EA592B8-0F60-4FB8-96B4-4540A3A186D9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7271355" y="2496585"/>
                  <a:ext cx="152280" cy="156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64D84F02-BB5D-4D7B-B76D-FAA01AB8E200}"/>
                    </a:ext>
                  </a:extLst>
                </p14:cNvPr>
                <p14:cNvContentPartPr/>
                <p14:nvPr/>
              </p14:nvContentPartPr>
              <p14:xfrm>
                <a:off x="7433715" y="2513145"/>
                <a:ext cx="100800" cy="13680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64D84F02-BB5D-4D7B-B76D-FAA01AB8E200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7416075" y="2495505"/>
                  <a:ext cx="136440" cy="17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25519C52-8780-48B2-9C99-0A412D1110C1}"/>
                    </a:ext>
                  </a:extLst>
                </p14:cNvPr>
                <p14:cNvContentPartPr/>
                <p14:nvPr/>
              </p14:nvContentPartPr>
              <p14:xfrm>
                <a:off x="7584555" y="2527545"/>
                <a:ext cx="278640" cy="11232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25519C52-8780-48B2-9C99-0A412D1110C1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7566555" y="2509905"/>
                  <a:ext cx="314280" cy="14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7FA669E7-348E-4977-B0A7-E043608D4E16}"/>
                    </a:ext>
                  </a:extLst>
                </p14:cNvPr>
                <p14:cNvContentPartPr/>
                <p14:nvPr/>
              </p14:nvContentPartPr>
              <p14:xfrm>
                <a:off x="7917915" y="2522145"/>
                <a:ext cx="235800" cy="11700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7FA669E7-348E-4977-B0A7-E043608D4E16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7899915" y="2504505"/>
                  <a:ext cx="271440" cy="15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3645CE6E-7198-41C6-8766-516B53B28C25}"/>
                    </a:ext>
                  </a:extLst>
                </p14:cNvPr>
                <p14:cNvContentPartPr/>
                <p14:nvPr/>
              </p14:nvContentPartPr>
              <p14:xfrm>
                <a:off x="8226075" y="2528265"/>
                <a:ext cx="84600" cy="7308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3645CE6E-7198-41C6-8766-516B53B28C25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8208435" y="2510265"/>
                  <a:ext cx="120240" cy="108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E8908A4C-8095-4B87-8527-B70E50F872DA}"/>
                    </a:ext>
                  </a:extLst>
                </p14:cNvPr>
                <p14:cNvContentPartPr/>
                <p14:nvPr/>
              </p14:nvContentPartPr>
              <p14:xfrm>
                <a:off x="8333355" y="2494425"/>
                <a:ext cx="185760" cy="25488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E8908A4C-8095-4B87-8527-B70E50F872DA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8315355" y="2476425"/>
                  <a:ext cx="221400" cy="290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051B49B-C1AA-4F00-8253-A7EFCE3F10A0}"/>
              </a:ext>
            </a:extLst>
          </p:cNvPr>
          <p:cNvGrpSpPr/>
          <p:nvPr/>
        </p:nvGrpSpPr>
        <p:grpSpPr>
          <a:xfrm>
            <a:off x="8744475" y="2416305"/>
            <a:ext cx="1043640" cy="266400"/>
            <a:chOff x="8744475" y="2416305"/>
            <a:chExt cx="1043640" cy="266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5DBB2158-2AE3-4F70-80B5-A16468CD89DC}"/>
                    </a:ext>
                  </a:extLst>
                </p14:cNvPr>
                <p14:cNvContentPartPr/>
                <p14:nvPr/>
              </p14:nvContentPartPr>
              <p14:xfrm>
                <a:off x="8773995" y="2550225"/>
                <a:ext cx="51480" cy="13248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5DBB2158-2AE3-4F70-80B5-A16468CD89DC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8755995" y="2532585"/>
                  <a:ext cx="87120" cy="16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1D4E3AFA-3452-4C05-A702-3E325AC9ED81}"/>
                    </a:ext>
                  </a:extLst>
                </p14:cNvPr>
                <p14:cNvContentPartPr/>
                <p14:nvPr/>
              </p14:nvContentPartPr>
              <p14:xfrm>
                <a:off x="8744475" y="2459505"/>
                <a:ext cx="39960" cy="2952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1D4E3AFA-3452-4C05-A702-3E325AC9ED81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8726475" y="2441865"/>
                  <a:ext cx="75600" cy="65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A8DC335D-65AA-4DBC-9221-06DCEA1815E3}"/>
                    </a:ext>
                  </a:extLst>
                </p14:cNvPr>
                <p14:cNvContentPartPr/>
                <p14:nvPr/>
              </p14:nvContentPartPr>
              <p14:xfrm>
                <a:off x="8869395" y="2489025"/>
                <a:ext cx="61200" cy="14832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A8DC335D-65AA-4DBC-9221-06DCEA1815E3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8851755" y="2471025"/>
                  <a:ext cx="96840" cy="183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5411BCC4-EBA8-46B5-B158-E3A582034317}"/>
                    </a:ext>
                  </a:extLst>
                </p14:cNvPr>
                <p14:cNvContentPartPr/>
                <p14:nvPr/>
              </p14:nvContentPartPr>
              <p14:xfrm>
                <a:off x="9092955" y="2416305"/>
                <a:ext cx="324360" cy="24840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5411BCC4-EBA8-46B5-B158-E3A582034317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9074955" y="2398305"/>
                  <a:ext cx="360000" cy="284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77683075-97EE-4A54-A8A1-54A4062BF23F}"/>
                    </a:ext>
                  </a:extLst>
                </p14:cNvPr>
                <p14:cNvContentPartPr/>
                <p14:nvPr/>
              </p14:nvContentPartPr>
              <p14:xfrm>
                <a:off x="9371235" y="2468865"/>
                <a:ext cx="147600" cy="15012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77683075-97EE-4A54-A8A1-54A4062BF23F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9353595" y="2450865"/>
                  <a:ext cx="183240" cy="18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06CB66EA-6E32-4A71-ADAC-31DCB71351F6}"/>
                    </a:ext>
                  </a:extLst>
                </p14:cNvPr>
                <p14:cNvContentPartPr/>
                <p14:nvPr/>
              </p14:nvContentPartPr>
              <p14:xfrm>
                <a:off x="9416955" y="2489025"/>
                <a:ext cx="231480" cy="10944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06CB66EA-6E32-4A71-ADAC-31DCB71351F6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9398955" y="2471385"/>
                  <a:ext cx="267120" cy="14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2D41B51F-0471-474F-A76A-51A48A8D38C4}"/>
                    </a:ext>
                  </a:extLst>
                </p14:cNvPr>
                <p14:cNvContentPartPr/>
                <p14:nvPr/>
              </p14:nvContentPartPr>
              <p14:xfrm>
                <a:off x="9704955" y="2529705"/>
                <a:ext cx="83160" cy="7308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2D41B51F-0471-474F-A76A-51A48A8D38C4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9686955" y="2511705"/>
                  <a:ext cx="118800" cy="1087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09497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642EDE8-3BFF-427E-8CF7-E0A9AFB008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5B7D8E7-FF62-4120-B982-40875586CE5D}"/>
              </a:ext>
            </a:extLst>
          </p:cNvPr>
          <p:cNvGrpSpPr/>
          <p:nvPr/>
        </p:nvGrpSpPr>
        <p:grpSpPr>
          <a:xfrm>
            <a:off x="312195" y="1458705"/>
            <a:ext cx="1648800" cy="1591920"/>
            <a:chOff x="312195" y="1458705"/>
            <a:chExt cx="1648800" cy="1591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6F3DEC08-BF96-4646-8190-7224F6C8DBA9}"/>
                    </a:ext>
                  </a:extLst>
                </p14:cNvPr>
                <p14:cNvContentPartPr/>
                <p14:nvPr/>
              </p14:nvContentPartPr>
              <p14:xfrm>
                <a:off x="312195" y="1458705"/>
                <a:ext cx="1301760" cy="131112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6F3DEC08-BF96-4646-8190-7224F6C8DBA9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294195" y="1440705"/>
                  <a:ext cx="1337400" cy="1346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74FD657B-4880-4C8B-B5DE-259D165D5CFB}"/>
                    </a:ext>
                  </a:extLst>
                </p14:cNvPr>
                <p14:cNvContentPartPr/>
                <p14:nvPr/>
              </p14:nvContentPartPr>
              <p14:xfrm>
                <a:off x="1174755" y="2787105"/>
                <a:ext cx="37800" cy="17244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74FD657B-4880-4C8B-B5DE-259D165D5CFB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156755" y="2769105"/>
                  <a:ext cx="73440" cy="20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0A756796-6CA6-4091-BD64-3C3A725E42BC}"/>
                    </a:ext>
                  </a:extLst>
                </p14:cNvPr>
                <p14:cNvContentPartPr/>
                <p14:nvPr/>
              </p14:nvContentPartPr>
              <p14:xfrm>
                <a:off x="1251075" y="2798265"/>
                <a:ext cx="65160" cy="11772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0A756796-6CA6-4091-BD64-3C3A725E42BC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233075" y="2780625"/>
                  <a:ext cx="100800" cy="15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CA346D74-5C5D-4910-AFDF-84A71062F3FD}"/>
                    </a:ext>
                  </a:extLst>
                </p14:cNvPr>
                <p14:cNvContentPartPr/>
                <p14:nvPr/>
              </p14:nvContentPartPr>
              <p14:xfrm>
                <a:off x="1103115" y="2838225"/>
                <a:ext cx="237960" cy="10584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CA346D74-5C5D-4910-AFDF-84A71062F3FD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085115" y="2820585"/>
                  <a:ext cx="273600" cy="14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93B2CCAB-A305-480D-A167-B5D6486C2826}"/>
                    </a:ext>
                  </a:extLst>
                </p14:cNvPr>
                <p14:cNvContentPartPr/>
                <p14:nvPr/>
              </p14:nvContentPartPr>
              <p14:xfrm>
                <a:off x="1130835" y="2891145"/>
                <a:ext cx="209880" cy="10980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93B2CCAB-A305-480D-A167-B5D6486C2826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112835" y="2873145"/>
                  <a:ext cx="245520" cy="14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01796931-A723-438F-974D-27A3BCBC4DE1}"/>
                    </a:ext>
                  </a:extLst>
                </p14:cNvPr>
                <p14:cNvContentPartPr/>
                <p14:nvPr/>
              </p14:nvContentPartPr>
              <p14:xfrm>
                <a:off x="1253955" y="2822025"/>
                <a:ext cx="112320" cy="22860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01796931-A723-438F-974D-27A3BCBC4DE1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235955" y="2804025"/>
                  <a:ext cx="147960" cy="26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15165030-6745-41FE-AB2D-DF39D0FBAE50}"/>
                    </a:ext>
                  </a:extLst>
                </p14:cNvPr>
                <p14:cNvContentPartPr/>
                <p14:nvPr/>
              </p14:nvContentPartPr>
              <p14:xfrm>
                <a:off x="1456275" y="2777745"/>
                <a:ext cx="77760" cy="15840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15165030-6745-41FE-AB2D-DF39D0FBAE50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438275" y="2760105"/>
                  <a:ext cx="113400" cy="194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10C33D55-7A0E-42E7-85B3-5368687FEAB1}"/>
                    </a:ext>
                  </a:extLst>
                </p14:cNvPr>
                <p14:cNvContentPartPr/>
                <p14:nvPr/>
              </p14:nvContentPartPr>
              <p14:xfrm>
                <a:off x="1556355" y="2763345"/>
                <a:ext cx="293400" cy="10944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10C33D55-7A0E-42E7-85B3-5368687FEAB1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538355" y="2745345"/>
                  <a:ext cx="329040" cy="14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EFF00890-A3EE-4EF6-9A1E-B3A13B7D9E47}"/>
                    </a:ext>
                  </a:extLst>
                </p14:cNvPr>
                <p14:cNvContentPartPr/>
                <p14:nvPr/>
              </p14:nvContentPartPr>
              <p14:xfrm>
                <a:off x="1823475" y="2662185"/>
                <a:ext cx="66600" cy="14328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EFF00890-A3EE-4EF6-9A1E-B3A13B7D9E47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805475" y="2644185"/>
                  <a:ext cx="102240" cy="17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6C8D19EA-EA28-46E5-9981-B2E6BD582A0B}"/>
                    </a:ext>
                  </a:extLst>
                </p14:cNvPr>
                <p14:cNvContentPartPr/>
                <p14:nvPr/>
              </p14:nvContentPartPr>
              <p14:xfrm>
                <a:off x="1853715" y="2669745"/>
                <a:ext cx="107280" cy="11304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6C8D19EA-EA28-46E5-9981-B2E6BD582A0B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835715" y="2651745"/>
                  <a:ext cx="142920" cy="148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A8909DB-642F-4289-9408-5BDAC81B846F}"/>
              </a:ext>
            </a:extLst>
          </p:cNvPr>
          <p:cNvGrpSpPr/>
          <p:nvPr/>
        </p:nvGrpSpPr>
        <p:grpSpPr>
          <a:xfrm>
            <a:off x="82515" y="1199505"/>
            <a:ext cx="548280" cy="313920"/>
            <a:chOff x="82515" y="1199505"/>
            <a:chExt cx="548280" cy="313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586224A4-F0F3-4AE9-BEFA-DFF8321B7BF1}"/>
                    </a:ext>
                  </a:extLst>
                </p14:cNvPr>
                <p14:cNvContentPartPr/>
                <p14:nvPr/>
              </p14:nvContentPartPr>
              <p14:xfrm>
                <a:off x="82515" y="1271865"/>
                <a:ext cx="196560" cy="24156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586224A4-F0F3-4AE9-BEFA-DFF8321B7BF1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64875" y="1254225"/>
                  <a:ext cx="232200" cy="277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7E1457BB-5A33-427A-A14A-90A4305EF05A}"/>
                    </a:ext>
                  </a:extLst>
                </p14:cNvPr>
                <p14:cNvContentPartPr/>
                <p14:nvPr/>
              </p14:nvContentPartPr>
              <p14:xfrm>
                <a:off x="163155" y="1256745"/>
                <a:ext cx="248040" cy="18540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7E1457BB-5A33-427A-A14A-90A4305EF05A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45155" y="1238745"/>
                  <a:ext cx="283680" cy="22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754C8E0D-0663-468B-8165-7E73E88099D6}"/>
                    </a:ext>
                  </a:extLst>
                </p14:cNvPr>
                <p14:cNvContentPartPr/>
                <p14:nvPr/>
              </p14:nvContentPartPr>
              <p14:xfrm>
                <a:off x="409755" y="1246305"/>
                <a:ext cx="124560" cy="7164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754C8E0D-0663-468B-8165-7E73E88099D6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391755" y="1228665"/>
                  <a:ext cx="160200" cy="10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21F43F0B-7F8A-4C35-A841-7F0FE3641FE7}"/>
                    </a:ext>
                  </a:extLst>
                </p14:cNvPr>
                <p14:cNvContentPartPr/>
                <p14:nvPr/>
              </p14:nvContentPartPr>
              <p14:xfrm>
                <a:off x="626115" y="1199505"/>
                <a:ext cx="4680" cy="180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21F43F0B-7F8A-4C35-A841-7F0FE3641FE7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608115" y="1181505"/>
                  <a:ext cx="40320" cy="374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34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14F3567E-7A82-47F7-B708-1D27257F327F}"/>
                  </a:ext>
                </a:extLst>
              </p14:cNvPr>
              <p14:cNvContentPartPr/>
              <p14:nvPr/>
            </p14:nvContentPartPr>
            <p14:xfrm>
              <a:off x="780555" y="1551945"/>
              <a:ext cx="759240" cy="1011960"/>
            </p14:xfrm>
          </p:contentPart>
        </mc:Choice>
        <mc:Fallback xmlns=""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14F3567E-7A82-47F7-B708-1D27257F327F}"/>
                  </a:ext>
                </a:extLst>
              </p:cNvPr>
              <p:cNvPicPr/>
              <p:nvPr/>
            </p:nvPicPr>
            <p:blipFill>
              <a:blip r:embed="rId35"/>
              <a:stretch>
                <a:fillRect/>
              </a:stretch>
            </p:blipFill>
            <p:spPr>
              <a:xfrm>
                <a:off x="762915" y="1533945"/>
                <a:ext cx="794880" cy="1047600"/>
              </a:xfrm>
              <a:prstGeom prst="rect">
                <a:avLst/>
              </a:prstGeom>
            </p:spPr>
          </p:pic>
        </mc:Fallback>
      </mc:AlternateContent>
      <p:grpSp>
        <p:nvGrpSpPr>
          <p:cNvPr id="32" name="Group 31">
            <a:extLst>
              <a:ext uri="{FF2B5EF4-FFF2-40B4-BE49-F238E27FC236}">
                <a16:creationId xmlns:a16="http://schemas.microsoft.com/office/drawing/2014/main" id="{8CCD0EF9-3A80-4226-82DD-68214CF98631}"/>
              </a:ext>
            </a:extLst>
          </p:cNvPr>
          <p:cNvGrpSpPr/>
          <p:nvPr/>
        </p:nvGrpSpPr>
        <p:grpSpPr>
          <a:xfrm>
            <a:off x="205275" y="3518625"/>
            <a:ext cx="2307240" cy="226440"/>
            <a:chOff x="205275" y="3518625"/>
            <a:chExt cx="2307240" cy="226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FA78C9EF-85E1-416B-89BF-D4610174C696}"/>
                    </a:ext>
                  </a:extLst>
                </p14:cNvPr>
                <p14:cNvContentPartPr/>
                <p14:nvPr/>
              </p14:nvContentPartPr>
              <p14:xfrm>
                <a:off x="205275" y="3521145"/>
                <a:ext cx="167760" cy="18504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FA78C9EF-85E1-416B-89BF-D4610174C696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87275" y="3503505"/>
                  <a:ext cx="203400" cy="220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E034AFDD-9CF1-4468-B56C-BB2AC197BBE7}"/>
                    </a:ext>
                  </a:extLst>
                </p14:cNvPr>
                <p14:cNvContentPartPr/>
                <p14:nvPr/>
              </p14:nvContentPartPr>
              <p14:xfrm>
                <a:off x="249555" y="3581985"/>
                <a:ext cx="280800" cy="11052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E034AFDD-9CF1-4468-B56C-BB2AC197BBE7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231915" y="3563985"/>
                  <a:ext cx="316440" cy="14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F56C2544-58FD-4E0F-9812-DE92D20020AD}"/>
                    </a:ext>
                  </a:extLst>
                </p14:cNvPr>
                <p14:cNvContentPartPr/>
                <p14:nvPr/>
              </p14:nvContentPartPr>
              <p14:xfrm>
                <a:off x="596235" y="3584505"/>
                <a:ext cx="227160" cy="9936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F56C2544-58FD-4E0F-9812-DE92D20020AD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578595" y="3566865"/>
                  <a:ext cx="262800" cy="13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C2DD4A49-F018-4EA6-9EE3-886A3817DA17}"/>
                    </a:ext>
                  </a:extLst>
                </p14:cNvPr>
                <p14:cNvContentPartPr/>
                <p14:nvPr/>
              </p14:nvContentPartPr>
              <p14:xfrm>
                <a:off x="859395" y="3557865"/>
                <a:ext cx="516600" cy="18720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C2DD4A49-F018-4EA6-9EE3-886A3817DA17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841395" y="3539865"/>
                  <a:ext cx="552240" cy="22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216E44C5-D3D9-459B-B868-7D503C6E3FDA}"/>
                    </a:ext>
                  </a:extLst>
                </p14:cNvPr>
                <p14:cNvContentPartPr/>
                <p14:nvPr/>
              </p14:nvContentPartPr>
              <p14:xfrm>
                <a:off x="1503075" y="3574065"/>
                <a:ext cx="34920" cy="13968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216E44C5-D3D9-459B-B868-7D503C6E3FDA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485075" y="3556425"/>
                  <a:ext cx="70560" cy="175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4999FB51-D118-482A-B8D0-35CFCE09D2DC}"/>
                    </a:ext>
                  </a:extLst>
                </p14:cNvPr>
                <p14:cNvContentPartPr/>
                <p14:nvPr/>
              </p14:nvContentPartPr>
              <p14:xfrm>
                <a:off x="1468515" y="3518625"/>
                <a:ext cx="277920" cy="17424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4999FB51-D118-482A-B8D0-35CFCE09D2DC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450515" y="3500985"/>
                  <a:ext cx="31356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19DCB8A1-675F-467E-A29E-A0FFFCE878F3}"/>
                    </a:ext>
                  </a:extLst>
                </p14:cNvPr>
                <p14:cNvContentPartPr/>
                <p14:nvPr/>
              </p14:nvContentPartPr>
              <p14:xfrm>
                <a:off x="1801155" y="3597465"/>
                <a:ext cx="29880" cy="5616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19DCB8A1-675F-467E-A29E-A0FFFCE878F3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783155" y="3579825"/>
                  <a:ext cx="65520" cy="9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031203FD-E4A1-4C79-AFB4-3CC3D7C3C8B4}"/>
                    </a:ext>
                  </a:extLst>
                </p14:cNvPr>
                <p14:cNvContentPartPr/>
                <p14:nvPr/>
              </p14:nvContentPartPr>
              <p14:xfrm>
                <a:off x="1793235" y="3579465"/>
                <a:ext cx="74520" cy="15120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031203FD-E4A1-4C79-AFB4-3CC3D7C3C8B4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775235" y="3561825"/>
                  <a:ext cx="110160" cy="18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2B0D4330-1F77-483B-BC8A-DB38BA51A34A}"/>
                    </a:ext>
                  </a:extLst>
                </p14:cNvPr>
                <p14:cNvContentPartPr/>
                <p14:nvPr/>
              </p14:nvContentPartPr>
              <p14:xfrm>
                <a:off x="1892595" y="3578385"/>
                <a:ext cx="619920" cy="12996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2B0D4330-1F77-483B-BC8A-DB38BA51A34A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1874595" y="3560745"/>
                  <a:ext cx="655560" cy="165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5C5DF04-E3A4-441B-BB3C-CE673CFE10C6}"/>
              </a:ext>
            </a:extLst>
          </p:cNvPr>
          <p:cNvGrpSpPr/>
          <p:nvPr/>
        </p:nvGrpSpPr>
        <p:grpSpPr>
          <a:xfrm>
            <a:off x="124275" y="3881865"/>
            <a:ext cx="2526840" cy="613440"/>
            <a:chOff x="124275" y="3881865"/>
            <a:chExt cx="2526840" cy="613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3FC06CD1-DD63-4364-8ED9-5E8B40437BB4}"/>
                    </a:ext>
                  </a:extLst>
                </p14:cNvPr>
                <p14:cNvContentPartPr/>
                <p14:nvPr/>
              </p14:nvContentPartPr>
              <p14:xfrm>
                <a:off x="124275" y="4091745"/>
                <a:ext cx="287640" cy="11988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3FC06CD1-DD63-4364-8ED9-5E8B40437BB4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106275" y="4074105"/>
                  <a:ext cx="323280" cy="15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1F0F5213-DB75-408E-A97C-D75574B974A6}"/>
                    </a:ext>
                  </a:extLst>
                </p14:cNvPr>
                <p14:cNvContentPartPr/>
                <p14:nvPr/>
              </p14:nvContentPartPr>
              <p14:xfrm>
                <a:off x="487155" y="4073745"/>
                <a:ext cx="58320" cy="2124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1F0F5213-DB75-408E-A97C-D75574B974A6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469155" y="4055745"/>
                  <a:ext cx="93960" cy="5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83AA9AA8-D0BF-4F8D-9432-F8FA9579BB21}"/>
                    </a:ext>
                  </a:extLst>
                </p14:cNvPr>
                <p14:cNvContentPartPr/>
                <p14:nvPr/>
              </p14:nvContentPartPr>
              <p14:xfrm>
                <a:off x="503715" y="4026585"/>
                <a:ext cx="142560" cy="5220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83AA9AA8-D0BF-4F8D-9432-F8FA9579BB21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486075" y="4008585"/>
                  <a:ext cx="178200" cy="8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FFFC8525-FF3A-47D9-A26C-DF387CB57DC8}"/>
                    </a:ext>
                  </a:extLst>
                </p14:cNvPr>
                <p14:cNvContentPartPr/>
                <p14:nvPr/>
              </p14:nvContentPartPr>
              <p14:xfrm>
                <a:off x="503715" y="4120545"/>
                <a:ext cx="93960" cy="5472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FFFC8525-FF3A-47D9-A26C-DF387CB57DC8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485715" y="4102545"/>
                  <a:ext cx="129600" cy="9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7C8B035C-1E54-4E57-AF41-5BE97980A00D}"/>
                    </a:ext>
                  </a:extLst>
                </p14:cNvPr>
                <p14:cNvContentPartPr/>
                <p14:nvPr/>
              </p14:nvContentPartPr>
              <p14:xfrm>
                <a:off x="567435" y="4017585"/>
                <a:ext cx="133200" cy="23832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7C8B035C-1E54-4E57-AF41-5BE97980A00D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549435" y="3999585"/>
                  <a:ext cx="168840" cy="273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C1970B0B-D80D-495A-A312-0C6DB4C5FC44}"/>
                    </a:ext>
                  </a:extLst>
                </p14:cNvPr>
                <p14:cNvContentPartPr/>
                <p14:nvPr/>
              </p14:nvContentPartPr>
              <p14:xfrm>
                <a:off x="619635" y="4130625"/>
                <a:ext cx="109080" cy="8460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C1970B0B-D80D-495A-A312-0C6DB4C5FC44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601635" y="4112985"/>
                  <a:ext cx="144720" cy="12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F5690029-E42F-44F3-876E-5DEB3C84BAC5}"/>
                    </a:ext>
                  </a:extLst>
                </p14:cNvPr>
                <p14:cNvContentPartPr/>
                <p14:nvPr/>
              </p14:nvContentPartPr>
              <p14:xfrm>
                <a:off x="758595" y="4029465"/>
                <a:ext cx="90000" cy="6840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F5690029-E42F-44F3-876E-5DEB3C84BAC5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740955" y="4011465"/>
                  <a:ext cx="125640" cy="104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F0D12034-0897-4200-BB3E-E766A15E1CE1}"/>
                    </a:ext>
                  </a:extLst>
                </p14:cNvPr>
                <p14:cNvContentPartPr/>
                <p14:nvPr/>
              </p14:nvContentPartPr>
              <p14:xfrm>
                <a:off x="933555" y="3881865"/>
                <a:ext cx="103320" cy="23652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F0D12034-0897-4200-BB3E-E766A15E1CE1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915555" y="3864225"/>
                  <a:ext cx="138960" cy="27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8B0F0489-0A62-4C89-91CE-F3960BA05BDE}"/>
                    </a:ext>
                  </a:extLst>
                </p14:cNvPr>
                <p14:cNvContentPartPr/>
                <p14:nvPr/>
              </p14:nvContentPartPr>
              <p14:xfrm>
                <a:off x="953355" y="3926145"/>
                <a:ext cx="486720" cy="18108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8B0F0489-0A62-4C89-91CE-F3960BA05BDE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935355" y="3908505"/>
                  <a:ext cx="522360" cy="21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70AAF1A6-8D2F-4D89-9486-42420AE6BDBD}"/>
                    </a:ext>
                  </a:extLst>
                </p14:cNvPr>
                <p14:cNvContentPartPr/>
                <p14:nvPr/>
              </p14:nvContentPartPr>
              <p14:xfrm>
                <a:off x="1458075" y="3897345"/>
                <a:ext cx="338400" cy="18900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70AAF1A6-8D2F-4D89-9486-42420AE6BDBD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1440075" y="3879705"/>
                  <a:ext cx="374040" cy="22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B97F56E7-6680-46CB-BD34-DA8B4B40DC78}"/>
                    </a:ext>
                  </a:extLst>
                </p14:cNvPr>
                <p14:cNvContentPartPr/>
                <p14:nvPr/>
              </p14:nvContentPartPr>
              <p14:xfrm>
                <a:off x="1528995" y="4344105"/>
                <a:ext cx="29520" cy="15120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B97F56E7-6680-46CB-BD34-DA8B4B40DC78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1511355" y="4326105"/>
                  <a:ext cx="65160" cy="18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6254FF14-09D7-44E9-BAF9-3D498794C0E9}"/>
                    </a:ext>
                  </a:extLst>
                </p14:cNvPr>
                <p14:cNvContentPartPr/>
                <p14:nvPr/>
              </p14:nvContentPartPr>
              <p14:xfrm>
                <a:off x="1476435" y="4295865"/>
                <a:ext cx="15480" cy="2124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6254FF14-09D7-44E9-BAF9-3D498794C0E9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1458435" y="4278225"/>
                  <a:ext cx="51120" cy="5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B543B841-C665-4F57-ABAF-0564D3971AE5}"/>
                    </a:ext>
                  </a:extLst>
                </p14:cNvPr>
                <p14:cNvContentPartPr/>
                <p14:nvPr/>
              </p14:nvContentPartPr>
              <p14:xfrm>
                <a:off x="1601715" y="4326105"/>
                <a:ext cx="352440" cy="12636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B543B841-C665-4F57-ABAF-0564D3971AE5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583715" y="4308465"/>
                  <a:ext cx="388080" cy="16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FA98485B-D138-416F-B5E0-FBD0366F1D1B}"/>
                    </a:ext>
                  </a:extLst>
                </p14:cNvPr>
                <p14:cNvContentPartPr/>
                <p14:nvPr/>
              </p14:nvContentPartPr>
              <p14:xfrm>
                <a:off x="2007795" y="4110105"/>
                <a:ext cx="643320" cy="29376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FA98485B-D138-416F-B5E0-FBD0366F1D1B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1989795" y="4092105"/>
                  <a:ext cx="678960" cy="3294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9776244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E027F65-370F-4E06-B8BE-62B616B0ED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0385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FB1B44A-2192-4F0F-8153-3798EBD9A6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7071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3560538-3396-47FB-8FB6-5E183BD769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67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1233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73E7C5F-78CA-4D3D-8360-2D066E0B26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32F12A7-4992-4227-A134-722AD83A7300}"/>
              </a:ext>
            </a:extLst>
          </p:cNvPr>
          <p:cNvGrpSpPr/>
          <p:nvPr/>
        </p:nvGrpSpPr>
        <p:grpSpPr>
          <a:xfrm>
            <a:off x="7748715" y="227505"/>
            <a:ext cx="1036440" cy="234360"/>
            <a:chOff x="7748715" y="227505"/>
            <a:chExt cx="1036440" cy="234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8E917A3B-1273-4F6C-A149-63B20944A593}"/>
                    </a:ext>
                  </a:extLst>
                </p14:cNvPr>
                <p14:cNvContentPartPr/>
                <p14:nvPr/>
              </p14:nvContentPartPr>
              <p14:xfrm>
                <a:off x="7748715" y="255225"/>
                <a:ext cx="178560" cy="20664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8E917A3B-1273-4F6C-A149-63B20944A593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730715" y="237585"/>
                  <a:ext cx="214200" cy="24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954A11F9-36E9-4268-8F46-75E8C6705CB3}"/>
                    </a:ext>
                  </a:extLst>
                </p14:cNvPr>
                <p14:cNvContentPartPr/>
                <p14:nvPr/>
              </p14:nvContentPartPr>
              <p14:xfrm>
                <a:off x="8053995" y="284745"/>
                <a:ext cx="33120" cy="14472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954A11F9-36E9-4268-8F46-75E8C6705CB3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035995" y="266745"/>
                  <a:ext cx="68760" cy="18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CDBEE32F-B9C7-4D01-8AF3-2FF037DE597C}"/>
                    </a:ext>
                  </a:extLst>
                </p14:cNvPr>
                <p14:cNvContentPartPr/>
                <p14:nvPr/>
              </p14:nvContentPartPr>
              <p14:xfrm>
                <a:off x="8060475" y="297705"/>
                <a:ext cx="173880" cy="14076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CDBEE32F-B9C7-4D01-8AF3-2FF037DE597C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8042475" y="280065"/>
                  <a:ext cx="209520" cy="176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2943F649-4E48-4472-85DC-A8AB4EA6D985}"/>
                    </a:ext>
                  </a:extLst>
                </p14:cNvPr>
                <p14:cNvContentPartPr/>
                <p14:nvPr/>
              </p14:nvContentPartPr>
              <p14:xfrm>
                <a:off x="8349195" y="227505"/>
                <a:ext cx="132120" cy="20952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2943F649-4E48-4472-85DC-A8AB4EA6D985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331195" y="209505"/>
                  <a:ext cx="167760" cy="245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0D58756B-9234-4616-B189-867232EB5253}"/>
                    </a:ext>
                  </a:extLst>
                </p14:cNvPr>
                <p14:cNvContentPartPr/>
                <p14:nvPr/>
              </p14:nvContentPartPr>
              <p14:xfrm>
                <a:off x="8521635" y="275025"/>
                <a:ext cx="57240" cy="15588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0D58756B-9234-4616-B189-867232EB5253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503995" y="257025"/>
                  <a:ext cx="92880" cy="19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1F399DF6-C22E-4D44-9799-0B8A76E87944}"/>
                    </a:ext>
                  </a:extLst>
                </p14:cNvPr>
                <p14:cNvContentPartPr/>
                <p14:nvPr/>
              </p14:nvContentPartPr>
              <p14:xfrm>
                <a:off x="8627115" y="264225"/>
                <a:ext cx="158040" cy="18144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1F399DF6-C22E-4D44-9799-0B8A76E87944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8609475" y="246225"/>
                  <a:ext cx="193680" cy="2170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9AD9D758-E04E-43C6-A52F-BC3EBA80D031}"/>
                  </a:ext>
                </a:extLst>
              </p14:cNvPr>
              <p14:cNvContentPartPr/>
              <p14:nvPr/>
            </p14:nvContentPartPr>
            <p14:xfrm>
              <a:off x="8934195" y="340185"/>
              <a:ext cx="123480" cy="3456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9AD9D758-E04E-43C6-A52F-BC3EBA80D031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8916195" y="322545"/>
                <a:ext cx="159120" cy="70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13AB85DA-0F23-48CB-9D1E-D91176F59955}"/>
                  </a:ext>
                </a:extLst>
              </p14:cNvPr>
              <p14:cNvContentPartPr/>
              <p14:nvPr/>
            </p14:nvContentPartPr>
            <p14:xfrm>
              <a:off x="10363395" y="250905"/>
              <a:ext cx="8640" cy="19008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13AB85DA-0F23-48CB-9D1E-D91176F59955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10345395" y="232905"/>
                <a:ext cx="44280" cy="225720"/>
              </a:xfrm>
              <a:prstGeom prst="rect">
                <a:avLst/>
              </a:prstGeom>
            </p:spPr>
          </p:pic>
        </mc:Fallback>
      </mc:AlternateContent>
      <p:grpSp>
        <p:nvGrpSpPr>
          <p:cNvPr id="35" name="Group 34">
            <a:extLst>
              <a:ext uri="{FF2B5EF4-FFF2-40B4-BE49-F238E27FC236}">
                <a16:creationId xmlns:a16="http://schemas.microsoft.com/office/drawing/2014/main" id="{1F401E15-3EF1-47E1-B299-AF097E9D0D7C}"/>
              </a:ext>
            </a:extLst>
          </p:cNvPr>
          <p:cNvGrpSpPr/>
          <p:nvPr/>
        </p:nvGrpSpPr>
        <p:grpSpPr>
          <a:xfrm>
            <a:off x="10541235" y="248385"/>
            <a:ext cx="532440" cy="177840"/>
            <a:chOff x="10541235" y="248385"/>
            <a:chExt cx="532440" cy="1778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A78E96CA-BF4C-485B-87C9-2D3BD3F53CF7}"/>
                    </a:ext>
                  </a:extLst>
                </p14:cNvPr>
                <p14:cNvContentPartPr/>
                <p14:nvPr/>
              </p14:nvContentPartPr>
              <p14:xfrm>
                <a:off x="10541235" y="274305"/>
                <a:ext cx="105120" cy="12600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A78E96CA-BF4C-485B-87C9-2D3BD3F53CF7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0523235" y="256305"/>
                  <a:ext cx="140760" cy="16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873336D3-5C2E-445E-AA11-89F324ED1863}"/>
                    </a:ext>
                  </a:extLst>
                </p14:cNvPr>
                <p14:cNvContentPartPr/>
                <p14:nvPr/>
              </p14:nvContentPartPr>
              <p14:xfrm>
                <a:off x="10707555" y="248385"/>
                <a:ext cx="26280" cy="17424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873336D3-5C2E-445E-AA11-89F324ED1863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0689555" y="230385"/>
                  <a:ext cx="6192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95D4C368-DA11-4196-8BF5-5372BC183DBC}"/>
                    </a:ext>
                  </a:extLst>
                </p14:cNvPr>
                <p14:cNvContentPartPr/>
                <p14:nvPr/>
              </p14:nvContentPartPr>
              <p14:xfrm>
                <a:off x="10784595" y="289785"/>
                <a:ext cx="289080" cy="13644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95D4C368-DA11-4196-8BF5-5372BC183DBC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766595" y="271785"/>
                  <a:ext cx="324720" cy="172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63A20E7-C479-4304-9315-904748EB3EFA}"/>
              </a:ext>
            </a:extLst>
          </p:cNvPr>
          <p:cNvGrpSpPr/>
          <p:nvPr/>
        </p:nvGrpSpPr>
        <p:grpSpPr>
          <a:xfrm>
            <a:off x="11243955" y="238305"/>
            <a:ext cx="801000" cy="224280"/>
            <a:chOff x="11243955" y="238305"/>
            <a:chExt cx="801000" cy="224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0E0F81E0-39CA-4AA1-AE5E-DB55EE76EAD1}"/>
                    </a:ext>
                  </a:extLst>
                </p14:cNvPr>
                <p14:cNvContentPartPr/>
                <p14:nvPr/>
              </p14:nvContentPartPr>
              <p14:xfrm>
                <a:off x="11243955" y="320745"/>
                <a:ext cx="94320" cy="1260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0E0F81E0-39CA-4AA1-AE5E-DB55EE76EAD1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1225955" y="303105"/>
                  <a:ext cx="12996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B14FFD2D-B9F4-40DB-97AB-DF9A01D8DC38}"/>
                    </a:ext>
                  </a:extLst>
                </p14:cNvPr>
                <p14:cNvContentPartPr/>
                <p14:nvPr/>
              </p14:nvContentPartPr>
              <p14:xfrm>
                <a:off x="11438355" y="238305"/>
                <a:ext cx="22680" cy="21024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B14FFD2D-B9F4-40DB-97AB-DF9A01D8DC38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1420715" y="220305"/>
                  <a:ext cx="58320" cy="24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B0C50A5F-CCE9-4A78-B761-E9C154A17F34}"/>
                    </a:ext>
                  </a:extLst>
                </p14:cNvPr>
                <p14:cNvContentPartPr/>
                <p14:nvPr/>
              </p14:nvContentPartPr>
              <p14:xfrm>
                <a:off x="11414955" y="342345"/>
                <a:ext cx="218880" cy="9000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B0C50A5F-CCE9-4A78-B761-E9C154A17F34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1397315" y="324705"/>
                  <a:ext cx="254520" cy="125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7F470CC0-284C-4100-9706-8A33D64E4032}"/>
                    </a:ext>
                  </a:extLst>
                </p14:cNvPr>
                <p14:cNvContentPartPr/>
                <p14:nvPr/>
              </p14:nvContentPartPr>
              <p14:xfrm>
                <a:off x="11752995" y="242625"/>
                <a:ext cx="11880" cy="20304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7F470CC0-284C-4100-9706-8A33D64E4032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1735355" y="224625"/>
                  <a:ext cx="47520" cy="238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6F1D77F5-F518-4C86-9BC0-94DAC19E7028}"/>
                    </a:ext>
                  </a:extLst>
                </p14:cNvPr>
                <p14:cNvContentPartPr/>
                <p14:nvPr/>
              </p14:nvContentPartPr>
              <p14:xfrm>
                <a:off x="11702235" y="375105"/>
                <a:ext cx="125280" cy="792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6F1D77F5-F518-4C86-9BC0-94DAC19E7028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1684595" y="357465"/>
                  <a:ext cx="160920" cy="4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706ADFC8-2015-43C3-9299-0A7CC46A3BBA}"/>
                    </a:ext>
                  </a:extLst>
                </p14:cNvPr>
                <p14:cNvContentPartPr/>
                <p14:nvPr/>
              </p14:nvContentPartPr>
              <p14:xfrm>
                <a:off x="11844435" y="340905"/>
                <a:ext cx="105120" cy="8892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706ADFC8-2015-43C3-9299-0A7CC46A3BBA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1826795" y="323265"/>
                  <a:ext cx="140760" cy="12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D841F40D-D622-424D-9F96-07742ACE7485}"/>
                    </a:ext>
                  </a:extLst>
                </p14:cNvPr>
                <p14:cNvContentPartPr/>
                <p14:nvPr/>
              </p14:nvContentPartPr>
              <p14:xfrm>
                <a:off x="12040275" y="295545"/>
                <a:ext cx="4680" cy="16704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D841F40D-D622-424D-9F96-07742ACE7485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2022635" y="277545"/>
                  <a:ext cx="40320" cy="202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838EE5D-8A2F-4C46-8588-A630C8D24A29}"/>
              </a:ext>
            </a:extLst>
          </p:cNvPr>
          <p:cNvGrpSpPr/>
          <p:nvPr/>
        </p:nvGrpSpPr>
        <p:grpSpPr>
          <a:xfrm>
            <a:off x="12238995" y="321465"/>
            <a:ext cx="1054800" cy="172800"/>
            <a:chOff x="12238995" y="321465"/>
            <a:chExt cx="1054800" cy="172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98BFB74E-846C-44A0-A2B0-4D99EC639920}"/>
                    </a:ext>
                  </a:extLst>
                </p14:cNvPr>
                <p14:cNvContentPartPr/>
                <p14:nvPr/>
              </p14:nvContentPartPr>
              <p14:xfrm>
                <a:off x="12238995" y="321465"/>
                <a:ext cx="3240" cy="14688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98BFB74E-846C-44A0-A2B0-4D99EC639920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2221355" y="303465"/>
                  <a:ext cx="38880" cy="18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611ED248-BDFB-4403-943B-AAABF52A040D}"/>
                    </a:ext>
                  </a:extLst>
                </p14:cNvPr>
                <p14:cNvContentPartPr/>
                <p14:nvPr/>
              </p14:nvContentPartPr>
              <p14:xfrm>
                <a:off x="12343395" y="377985"/>
                <a:ext cx="109440" cy="7704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611ED248-BDFB-4403-943B-AAABF52A040D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2325755" y="359985"/>
                  <a:ext cx="145080" cy="11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33EE00BC-2A89-4A8F-8684-6FBBB63D35C5}"/>
                    </a:ext>
                  </a:extLst>
                </p14:cNvPr>
                <p14:cNvContentPartPr/>
                <p14:nvPr/>
              </p14:nvContentPartPr>
              <p14:xfrm>
                <a:off x="12575955" y="335145"/>
                <a:ext cx="171720" cy="15624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33EE00BC-2A89-4A8F-8684-6FBBB63D35C5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2558315" y="317145"/>
                  <a:ext cx="207360" cy="19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F2153543-9685-4234-87CD-7855377EF8E5}"/>
                    </a:ext>
                  </a:extLst>
                </p14:cNvPr>
                <p14:cNvContentPartPr/>
                <p14:nvPr/>
              </p14:nvContentPartPr>
              <p14:xfrm>
                <a:off x="12812115" y="361785"/>
                <a:ext cx="481680" cy="13248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F2153543-9685-4234-87CD-7855377EF8E5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2794475" y="343785"/>
                  <a:ext cx="517320" cy="1681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80C264F-8501-481A-A7DE-BFFFBA8142D0}"/>
              </a:ext>
            </a:extLst>
          </p:cNvPr>
          <p:cNvGrpSpPr/>
          <p:nvPr/>
        </p:nvGrpSpPr>
        <p:grpSpPr>
          <a:xfrm>
            <a:off x="7686795" y="676785"/>
            <a:ext cx="1242720" cy="301320"/>
            <a:chOff x="7686795" y="676785"/>
            <a:chExt cx="1242720" cy="301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6C5AE472-391C-4E0A-ADFB-06A5EBC8FE29}"/>
                    </a:ext>
                  </a:extLst>
                </p14:cNvPr>
                <p14:cNvContentPartPr/>
                <p14:nvPr/>
              </p14:nvContentPartPr>
              <p14:xfrm>
                <a:off x="7686795" y="676785"/>
                <a:ext cx="124560" cy="19980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6C5AE472-391C-4E0A-ADFB-06A5EBC8FE29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7669155" y="658785"/>
                  <a:ext cx="160200" cy="23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0B00A52B-5788-4302-98AD-D6D2B98BA1DD}"/>
                    </a:ext>
                  </a:extLst>
                </p14:cNvPr>
                <p14:cNvContentPartPr/>
                <p14:nvPr/>
              </p14:nvContentPartPr>
              <p14:xfrm>
                <a:off x="7854555" y="729705"/>
                <a:ext cx="230040" cy="13752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0B00A52B-5788-4302-98AD-D6D2B98BA1DD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7836555" y="711705"/>
                  <a:ext cx="265680" cy="17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A4788B96-4990-42D2-BC1C-127753B6346C}"/>
                    </a:ext>
                  </a:extLst>
                </p14:cNvPr>
                <p14:cNvContentPartPr/>
                <p14:nvPr/>
              </p14:nvContentPartPr>
              <p14:xfrm>
                <a:off x="8151195" y="765345"/>
                <a:ext cx="251640" cy="11052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A4788B96-4990-42D2-BC1C-127753B6346C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8133195" y="747345"/>
                  <a:ext cx="287280" cy="14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306CC378-3B81-4871-935E-D4CEFB73882F}"/>
                    </a:ext>
                  </a:extLst>
                </p14:cNvPr>
                <p14:cNvContentPartPr/>
                <p14:nvPr/>
              </p14:nvContentPartPr>
              <p14:xfrm>
                <a:off x="8350635" y="685425"/>
                <a:ext cx="11880" cy="3744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306CC378-3B81-4871-935E-D4CEFB73882F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8332635" y="667785"/>
                  <a:ext cx="4752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20C7BD8F-C8B9-4088-914D-5D795BADDDF0}"/>
                    </a:ext>
                  </a:extLst>
                </p14:cNvPr>
                <p14:cNvContentPartPr/>
                <p14:nvPr/>
              </p14:nvContentPartPr>
              <p14:xfrm>
                <a:off x="8443515" y="730785"/>
                <a:ext cx="106920" cy="24732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20C7BD8F-C8B9-4088-914D-5D795BADDDF0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8425875" y="713145"/>
                  <a:ext cx="142560" cy="282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B8D27B2B-BD96-4371-B1FF-1A88F9A2D193}"/>
                    </a:ext>
                  </a:extLst>
                </p14:cNvPr>
                <p14:cNvContentPartPr/>
                <p14:nvPr/>
              </p14:nvContentPartPr>
              <p14:xfrm>
                <a:off x="8585355" y="689025"/>
                <a:ext cx="66240" cy="17388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B8D27B2B-BD96-4371-B1FF-1A88F9A2D193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8567355" y="671025"/>
                  <a:ext cx="101880" cy="209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BAC9ABCA-7DDA-40A0-9835-43DCEB78AC2C}"/>
                    </a:ext>
                  </a:extLst>
                </p14:cNvPr>
                <p14:cNvContentPartPr/>
                <p14:nvPr/>
              </p14:nvContentPartPr>
              <p14:xfrm>
                <a:off x="8707395" y="680385"/>
                <a:ext cx="209520" cy="20376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BAC9ABCA-7DDA-40A0-9835-43DCEB78AC2C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8689395" y="662745"/>
                  <a:ext cx="245160" cy="23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D6D17C85-374C-45A9-A917-34A1EFBE2557}"/>
                    </a:ext>
                  </a:extLst>
                </p14:cNvPr>
                <p14:cNvContentPartPr/>
                <p14:nvPr/>
              </p14:nvContentPartPr>
              <p14:xfrm>
                <a:off x="8845275" y="780825"/>
                <a:ext cx="84240" cy="1044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D6D17C85-374C-45A9-A917-34A1EFBE2557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8827275" y="763185"/>
                  <a:ext cx="119880" cy="460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66">
            <p14:nvContentPartPr>
              <p14:cNvPr id="46" name="Ink 45">
                <a:extLst>
                  <a:ext uri="{FF2B5EF4-FFF2-40B4-BE49-F238E27FC236}">
                    <a16:creationId xmlns:a16="http://schemas.microsoft.com/office/drawing/2014/main" id="{752569C3-43DB-4E83-8AD0-3552BC2A630A}"/>
                  </a:ext>
                </a:extLst>
              </p14:cNvPr>
              <p14:cNvContentPartPr/>
              <p14:nvPr/>
            </p14:nvContentPartPr>
            <p14:xfrm>
              <a:off x="9120315" y="784785"/>
              <a:ext cx="104760" cy="9360"/>
            </p14:xfrm>
          </p:contentPart>
        </mc:Choice>
        <mc:Fallback xmlns="">
          <p:pic>
            <p:nvPicPr>
              <p:cNvPr id="46" name="Ink 45">
                <a:extLst>
                  <a:ext uri="{FF2B5EF4-FFF2-40B4-BE49-F238E27FC236}">
                    <a16:creationId xmlns:a16="http://schemas.microsoft.com/office/drawing/2014/main" id="{752569C3-43DB-4E83-8AD0-3552BC2A630A}"/>
                  </a:ext>
                </a:extLst>
              </p:cNvPr>
              <p:cNvPicPr/>
              <p:nvPr/>
            </p:nvPicPr>
            <p:blipFill>
              <a:blip r:embed="rId67"/>
              <a:stretch>
                <a:fillRect/>
              </a:stretch>
            </p:blipFill>
            <p:spPr>
              <a:xfrm>
                <a:off x="9102315" y="766785"/>
                <a:ext cx="140400" cy="45000"/>
              </a:xfrm>
              <a:prstGeom prst="rect">
                <a:avLst/>
              </a:prstGeom>
            </p:spPr>
          </p:pic>
        </mc:Fallback>
      </mc:AlternateContent>
      <p:grpSp>
        <p:nvGrpSpPr>
          <p:cNvPr id="67" name="Group 66">
            <a:extLst>
              <a:ext uri="{FF2B5EF4-FFF2-40B4-BE49-F238E27FC236}">
                <a16:creationId xmlns:a16="http://schemas.microsoft.com/office/drawing/2014/main" id="{7A22E95E-322F-48A9-8F09-A84650DD53E1}"/>
              </a:ext>
            </a:extLst>
          </p:cNvPr>
          <p:cNvGrpSpPr/>
          <p:nvPr/>
        </p:nvGrpSpPr>
        <p:grpSpPr>
          <a:xfrm>
            <a:off x="9268275" y="28785"/>
            <a:ext cx="928800" cy="425520"/>
            <a:chOff x="9268275" y="28785"/>
            <a:chExt cx="928800" cy="425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1C6D6D7A-92EA-400C-90C5-46585DCC41E2}"/>
                    </a:ext>
                  </a:extLst>
                </p14:cNvPr>
                <p14:cNvContentPartPr/>
                <p14:nvPr/>
              </p14:nvContentPartPr>
              <p14:xfrm>
                <a:off x="9293115" y="217785"/>
                <a:ext cx="95400" cy="23652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1C6D6D7A-92EA-400C-90C5-46585DCC41E2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9275475" y="200145"/>
                  <a:ext cx="131040" cy="27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0C766DD5-491B-48BA-AC18-3B64B843C47A}"/>
                    </a:ext>
                  </a:extLst>
                </p14:cNvPr>
                <p14:cNvContentPartPr/>
                <p14:nvPr/>
              </p14:nvContentPartPr>
              <p14:xfrm>
                <a:off x="9450795" y="298425"/>
                <a:ext cx="89280" cy="11520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0C766DD5-491B-48BA-AC18-3B64B843C47A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9433155" y="280425"/>
                  <a:ext cx="124920" cy="15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FE425FAA-3991-461C-B767-40E5E22685EC}"/>
                    </a:ext>
                  </a:extLst>
                </p14:cNvPr>
                <p14:cNvContentPartPr/>
                <p14:nvPr/>
              </p14:nvContentPartPr>
              <p14:xfrm>
                <a:off x="9614235" y="298785"/>
                <a:ext cx="127800" cy="9036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FE425FAA-3991-461C-B767-40E5E22685EC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9596235" y="280785"/>
                  <a:ext cx="163440" cy="12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8FB20EC6-EB02-4052-BADD-0E6264B429D2}"/>
                    </a:ext>
                  </a:extLst>
                </p14:cNvPr>
                <p14:cNvContentPartPr/>
                <p14:nvPr/>
              </p14:nvContentPartPr>
              <p14:xfrm>
                <a:off x="9829155" y="308145"/>
                <a:ext cx="88560" cy="10404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8FB20EC6-EB02-4052-BADD-0E6264B429D2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9811155" y="290145"/>
                  <a:ext cx="124200" cy="13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BA3D2FDA-F5E6-41FE-8435-C8CF62EC5EAC}"/>
                    </a:ext>
                  </a:extLst>
                </p14:cNvPr>
                <p14:cNvContentPartPr/>
                <p14:nvPr/>
              </p14:nvContentPartPr>
              <p14:xfrm>
                <a:off x="10069275" y="273945"/>
                <a:ext cx="127800" cy="15660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BA3D2FDA-F5E6-41FE-8435-C8CF62EC5EAC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10051275" y="255945"/>
                  <a:ext cx="163440" cy="192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5D3FBE06-FFBD-4D3D-839B-C2A2AC42A92E}"/>
                    </a:ext>
                  </a:extLst>
                </p14:cNvPr>
                <p14:cNvContentPartPr/>
                <p14:nvPr/>
              </p14:nvContentPartPr>
              <p14:xfrm>
                <a:off x="10025355" y="309945"/>
                <a:ext cx="134280" cy="13608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5D3FBE06-FFBD-4D3D-839B-C2A2AC42A92E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0007355" y="292305"/>
                  <a:ext cx="169920" cy="17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B15B50B6-BBC8-4E62-80FF-243BE7BF28A6}"/>
                    </a:ext>
                  </a:extLst>
                </p14:cNvPr>
                <p14:cNvContentPartPr/>
                <p14:nvPr/>
              </p14:nvContentPartPr>
              <p14:xfrm>
                <a:off x="9268275" y="28785"/>
                <a:ext cx="130680" cy="14472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B15B50B6-BBC8-4E62-80FF-243BE7BF28A6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9250635" y="11145"/>
                  <a:ext cx="166320" cy="18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ABDC02DD-34A5-4EFD-B5B8-0EC2418A264B}"/>
                    </a:ext>
                  </a:extLst>
                </p14:cNvPr>
                <p14:cNvContentPartPr/>
                <p14:nvPr/>
              </p14:nvContentPartPr>
              <p14:xfrm>
                <a:off x="9414795" y="89625"/>
                <a:ext cx="91800" cy="7416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ABDC02DD-34A5-4EFD-B5B8-0EC2418A264B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9396795" y="71985"/>
                  <a:ext cx="127440" cy="109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DEA6D27F-A794-45CC-9604-EC5828DA8DCA}"/>
                    </a:ext>
                  </a:extLst>
                </p14:cNvPr>
                <p14:cNvContentPartPr/>
                <p14:nvPr/>
              </p14:nvContentPartPr>
              <p14:xfrm>
                <a:off x="9573195" y="104385"/>
                <a:ext cx="140760" cy="7164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DEA6D27F-A794-45CC-9604-EC5828DA8DCA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9555195" y="86385"/>
                  <a:ext cx="176400" cy="10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9BECFB93-92A0-415F-BD9F-CBEA48A126ED}"/>
                    </a:ext>
                  </a:extLst>
                </p14:cNvPr>
                <p14:cNvContentPartPr/>
                <p14:nvPr/>
              </p14:nvContentPartPr>
              <p14:xfrm>
                <a:off x="9756075" y="66945"/>
                <a:ext cx="100080" cy="141840"/>
              </p14:xfrm>
            </p:contentPart>
          </mc:Choice>
          <mc:Fallback xmlns=""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9BECFB93-92A0-415F-BD9F-CBEA48A126ED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9738075" y="49305"/>
                  <a:ext cx="135720" cy="177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7752BB4E-8D0B-48A0-8326-9E4F58AD600A}"/>
                    </a:ext>
                  </a:extLst>
                </p14:cNvPr>
                <p14:cNvContentPartPr/>
                <p14:nvPr/>
              </p14:nvContentPartPr>
              <p14:xfrm>
                <a:off x="9882795" y="59745"/>
                <a:ext cx="33120" cy="124920"/>
              </p14:xfrm>
            </p:contentPart>
          </mc:Choice>
          <mc:Fallback xmlns=""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7752BB4E-8D0B-48A0-8326-9E4F58AD600A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9864795" y="41745"/>
                  <a:ext cx="68760" cy="16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B59B9087-ACEF-47C4-900E-ADE4422A31F5}"/>
                    </a:ext>
                  </a:extLst>
                </p14:cNvPr>
                <p14:cNvContentPartPr/>
                <p14:nvPr/>
              </p14:nvContentPartPr>
              <p14:xfrm>
                <a:off x="9953715" y="92145"/>
                <a:ext cx="154080" cy="94320"/>
              </p14:xfrm>
            </p:contentPart>
          </mc:Choice>
          <mc:Fallback xmlns=""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B59B9087-ACEF-47C4-900E-ADE4422A31F5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9935715" y="74145"/>
                  <a:ext cx="189720" cy="129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6D711192-29B9-4009-A77C-5B4B326ACB6A}"/>
              </a:ext>
            </a:extLst>
          </p:cNvPr>
          <p:cNvGrpSpPr/>
          <p:nvPr/>
        </p:nvGrpSpPr>
        <p:grpSpPr>
          <a:xfrm>
            <a:off x="11230635" y="669225"/>
            <a:ext cx="1112400" cy="195120"/>
            <a:chOff x="11230635" y="669225"/>
            <a:chExt cx="1112400" cy="1951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CE95B3F0-EE8A-444D-8214-502E9A10AE60}"/>
                    </a:ext>
                  </a:extLst>
                </p14:cNvPr>
                <p14:cNvContentPartPr/>
                <p14:nvPr/>
              </p14:nvContentPartPr>
              <p14:xfrm>
                <a:off x="11230635" y="728265"/>
                <a:ext cx="116640" cy="14760"/>
              </p14:xfrm>
            </p:contentPart>
          </mc:Choice>
          <mc:Fallback xmlns=""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CE95B3F0-EE8A-444D-8214-502E9A10AE60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11212995" y="710625"/>
                  <a:ext cx="152280" cy="5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40465A81-AECB-4F73-AC27-CC112DBF6623}"/>
                    </a:ext>
                  </a:extLst>
                </p14:cNvPr>
                <p14:cNvContentPartPr/>
                <p14:nvPr/>
              </p14:nvContentPartPr>
              <p14:xfrm>
                <a:off x="11477235" y="669225"/>
                <a:ext cx="19800" cy="181080"/>
              </p14:xfrm>
            </p:contentPart>
          </mc:Choice>
          <mc:Fallback xmlns=""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40465A81-AECB-4F73-AC27-CC112DBF6623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11459595" y="651585"/>
                  <a:ext cx="55440" cy="21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61" name="Ink 60">
                  <a:extLst>
                    <a:ext uri="{FF2B5EF4-FFF2-40B4-BE49-F238E27FC236}">
                      <a16:creationId xmlns:a16="http://schemas.microsoft.com/office/drawing/2014/main" id="{8DA640AB-AD68-40B7-93A8-E9A3054EF6C4}"/>
                    </a:ext>
                  </a:extLst>
                </p14:cNvPr>
                <p14:cNvContentPartPr/>
                <p14:nvPr/>
              </p14:nvContentPartPr>
              <p14:xfrm>
                <a:off x="11455635" y="746625"/>
                <a:ext cx="185040" cy="82440"/>
              </p14:xfrm>
            </p:contentPart>
          </mc:Choice>
          <mc:Fallback xmlns="">
            <p:pic>
              <p:nvPicPr>
                <p:cNvPr id="61" name="Ink 60">
                  <a:extLst>
                    <a:ext uri="{FF2B5EF4-FFF2-40B4-BE49-F238E27FC236}">
                      <a16:creationId xmlns:a16="http://schemas.microsoft.com/office/drawing/2014/main" id="{8DA640AB-AD68-40B7-93A8-E9A3054EF6C4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11437995" y="728625"/>
                  <a:ext cx="220680" cy="11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B4255FF8-EED6-4B86-AF0F-57A75D5EC1CF}"/>
                    </a:ext>
                  </a:extLst>
                </p14:cNvPr>
                <p14:cNvContentPartPr/>
                <p14:nvPr/>
              </p14:nvContentPartPr>
              <p14:xfrm>
                <a:off x="11710515" y="698385"/>
                <a:ext cx="23400" cy="126000"/>
              </p14:xfrm>
            </p:contentPart>
          </mc:Choice>
          <mc:Fallback xmlns=""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B4255FF8-EED6-4B86-AF0F-57A75D5EC1CF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11692875" y="680745"/>
                  <a:ext cx="59040" cy="16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72A6C49F-36F1-4D5B-AD61-5D6163F07132}"/>
                    </a:ext>
                  </a:extLst>
                </p14:cNvPr>
                <p14:cNvContentPartPr/>
                <p14:nvPr/>
              </p14:nvContentPartPr>
              <p14:xfrm>
                <a:off x="11693235" y="687225"/>
                <a:ext cx="339120" cy="150840"/>
              </p14:xfrm>
            </p:contentPart>
          </mc:Choice>
          <mc:Fallback xmlns=""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72A6C49F-36F1-4D5B-AD61-5D6163F07132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1675235" y="669585"/>
                  <a:ext cx="374760" cy="18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64" name="Ink 63">
                  <a:extLst>
                    <a:ext uri="{FF2B5EF4-FFF2-40B4-BE49-F238E27FC236}">
                      <a16:creationId xmlns:a16="http://schemas.microsoft.com/office/drawing/2014/main" id="{F801B654-D8E5-467E-BDDA-96B4F4352E49}"/>
                    </a:ext>
                  </a:extLst>
                </p14:cNvPr>
                <p14:cNvContentPartPr/>
                <p14:nvPr/>
              </p14:nvContentPartPr>
              <p14:xfrm>
                <a:off x="12187875" y="680385"/>
                <a:ext cx="28440" cy="183960"/>
              </p14:xfrm>
            </p:contentPart>
          </mc:Choice>
          <mc:Fallback xmlns="">
            <p:pic>
              <p:nvPicPr>
                <p:cNvPr id="64" name="Ink 63">
                  <a:extLst>
                    <a:ext uri="{FF2B5EF4-FFF2-40B4-BE49-F238E27FC236}">
                      <a16:creationId xmlns:a16="http://schemas.microsoft.com/office/drawing/2014/main" id="{F801B654-D8E5-467E-BDDA-96B4F4352E49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12170235" y="662385"/>
                  <a:ext cx="64080" cy="21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65" name="Ink 64">
                  <a:extLst>
                    <a:ext uri="{FF2B5EF4-FFF2-40B4-BE49-F238E27FC236}">
                      <a16:creationId xmlns:a16="http://schemas.microsoft.com/office/drawing/2014/main" id="{21BD0CEF-7DE1-4281-8EE0-DBAB2C873EAB}"/>
                    </a:ext>
                  </a:extLst>
                </p14:cNvPr>
                <p14:cNvContentPartPr/>
                <p14:nvPr/>
              </p14:nvContentPartPr>
              <p14:xfrm>
                <a:off x="12270315" y="718545"/>
                <a:ext cx="72720" cy="145440"/>
              </p14:xfrm>
            </p:contentPart>
          </mc:Choice>
          <mc:Fallback xmlns="">
            <p:pic>
              <p:nvPicPr>
                <p:cNvPr id="65" name="Ink 64">
                  <a:extLst>
                    <a:ext uri="{FF2B5EF4-FFF2-40B4-BE49-F238E27FC236}">
                      <a16:creationId xmlns:a16="http://schemas.microsoft.com/office/drawing/2014/main" id="{21BD0CEF-7DE1-4281-8EE0-DBAB2C873EAB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2252315" y="700545"/>
                  <a:ext cx="108360" cy="181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59705092-1A31-40D4-A377-AD194C09E2DA}"/>
              </a:ext>
            </a:extLst>
          </p:cNvPr>
          <p:cNvGrpSpPr/>
          <p:nvPr/>
        </p:nvGrpSpPr>
        <p:grpSpPr>
          <a:xfrm>
            <a:off x="9397515" y="673185"/>
            <a:ext cx="591840" cy="236160"/>
            <a:chOff x="9397515" y="673185"/>
            <a:chExt cx="591840" cy="236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129D0183-3DD4-498E-A3AD-476EB2130ADE}"/>
                    </a:ext>
                  </a:extLst>
                </p14:cNvPr>
                <p14:cNvContentPartPr/>
                <p14:nvPr/>
              </p14:nvContentPartPr>
              <p14:xfrm>
                <a:off x="9397515" y="673185"/>
                <a:ext cx="17640" cy="236160"/>
              </p14:xfrm>
            </p:contentPart>
          </mc:Choice>
          <mc:Fallback xmlns=""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129D0183-3DD4-498E-A3AD-476EB2130ADE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9379515" y="655545"/>
                  <a:ext cx="53280" cy="27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1B49314B-F8DA-4854-899B-39F9D80F7B70}"/>
                    </a:ext>
                  </a:extLst>
                </p14:cNvPr>
                <p14:cNvContentPartPr/>
                <p14:nvPr/>
              </p14:nvContentPartPr>
              <p14:xfrm>
                <a:off x="9463035" y="772545"/>
                <a:ext cx="110160" cy="9540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1B49314B-F8DA-4854-899B-39F9D80F7B70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9445035" y="754545"/>
                  <a:ext cx="145800" cy="13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71" name="Ink 70">
                  <a:extLst>
                    <a:ext uri="{FF2B5EF4-FFF2-40B4-BE49-F238E27FC236}">
                      <a16:creationId xmlns:a16="http://schemas.microsoft.com/office/drawing/2014/main" id="{8CC7C59C-3CEB-490C-9BA7-3CF8DC469B1E}"/>
                    </a:ext>
                  </a:extLst>
                </p14:cNvPr>
                <p14:cNvContentPartPr/>
                <p14:nvPr/>
              </p14:nvContentPartPr>
              <p14:xfrm>
                <a:off x="9704235" y="737985"/>
                <a:ext cx="108360" cy="142200"/>
              </p14:xfrm>
            </p:contentPart>
          </mc:Choice>
          <mc:Fallback xmlns="">
            <p:pic>
              <p:nvPicPr>
                <p:cNvPr id="71" name="Ink 70">
                  <a:extLst>
                    <a:ext uri="{FF2B5EF4-FFF2-40B4-BE49-F238E27FC236}">
                      <a16:creationId xmlns:a16="http://schemas.microsoft.com/office/drawing/2014/main" id="{8CC7C59C-3CEB-490C-9BA7-3CF8DC469B1E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9686235" y="720345"/>
                  <a:ext cx="144000" cy="17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72" name="Ink 71">
                  <a:extLst>
                    <a:ext uri="{FF2B5EF4-FFF2-40B4-BE49-F238E27FC236}">
                      <a16:creationId xmlns:a16="http://schemas.microsoft.com/office/drawing/2014/main" id="{C9194B07-2D55-45A1-8FF7-056DA049F1DA}"/>
                    </a:ext>
                  </a:extLst>
                </p14:cNvPr>
                <p14:cNvContentPartPr/>
                <p14:nvPr/>
              </p14:nvContentPartPr>
              <p14:xfrm>
                <a:off x="9691275" y="782985"/>
                <a:ext cx="130320" cy="105480"/>
              </p14:xfrm>
            </p:contentPart>
          </mc:Choice>
          <mc:Fallback xmlns="">
            <p:pic>
              <p:nvPicPr>
                <p:cNvPr id="72" name="Ink 71">
                  <a:extLst>
                    <a:ext uri="{FF2B5EF4-FFF2-40B4-BE49-F238E27FC236}">
                      <a16:creationId xmlns:a16="http://schemas.microsoft.com/office/drawing/2014/main" id="{C9194B07-2D55-45A1-8FF7-056DA049F1DA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9673275" y="765345"/>
                  <a:ext cx="165960" cy="14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4">
              <p14:nvContentPartPr>
                <p14:cNvPr id="73" name="Ink 72">
                  <a:extLst>
                    <a:ext uri="{FF2B5EF4-FFF2-40B4-BE49-F238E27FC236}">
                      <a16:creationId xmlns:a16="http://schemas.microsoft.com/office/drawing/2014/main" id="{89DE9BBE-37B8-481A-8EE8-FCB92B1C6E0D}"/>
                    </a:ext>
                  </a:extLst>
                </p14:cNvPr>
                <p14:cNvContentPartPr/>
                <p14:nvPr/>
              </p14:nvContentPartPr>
              <p14:xfrm>
                <a:off x="9971355" y="737265"/>
                <a:ext cx="18000" cy="162000"/>
              </p14:xfrm>
            </p:contentPart>
          </mc:Choice>
          <mc:Fallback xmlns="">
            <p:pic>
              <p:nvPicPr>
                <p:cNvPr id="73" name="Ink 72">
                  <a:extLst>
                    <a:ext uri="{FF2B5EF4-FFF2-40B4-BE49-F238E27FC236}">
                      <a16:creationId xmlns:a16="http://schemas.microsoft.com/office/drawing/2014/main" id="{89DE9BBE-37B8-481A-8EE8-FCB92B1C6E0D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9953355" y="719625"/>
                  <a:ext cx="53640" cy="197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2F9D6923-A9ED-4B90-B62E-7C97A480604E}"/>
              </a:ext>
            </a:extLst>
          </p:cNvPr>
          <p:cNvGrpSpPr/>
          <p:nvPr/>
        </p:nvGrpSpPr>
        <p:grpSpPr>
          <a:xfrm>
            <a:off x="10147395" y="751665"/>
            <a:ext cx="587520" cy="155520"/>
            <a:chOff x="10147395" y="751665"/>
            <a:chExt cx="587520" cy="155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6">
              <p14:nvContentPartPr>
                <p14:cNvPr id="74" name="Ink 73">
                  <a:extLst>
                    <a:ext uri="{FF2B5EF4-FFF2-40B4-BE49-F238E27FC236}">
                      <a16:creationId xmlns:a16="http://schemas.microsoft.com/office/drawing/2014/main" id="{EF9F3175-3EA5-4A59-98F4-01B788C03C32}"/>
                    </a:ext>
                  </a:extLst>
                </p14:cNvPr>
                <p14:cNvContentPartPr/>
                <p14:nvPr/>
              </p14:nvContentPartPr>
              <p14:xfrm>
                <a:off x="10147395" y="770745"/>
                <a:ext cx="114120" cy="136440"/>
              </p14:xfrm>
            </p:contentPart>
          </mc:Choice>
          <mc:Fallback xmlns="">
            <p:pic>
              <p:nvPicPr>
                <p:cNvPr id="74" name="Ink 73">
                  <a:extLst>
                    <a:ext uri="{FF2B5EF4-FFF2-40B4-BE49-F238E27FC236}">
                      <a16:creationId xmlns:a16="http://schemas.microsoft.com/office/drawing/2014/main" id="{EF9F3175-3EA5-4A59-98F4-01B788C03C32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10129755" y="752745"/>
                  <a:ext cx="149760" cy="17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8">
              <p14:nvContentPartPr>
                <p14:cNvPr id="75" name="Ink 74">
                  <a:extLst>
                    <a:ext uri="{FF2B5EF4-FFF2-40B4-BE49-F238E27FC236}">
                      <a16:creationId xmlns:a16="http://schemas.microsoft.com/office/drawing/2014/main" id="{4448D737-890A-4F47-A4EB-91A18A65A70B}"/>
                    </a:ext>
                  </a:extLst>
                </p14:cNvPr>
                <p14:cNvContentPartPr/>
                <p14:nvPr/>
              </p14:nvContentPartPr>
              <p14:xfrm>
                <a:off x="10326315" y="751665"/>
                <a:ext cx="25560" cy="149400"/>
              </p14:xfrm>
            </p:contentPart>
          </mc:Choice>
          <mc:Fallback xmlns="">
            <p:pic>
              <p:nvPicPr>
                <p:cNvPr id="75" name="Ink 74">
                  <a:extLst>
                    <a:ext uri="{FF2B5EF4-FFF2-40B4-BE49-F238E27FC236}">
                      <a16:creationId xmlns:a16="http://schemas.microsoft.com/office/drawing/2014/main" id="{4448D737-890A-4F47-A4EB-91A18A65A70B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10308315" y="733665"/>
                  <a:ext cx="61200" cy="185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0">
              <p14:nvContentPartPr>
                <p14:cNvPr id="76" name="Ink 75">
                  <a:extLst>
                    <a:ext uri="{FF2B5EF4-FFF2-40B4-BE49-F238E27FC236}">
                      <a16:creationId xmlns:a16="http://schemas.microsoft.com/office/drawing/2014/main" id="{518C2FEB-8107-4854-8359-3B180E8BB84B}"/>
                    </a:ext>
                  </a:extLst>
                </p14:cNvPr>
                <p14:cNvContentPartPr/>
                <p14:nvPr/>
              </p14:nvContentPartPr>
              <p14:xfrm>
                <a:off x="10439355" y="755265"/>
                <a:ext cx="295560" cy="147240"/>
              </p14:xfrm>
            </p:contentPart>
          </mc:Choice>
          <mc:Fallback xmlns="">
            <p:pic>
              <p:nvPicPr>
                <p:cNvPr id="76" name="Ink 75">
                  <a:extLst>
                    <a:ext uri="{FF2B5EF4-FFF2-40B4-BE49-F238E27FC236}">
                      <a16:creationId xmlns:a16="http://schemas.microsoft.com/office/drawing/2014/main" id="{518C2FEB-8107-4854-8359-3B180E8BB84B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10421355" y="737265"/>
                  <a:ext cx="331200" cy="182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761BBA0-9176-47C9-831E-B4E7E1F5D73E}"/>
              </a:ext>
            </a:extLst>
          </p:cNvPr>
          <p:cNvGrpSpPr/>
          <p:nvPr/>
        </p:nvGrpSpPr>
        <p:grpSpPr>
          <a:xfrm>
            <a:off x="9438915" y="1061625"/>
            <a:ext cx="811080" cy="233280"/>
            <a:chOff x="9438915" y="1061625"/>
            <a:chExt cx="811080" cy="233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2">
              <p14:nvContentPartPr>
                <p14:cNvPr id="77" name="Ink 76">
                  <a:extLst>
                    <a:ext uri="{FF2B5EF4-FFF2-40B4-BE49-F238E27FC236}">
                      <a16:creationId xmlns:a16="http://schemas.microsoft.com/office/drawing/2014/main" id="{7B7831EF-C323-4776-B37A-419D61509817}"/>
                    </a:ext>
                  </a:extLst>
                </p14:cNvPr>
                <p14:cNvContentPartPr/>
                <p14:nvPr/>
              </p14:nvContentPartPr>
              <p14:xfrm>
                <a:off x="9438915" y="1061625"/>
                <a:ext cx="117360" cy="153720"/>
              </p14:xfrm>
            </p:contentPart>
          </mc:Choice>
          <mc:Fallback xmlns="">
            <p:pic>
              <p:nvPicPr>
                <p:cNvPr id="77" name="Ink 76">
                  <a:extLst>
                    <a:ext uri="{FF2B5EF4-FFF2-40B4-BE49-F238E27FC236}">
                      <a16:creationId xmlns:a16="http://schemas.microsoft.com/office/drawing/2014/main" id="{7B7831EF-C323-4776-B37A-419D61509817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9420915" y="1043985"/>
                  <a:ext cx="153000" cy="18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78" name="Ink 77">
                  <a:extLst>
                    <a:ext uri="{FF2B5EF4-FFF2-40B4-BE49-F238E27FC236}">
                      <a16:creationId xmlns:a16="http://schemas.microsoft.com/office/drawing/2014/main" id="{00DF5DC5-1443-46EB-9974-D4AB6720B02C}"/>
                    </a:ext>
                  </a:extLst>
                </p14:cNvPr>
                <p14:cNvContentPartPr/>
                <p14:nvPr/>
              </p14:nvContentPartPr>
              <p14:xfrm>
                <a:off x="9582195" y="1112025"/>
                <a:ext cx="100440" cy="102960"/>
              </p14:xfrm>
            </p:contentPart>
          </mc:Choice>
          <mc:Fallback xmlns="">
            <p:pic>
              <p:nvPicPr>
                <p:cNvPr id="78" name="Ink 77">
                  <a:extLst>
                    <a:ext uri="{FF2B5EF4-FFF2-40B4-BE49-F238E27FC236}">
                      <a16:creationId xmlns:a16="http://schemas.microsoft.com/office/drawing/2014/main" id="{00DF5DC5-1443-46EB-9974-D4AB6720B02C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9564555" y="1094385"/>
                  <a:ext cx="136080" cy="13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79" name="Ink 78">
                  <a:extLst>
                    <a:ext uri="{FF2B5EF4-FFF2-40B4-BE49-F238E27FC236}">
                      <a16:creationId xmlns:a16="http://schemas.microsoft.com/office/drawing/2014/main" id="{11789CF7-862F-416B-A632-EB6DB2814494}"/>
                    </a:ext>
                  </a:extLst>
                </p14:cNvPr>
                <p14:cNvContentPartPr/>
                <p14:nvPr/>
              </p14:nvContentPartPr>
              <p14:xfrm>
                <a:off x="9730155" y="1115265"/>
                <a:ext cx="276120" cy="179640"/>
              </p14:xfrm>
            </p:contentPart>
          </mc:Choice>
          <mc:Fallback xmlns="">
            <p:pic>
              <p:nvPicPr>
                <p:cNvPr id="79" name="Ink 78">
                  <a:extLst>
                    <a:ext uri="{FF2B5EF4-FFF2-40B4-BE49-F238E27FC236}">
                      <a16:creationId xmlns:a16="http://schemas.microsoft.com/office/drawing/2014/main" id="{11789CF7-862F-416B-A632-EB6DB2814494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9712155" y="1097265"/>
                  <a:ext cx="311760" cy="21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8">
              <p14:nvContentPartPr>
                <p14:cNvPr id="80" name="Ink 79">
                  <a:extLst>
                    <a:ext uri="{FF2B5EF4-FFF2-40B4-BE49-F238E27FC236}">
                      <a16:creationId xmlns:a16="http://schemas.microsoft.com/office/drawing/2014/main" id="{0998129A-40E2-4645-9A75-1970D51E948F}"/>
                    </a:ext>
                  </a:extLst>
                </p14:cNvPr>
                <p14:cNvContentPartPr/>
                <p14:nvPr/>
              </p14:nvContentPartPr>
              <p14:xfrm>
                <a:off x="10005195" y="1093665"/>
                <a:ext cx="38520" cy="170640"/>
              </p14:xfrm>
            </p:contentPart>
          </mc:Choice>
          <mc:Fallback xmlns="">
            <p:pic>
              <p:nvPicPr>
                <p:cNvPr id="80" name="Ink 79">
                  <a:extLst>
                    <a:ext uri="{FF2B5EF4-FFF2-40B4-BE49-F238E27FC236}">
                      <a16:creationId xmlns:a16="http://schemas.microsoft.com/office/drawing/2014/main" id="{0998129A-40E2-4645-9A75-1970D51E948F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9987195" y="1076025"/>
                  <a:ext cx="7416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0">
              <p14:nvContentPartPr>
                <p14:cNvPr id="81" name="Ink 80">
                  <a:extLst>
                    <a:ext uri="{FF2B5EF4-FFF2-40B4-BE49-F238E27FC236}">
                      <a16:creationId xmlns:a16="http://schemas.microsoft.com/office/drawing/2014/main" id="{D90C0CDB-D75E-4BA2-AB73-1BBDF5A00325}"/>
                    </a:ext>
                  </a:extLst>
                </p14:cNvPr>
                <p14:cNvContentPartPr/>
                <p14:nvPr/>
              </p14:nvContentPartPr>
              <p14:xfrm>
                <a:off x="10097715" y="1172865"/>
                <a:ext cx="152280" cy="103320"/>
              </p14:xfrm>
            </p:contentPart>
          </mc:Choice>
          <mc:Fallback xmlns="">
            <p:pic>
              <p:nvPicPr>
                <p:cNvPr id="81" name="Ink 80">
                  <a:extLst>
                    <a:ext uri="{FF2B5EF4-FFF2-40B4-BE49-F238E27FC236}">
                      <a16:creationId xmlns:a16="http://schemas.microsoft.com/office/drawing/2014/main" id="{D90C0CDB-D75E-4BA2-AB73-1BBDF5A00325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10080075" y="1154865"/>
                  <a:ext cx="187920" cy="138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208D9E42-934D-41DC-913F-06577318DBF2}"/>
              </a:ext>
            </a:extLst>
          </p:cNvPr>
          <p:cNvGrpSpPr/>
          <p:nvPr/>
        </p:nvGrpSpPr>
        <p:grpSpPr>
          <a:xfrm>
            <a:off x="12404955" y="668145"/>
            <a:ext cx="1128240" cy="269640"/>
            <a:chOff x="12404955" y="668145"/>
            <a:chExt cx="1128240" cy="269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32">
              <p14:nvContentPartPr>
                <p14:cNvPr id="85" name="Ink 84">
                  <a:extLst>
                    <a:ext uri="{FF2B5EF4-FFF2-40B4-BE49-F238E27FC236}">
                      <a16:creationId xmlns:a16="http://schemas.microsoft.com/office/drawing/2014/main" id="{479959CB-F115-4CC3-BD4C-B9222D1CE243}"/>
                    </a:ext>
                  </a:extLst>
                </p14:cNvPr>
                <p14:cNvContentPartPr/>
                <p14:nvPr/>
              </p14:nvContentPartPr>
              <p14:xfrm>
                <a:off x="12404955" y="668145"/>
                <a:ext cx="250560" cy="183600"/>
              </p14:xfrm>
            </p:contentPart>
          </mc:Choice>
          <mc:Fallback xmlns="">
            <p:pic>
              <p:nvPicPr>
                <p:cNvPr id="85" name="Ink 84">
                  <a:extLst>
                    <a:ext uri="{FF2B5EF4-FFF2-40B4-BE49-F238E27FC236}">
                      <a16:creationId xmlns:a16="http://schemas.microsoft.com/office/drawing/2014/main" id="{479959CB-F115-4CC3-BD4C-B9222D1CE243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12387315" y="650505"/>
                  <a:ext cx="286200" cy="21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4">
              <p14:nvContentPartPr>
                <p14:cNvPr id="86" name="Ink 85">
                  <a:extLst>
                    <a:ext uri="{FF2B5EF4-FFF2-40B4-BE49-F238E27FC236}">
                      <a16:creationId xmlns:a16="http://schemas.microsoft.com/office/drawing/2014/main" id="{44182288-86BA-45E0-ABCF-BB4E027A6AF1}"/>
                    </a:ext>
                  </a:extLst>
                </p14:cNvPr>
                <p14:cNvContentPartPr/>
                <p14:nvPr/>
              </p14:nvContentPartPr>
              <p14:xfrm>
                <a:off x="12713475" y="709545"/>
                <a:ext cx="200520" cy="153000"/>
              </p14:xfrm>
            </p:contentPart>
          </mc:Choice>
          <mc:Fallback xmlns="">
            <p:pic>
              <p:nvPicPr>
                <p:cNvPr id="86" name="Ink 85">
                  <a:extLst>
                    <a:ext uri="{FF2B5EF4-FFF2-40B4-BE49-F238E27FC236}">
                      <a16:creationId xmlns:a16="http://schemas.microsoft.com/office/drawing/2014/main" id="{44182288-86BA-45E0-ABCF-BB4E027A6AF1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12695475" y="691905"/>
                  <a:ext cx="236160" cy="18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6">
              <p14:nvContentPartPr>
                <p14:cNvPr id="87" name="Ink 86">
                  <a:extLst>
                    <a:ext uri="{FF2B5EF4-FFF2-40B4-BE49-F238E27FC236}">
                      <a16:creationId xmlns:a16="http://schemas.microsoft.com/office/drawing/2014/main" id="{38447B08-8FF8-4759-949B-F50FD137E463}"/>
                    </a:ext>
                  </a:extLst>
                </p14:cNvPr>
                <p14:cNvContentPartPr/>
                <p14:nvPr/>
              </p14:nvContentPartPr>
              <p14:xfrm>
                <a:off x="12956475" y="724305"/>
                <a:ext cx="319680" cy="136440"/>
              </p14:xfrm>
            </p:contentPart>
          </mc:Choice>
          <mc:Fallback xmlns="">
            <p:pic>
              <p:nvPicPr>
                <p:cNvPr id="87" name="Ink 86">
                  <a:extLst>
                    <a:ext uri="{FF2B5EF4-FFF2-40B4-BE49-F238E27FC236}">
                      <a16:creationId xmlns:a16="http://schemas.microsoft.com/office/drawing/2014/main" id="{38447B08-8FF8-4759-949B-F50FD137E463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12938475" y="706305"/>
                  <a:ext cx="355320" cy="17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8">
              <p14:nvContentPartPr>
                <p14:cNvPr id="88" name="Ink 87">
                  <a:extLst>
                    <a:ext uri="{FF2B5EF4-FFF2-40B4-BE49-F238E27FC236}">
                      <a16:creationId xmlns:a16="http://schemas.microsoft.com/office/drawing/2014/main" id="{88158A5A-CB21-4A05-8977-C36816E39066}"/>
                    </a:ext>
                  </a:extLst>
                </p14:cNvPr>
                <p14:cNvContentPartPr/>
                <p14:nvPr/>
              </p14:nvContentPartPr>
              <p14:xfrm>
                <a:off x="13288755" y="749505"/>
                <a:ext cx="244440" cy="140400"/>
              </p14:xfrm>
            </p:contentPart>
          </mc:Choice>
          <mc:Fallback xmlns="">
            <p:pic>
              <p:nvPicPr>
                <p:cNvPr id="88" name="Ink 87">
                  <a:extLst>
                    <a:ext uri="{FF2B5EF4-FFF2-40B4-BE49-F238E27FC236}">
                      <a16:creationId xmlns:a16="http://schemas.microsoft.com/office/drawing/2014/main" id="{88158A5A-CB21-4A05-8977-C36816E39066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13271115" y="731865"/>
                  <a:ext cx="280080" cy="17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0">
              <p14:nvContentPartPr>
                <p14:cNvPr id="90" name="Ink 89">
                  <a:extLst>
                    <a:ext uri="{FF2B5EF4-FFF2-40B4-BE49-F238E27FC236}">
                      <a16:creationId xmlns:a16="http://schemas.microsoft.com/office/drawing/2014/main" id="{4D897767-556F-4B3A-982A-9DB3E4B51B88}"/>
                    </a:ext>
                  </a:extLst>
                </p14:cNvPr>
                <p14:cNvContentPartPr/>
                <p14:nvPr/>
              </p14:nvContentPartPr>
              <p14:xfrm>
                <a:off x="12512955" y="756345"/>
                <a:ext cx="138600" cy="181440"/>
              </p14:xfrm>
            </p:contentPart>
          </mc:Choice>
          <mc:Fallback xmlns="">
            <p:pic>
              <p:nvPicPr>
                <p:cNvPr id="90" name="Ink 89">
                  <a:extLst>
                    <a:ext uri="{FF2B5EF4-FFF2-40B4-BE49-F238E27FC236}">
                      <a16:creationId xmlns:a16="http://schemas.microsoft.com/office/drawing/2014/main" id="{4D897767-556F-4B3A-982A-9DB3E4B51B88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12495315" y="738345"/>
                  <a:ext cx="174240" cy="2170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4086343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2669CE-50BF-46C0-BFF4-AC541DE704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2669CE-50BF-46C0-BFF4-AC541DE704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A63BE17-2BB0-4173-B12C-8C96816F9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2A5B6B93-5013-435D-A2BA-1CB9E84B7951}"/>
              </a:ext>
            </a:extLst>
          </p:cNvPr>
          <p:cNvGrpSpPr/>
          <p:nvPr/>
        </p:nvGrpSpPr>
        <p:grpSpPr>
          <a:xfrm>
            <a:off x="4820529" y="675162"/>
            <a:ext cx="3295800" cy="451440"/>
            <a:chOff x="4820529" y="675162"/>
            <a:chExt cx="3295800" cy="451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5EB40449-7D75-4967-AFC9-8C4D45C394FA}"/>
                    </a:ext>
                  </a:extLst>
                </p14:cNvPr>
                <p14:cNvContentPartPr/>
                <p14:nvPr/>
              </p14:nvContentPartPr>
              <p14:xfrm>
                <a:off x="4820529" y="808722"/>
                <a:ext cx="194040" cy="2700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5EB40449-7D75-4967-AFC9-8C4D45C394FA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802889" y="790722"/>
                  <a:ext cx="229680" cy="6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B0AECDF0-C54C-47B3-B44B-BDDCE6B0411B}"/>
                    </a:ext>
                  </a:extLst>
                </p14:cNvPr>
                <p14:cNvContentPartPr/>
                <p14:nvPr/>
              </p14:nvContentPartPr>
              <p14:xfrm>
                <a:off x="5245329" y="730962"/>
                <a:ext cx="13320" cy="21060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B0AECDF0-C54C-47B3-B44B-BDDCE6B0411B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227329" y="712962"/>
                  <a:ext cx="48960" cy="24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2FE5D702-2F66-4C0D-89DE-7152401ED0A1}"/>
                    </a:ext>
                  </a:extLst>
                </p14:cNvPr>
                <p14:cNvContentPartPr/>
                <p14:nvPr/>
              </p14:nvContentPartPr>
              <p14:xfrm>
                <a:off x="5076849" y="682362"/>
                <a:ext cx="487800" cy="20700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2FE5D702-2F66-4C0D-89DE-7152401ED0A1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058849" y="664722"/>
                  <a:ext cx="523440" cy="24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482A9AC0-612B-4452-A029-AD1352004545}"/>
                    </a:ext>
                  </a:extLst>
                </p14:cNvPr>
                <p14:cNvContentPartPr/>
                <p14:nvPr/>
              </p14:nvContentPartPr>
              <p14:xfrm>
                <a:off x="5594529" y="761202"/>
                <a:ext cx="104760" cy="14400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482A9AC0-612B-4452-A029-AD1352004545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576889" y="743562"/>
                  <a:ext cx="140400" cy="17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87AD5E6E-CD3C-4CB6-A1EB-B614CA69424B}"/>
                    </a:ext>
                  </a:extLst>
                </p14:cNvPr>
                <p14:cNvContentPartPr/>
                <p14:nvPr/>
              </p14:nvContentPartPr>
              <p14:xfrm>
                <a:off x="5893329" y="773802"/>
                <a:ext cx="341640" cy="17568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87AD5E6E-CD3C-4CB6-A1EB-B614CA69424B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5875689" y="755802"/>
                  <a:ext cx="377280" cy="211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6858F0C3-2786-41DD-83F1-AF1E3643CE0E}"/>
                    </a:ext>
                  </a:extLst>
                </p14:cNvPr>
                <p14:cNvContentPartPr/>
                <p14:nvPr/>
              </p14:nvContentPartPr>
              <p14:xfrm>
                <a:off x="6305889" y="845802"/>
                <a:ext cx="24480" cy="1368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6858F0C3-2786-41DD-83F1-AF1E3643CE0E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6288249" y="827802"/>
                  <a:ext cx="60120" cy="4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B8E4ECDB-DDF2-44C8-82E7-C44AADF03F7F}"/>
                    </a:ext>
                  </a:extLst>
                </p14:cNvPr>
                <p14:cNvContentPartPr/>
                <p14:nvPr/>
              </p14:nvContentPartPr>
              <p14:xfrm>
                <a:off x="6455649" y="811242"/>
                <a:ext cx="89640" cy="10008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B8E4ECDB-DDF2-44C8-82E7-C44AADF03F7F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6438009" y="793602"/>
                  <a:ext cx="125280" cy="13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04859DF4-4526-4C34-8C7F-5FB5B1E4D935}"/>
                    </a:ext>
                  </a:extLst>
                </p14:cNvPr>
                <p14:cNvContentPartPr/>
                <p14:nvPr/>
              </p14:nvContentPartPr>
              <p14:xfrm>
                <a:off x="6630969" y="675162"/>
                <a:ext cx="173160" cy="23328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04859DF4-4526-4C34-8C7F-5FB5B1E4D935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6613329" y="657162"/>
                  <a:ext cx="208800" cy="26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3D24FE65-49D7-4657-873F-BB33CF916D33}"/>
                    </a:ext>
                  </a:extLst>
                </p14:cNvPr>
                <p14:cNvContentPartPr/>
                <p14:nvPr/>
              </p14:nvContentPartPr>
              <p14:xfrm>
                <a:off x="6996369" y="749682"/>
                <a:ext cx="29160" cy="20448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3D24FE65-49D7-4657-873F-BB33CF916D33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6978369" y="732042"/>
                  <a:ext cx="64800" cy="24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19C32BB0-ED93-42BC-98AC-A381AC506E96}"/>
                    </a:ext>
                  </a:extLst>
                </p14:cNvPr>
                <p14:cNvContentPartPr/>
                <p14:nvPr/>
              </p14:nvContentPartPr>
              <p14:xfrm>
                <a:off x="6921849" y="784242"/>
                <a:ext cx="452880" cy="12888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19C32BB0-ED93-42BC-98AC-A381AC506E96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6904209" y="766242"/>
                  <a:ext cx="488520" cy="16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82DF6B4E-59DF-4DA7-B788-DDD46D2A75BD}"/>
                    </a:ext>
                  </a:extLst>
                </p14:cNvPr>
                <p14:cNvContentPartPr/>
                <p14:nvPr/>
              </p14:nvContentPartPr>
              <p14:xfrm>
                <a:off x="7347009" y="811242"/>
                <a:ext cx="126360" cy="9324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82DF6B4E-59DF-4DA7-B788-DDD46D2A75BD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7329009" y="793602"/>
                  <a:ext cx="162000" cy="12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6DB5DE5F-7414-4108-A32E-C556A7983656}"/>
                    </a:ext>
                  </a:extLst>
                </p14:cNvPr>
                <p14:cNvContentPartPr/>
                <p14:nvPr/>
              </p14:nvContentPartPr>
              <p14:xfrm>
                <a:off x="7433409" y="722322"/>
                <a:ext cx="12240" cy="3924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6DB5DE5F-7414-4108-A32E-C556A7983656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7415409" y="704322"/>
                  <a:ext cx="4788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6A066A83-581A-48D5-898E-D24BC75F4985}"/>
                    </a:ext>
                  </a:extLst>
                </p14:cNvPr>
                <p14:cNvContentPartPr/>
                <p14:nvPr/>
              </p14:nvContentPartPr>
              <p14:xfrm>
                <a:off x="7532049" y="775602"/>
                <a:ext cx="158400" cy="14292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6A066A83-581A-48D5-898E-D24BC75F4985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7514409" y="757962"/>
                  <a:ext cx="194040" cy="178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FE277B71-822C-4038-BFA1-58330312AADF}"/>
                    </a:ext>
                  </a:extLst>
                </p14:cNvPr>
                <p14:cNvContentPartPr/>
                <p14:nvPr/>
              </p14:nvContentPartPr>
              <p14:xfrm>
                <a:off x="7750569" y="747162"/>
                <a:ext cx="19080" cy="18036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FE277B71-822C-4038-BFA1-58330312AADF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7732569" y="729162"/>
                  <a:ext cx="5472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24F709F6-9D15-4682-B020-F63B1BA3D0AC}"/>
                    </a:ext>
                  </a:extLst>
                </p14:cNvPr>
                <p14:cNvContentPartPr/>
                <p14:nvPr/>
              </p14:nvContentPartPr>
              <p14:xfrm>
                <a:off x="7857489" y="771642"/>
                <a:ext cx="258840" cy="35496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24F709F6-9D15-4682-B020-F63B1BA3D0AC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7839849" y="754002"/>
                  <a:ext cx="294480" cy="390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11D1B46-732C-4C1D-9B6F-5AC61AC779DD}"/>
              </a:ext>
            </a:extLst>
          </p:cNvPr>
          <p:cNvGrpSpPr/>
          <p:nvPr/>
        </p:nvGrpSpPr>
        <p:grpSpPr>
          <a:xfrm>
            <a:off x="8325129" y="696402"/>
            <a:ext cx="2889360" cy="272520"/>
            <a:chOff x="8325129" y="696402"/>
            <a:chExt cx="2889360" cy="272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7A4BF571-1D49-4BD2-A1D7-48DCB321C26F}"/>
                    </a:ext>
                  </a:extLst>
                </p14:cNvPr>
                <p14:cNvContentPartPr/>
                <p14:nvPr/>
              </p14:nvContentPartPr>
              <p14:xfrm>
                <a:off x="8325129" y="742122"/>
                <a:ext cx="173880" cy="20160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7A4BF571-1D49-4BD2-A1D7-48DCB321C26F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8307129" y="724482"/>
                  <a:ext cx="209520" cy="237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17D60396-95E9-4186-92B2-69F6E4578C21}"/>
                    </a:ext>
                  </a:extLst>
                </p14:cNvPr>
                <p14:cNvContentPartPr/>
                <p14:nvPr/>
              </p14:nvContentPartPr>
              <p14:xfrm>
                <a:off x="8622849" y="782802"/>
                <a:ext cx="143640" cy="15228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17D60396-95E9-4186-92B2-69F6E4578C21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8604849" y="765162"/>
                  <a:ext cx="179280" cy="18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E03EA3AE-5D2A-4149-886C-9AA2ACDE300A}"/>
                    </a:ext>
                  </a:extLst>
                </p14:cNvPr>
                <p14:cNvContentPartPr/>
                <p14:nvPr/>
              </p14:nvContentPartPr>
              <p14:xfrm>
                <a:off x="8843889" y="835002"/>
                <a:ext cx="206640" cy="8964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E03EA3AE-5D2A-4149-886C-9AA2ACDE300A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8825889" y="817002"/>
                  <a:ext cx="242280" cy="12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3651B082-899A-4FB0-B2FC-BE6A99F187EF}"/>
                    </a:ext>
                  </a:extLst>
                </p14:cNvPr>
                <p14:cNvContentPartPr/>
                <p14:nvPr/>
              </p14:nvContentPartPr>
              <p14:xfrm>
                <a:off x="9098049" y="751842"/>
                <a:ext cx="131760" cy="21708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3651B082-899A-4FB0-B2FC-BE6A99F187EF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9080409" y="734202"/>
                  <a:ext cx="167400" cy="252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182E23F3-3172-4B57-B71E-A2FA5F456C82}"/>
                    </a:ext>
                  </a:extLst>
                </p14:cNvPr>
                <p14:cNvContentPartPr/>
                <p14:nvPr/>
              </p14:nvContentPartPr>
              <p14:xfrm>
                <a:off x="9242409" y="729522"/>
                <a:ext cx="59040" cy="16920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182E23F3-3172-4B57-B71E-A2FA5F456C82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9224409" y="711882"/>
                  <a:ext cx="94680" cy="20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FE7862A7-73A4-4E34-A8F7-616766165A2B}"/>
                    </a:ext>
                  </a:extLst>
                </p14:cNvPr>
                <p14:cNvContentPartPr/>
                <p14:nvPr/>
              </p14:nvContentPartPr>
              <p14:xfrm>
                <a:off x="9347889" y="810882"/>
                <a:ext cx="104400" cy="7956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FE7862A7-73A4-4E34-A8F7-616766165A2B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9329889" y="793242"/>
                  <a:ext cx="140040" cy="11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3E0A4EBD-1CCE-45FE-8336-4D8379097407}"/>
                    </a:ext>
                  </a:extLst>
                </p14:cNvPr>
                <p14:cNvContentPartPr/>
                <p14:nvPr/>
              </p14:nvContentPartPr>
              <p14:xfrm>
                <a:off x="9611049" y="801522"/>
                <a:ext cx="460440" cy="9468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3E0A4EBD-1CCE-45FE-8336-4D8379097407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9593049" y="783522"/>
                  <a:ext cx="496080" cy="13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262ABE97-7EF3-4507-A909-0B6E5750625B}"/>
                    </a:ext>
                  </a:extLst>
                </p14:cNvPr>
                <p14:cNvContentPartPr/>
                <p14:nvPr/>
              </p14:nvContentPartPr>
              <p14:xfrm>
                <a:off x="10328529" y="696402"/>
                <a:ext cx="26640" cy="17568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262ABE97-7EF3-4507-A909-0B6E5750625B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0310889" y="678762"/>
                  <a:ext cx="62280" cy="211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7B7DC33D-5935-435A-84A8-52DC601B46F8}"/>
                    </a:ext>
                  </a:extLst>
                </p14:cNvPr>
                <p14:cNvContentPartPr/>
                <p14:nvPr/>
              </p14:nvContentPartPr>
              <p14:xfrm>
                <a:off x="10252209" y="761922"/>
                <a:ext cx="275400" cy="8856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7B7DC33D-5935-435A-84A8-52DC601B46F8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10234569" y="743922"/>
                  <a:ext cx="311040" cy="12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91D3C5A0-42BC-4BE6-A1C4-43E358534ED6}"/>
                    </a:ext>
                  </a:extLst>
                </p14:cNvPr>
                <p14:cNvContentPartPr/>
                <p14:nvPr/>
              </p14:nvContentPartPr>
              <p14:xfrm>
                <a:off x="10600689" y="757242"/>
                <a:ext cx="82800" cy="6948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91D3C5A0-42BC-4BE6-A1C4-43E358534ED6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10582689" y="739242"/>
                  <a:ext cx="118440" cy="10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854C141B-011A-47B0-8DC9-CF3972261ED7}"/>
                    </a:ext>
                  </a:extLst>
                </p14:cNvPr>
                <p14:cNvContentPartPr/>
                <p14:nvPr/>
              </p14:nvContentPartPr>
              <p14:xfrm>
                <a:off x="10799769" y="731682"/>
                <a:ext cx="6840" cy="14148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854C141B-011A-47B0-8DC9-CF3972261ED7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10782129" y="714042"/>
                  <a:ext cx="42480" cy="17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43FEAF93-BC16-44B5-B265-5724FE12D4F0}"/>
                    </a:ext>
                  </a:extLst>
                </p14:cNvPr>
                <p14:cNvContentPartPr/>
                <p14:nvPr/>
              </p14:nvContentPartPr>
              <p14:xfrm>
                <a:off x="10855209" y="768042"/>
                <a:ext cx="359280" cy="12672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43FEAF93-BC16-44B5-B265-5724FE12D4F0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10837569" y="750042"/>
                  <a:ext cx="394920" cy="162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3AF3D48-44E6-4B88-A1FB-FB81A6DD44FD}"/>
              </a:ext>
            </a:extLst>
          </p:cNvPr>
          <p:cNvGrpSpPr/>
          <p:nvPr/>
        </p:nvGrpSpPr>
        <p:grpSpPr>
          <a:xfrm>
            <a:off x="11430129" y="759762"/>
            <a:ext cx="337680" cy="157680"/>
            <a:chOff x="11430129" y="759762"/>
            <a:chExt cx="337680" cy="1576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61C553E1-41BF-4086-A890-693E0CFD84AF}"/>
                    </a:ext>
                  </a:extLst>
                </p14:cNvPr>
                <p14:cNvContentPartPr/>
                <p14:nvPr/>
              </p14:nvContentPartPr>
              <p14:xfrm>
                <a:off x="11572689" y="759762"/>
                <a:ext cx="20160" cy="15768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61C553E1-41BF-4086-A890-693E0CFD84AF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11555049" y="741762"/>
                  <a:ext cx="55800" cy="19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6DB39A62-F61C-4867-A00E-7643005DA824}"/>
                    </a:ext>
                  </a:extLst>
                </p14:cNvPr>
                <p14:cNvContentPartPr/>
                <p14:nvPr/>
              </p14:nvContentPartPr>
              <p14:xfrm>
                <a:off x="11430129" y="789282"/>
                <a:ext cx="337680" cy="7344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6DB39A62-F61C-4867-A00E-7643005DA824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11412489" y="771282"/>
                  <a:ext cx="373320" cy="109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1F4F0B0-CF29-4A18-B19C-E5336439F10B}"/>
              </a:ext>
            </a:extLst>
          </p:cNvPr>
          <p:cNvGrpSpPr/>
          <p:nvPr/>
        </p:nvGrpSpPr>
        <p:grpSpPr>
          <a:xfrm>
            <a:off x="7627089" y="1193922"/>
            <a:ext cx="1933560" cy="246600"/>
            <a:chOff x="7627089" y="1193922"/>
            <a:chExt cx="1933560" cy="246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41059CE4-3DDA-450F-8EA7-18AA83620455}"/>
                    </a:ext>
                  </a:extLst>
                </p14:cNvPr>
                <p14:cNvContentPartPr/>
                <p14:nvPr/>
              </p14:nvContentPartPr>
              <p14:xfrm>
                <a:off x="7761009" y="1193922"/>
                <a:ext cx="38520" cy="23796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41059CE4-3DDA-450F-8EA7-18AA83620455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7743009" y="1176282"/>
                  <a:ext cx="74160" cy="27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2599EB09-2F83-4095-95E5-9FD9DFE95BC0}"/>
                    </a:ext>
                  </a:extLst>
                </p14:cNvPr>
                <p14:cNvContentPartPr/>
                <p14:nvPr/>
              </p14:nvContentPartPr>
              <p14:xfrm>
                <a:off x="7627089" y="1300842"/>
                <a:ext cx="641880" cy="13536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2599EB09-2F83-4095-95E5-9FD9DFE95BC0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7609449" y="1282842"/>
                  <a:ext cx="677520" cy="171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CAC7A827-90DD-446E-AD76-03565146C801}"/>
                    </a:ext>
                  </a:extLst>
                </p14:cNvPr>
                <p14:cNvContentPartPr/>
                <p14:nvPr/>
              </p14:nvContentPartPr>
              <p14:xfrm>
                <a:off x="8252049" y="1240002"/>
                <a:ext cx="12960" cy="5616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CAC7A827-90DD-446E-AD76-03565146C801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8234409" y="1222002"/>
                  <a:ext cx="48600" cy="9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1DCC754D-DA07-4810-AAEC-F81218EFB335}"/>
                    </a:ext>
                  </a:extLst>
                </p14:cNvPr>
                <p14:cNvContentPartPr/>
                <p14:nvPr/>
              </p14:nvContentPartPr>
              <p14:xfrm>
                <a:off x="8329809" y="1286802"/>
                <a:ext cx="135000" cy="14004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1DCC754D-DA07-4810-AAEC-F81218EFB335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8311809" y="1268802"/>
                  <a:ext cx="170640" cy="17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CC634762-062D-490E-B1B8-512613ED9FAB}"/>
                    </a:ext>
                  </a:extLst>
                </p14:cNvPr>
                <p14:cNvContentPartPr/>
                <p14:nvPr/>
              </p14:nvContentPartPr>
              <p14:xfrm>
                <a:off x="8558049" y="1312002"/>
                <a:ext cx="176760" cy="10836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CC634762-062D-490E-B1B8-512613ED9FAB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8540049" y="1294362"/>
                  <a:ext cx="212400" cy="14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9FCCEDD4-07B3-41A5-A1D4-891E6E1632DD}"/>
                    </a:ext>
                  </a:extLst>
                </p14:cNvPr>
                <p14:cNvContentPartPr/>
                <p14:nvPr/>
              </p14:nvContentPartPr>
              <p14:xfrm>
                <a:off x="8947929" y="1287522"/>
                <a:ext cx="5760" cy="1512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9FCCEDD4-07B3-41A5-A1D4-891E6E1632DD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8929929" y="1269522"/>
                  <a:ext cx="41400" cy="5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B4BAD6CA-4693-406B-9EFA-72144F5F941A}"/>
                    </a:ext>
                  </a:extLst>
                </p14:cNvPr>
                <p14:cNvContentPartPr/>
                <p14:nvPr/>
              </p14:nvContentPartPr>
              <p14:xfrm>
                <a:off x="8923449" y="1257282"/>
                <a:ext cx="164520" cy="18324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B4BAD6CA-4693-406B-9EFA-72144F5F941A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8905449" y="1239642"/>
                  <a:ext cx="200160" cy="21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22D12EE3-7BA7-4F9D-8B53-A37B84674BB8}"/>
                    </a:ext>
                  </a:extLst>
                </p14:cNvPr>
                <p14:cNvContentPartPr/>
                <p14:nvPr/>
              </p14:nvContentPartPr>
              <p14:xfrm>
                <a:off x="9137289" y="1291842"/>
                <a:ext cx="315360" cy="13356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22D12EE3-7BA7-4F9D-8B53-A37B84674BB8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9119649" y="1273842"/>
                  <a:ext cx="351000" cy="16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F2B9F485-A225-489B-BE3F-84607A20C5B8}"/>
                    </a:ext>
                  </a:extLst>
                </p14:cNvPr>
                <p14:cNvContentPartPr/>
                <p14:nvPr/>
              </p14:nvContentPartPr>
              <p14:xfrm>
                <a:off x="9433209" y="1245042"/>
                <a:ext cx="127440" cy="15516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F2B9F485-A225-489B-BE3F-84607A20C5B8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9415569" y="1227042"/>
                  <a:ext cx="163080" cy="1908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9095011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75B0A71-54C0-4D4F-B3E8-CE0A5D2AF2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138222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5303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0EE15DA-E5E5-44FC-A8CA-28F1230DAA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1905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7400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630A558-2BC1-40DC-8D5F-DBE39ACC15C2}"/>
              </a:ext>
            </a:extLst>
          </p:cNvPr>
          <p:cNvSpPr txBox="1"/>
          <p:nvPr/>
        </p:nvSpPr>
        <p:spPr>
          <a:xfrm>
            <a:off x="1552575" y="2600325"/>
            <a:ext cx="89439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dirty="0"/>
              <a:t>SIAMESE Network</a:t>
            </a:r>
          </a:p>
        </p:txBody>
      </p:sp>
    </p:spTree>
    <p:extLst>
      <p:ext uri="{BB962C8B-B14F-4D97-AF65-F5344CB8AC3E}">
        <p14:creationId xmlns:p14="http://schemas.microsoft.com/office/powerpoint/2010/main" val="41136894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630A558-2BC1-40DC-8D5F-DBE39ACC15C2}"/>
              </a:ext>
            </a:extLst>
          </p:cNvPr>
          <p:cNvSpPr txBox="1"/>
          <p:nvPr/>
        </p:nvSpPr>
        <p:spPr>
          <a:xfrm>
            <a:off x="1470381" y="2723615"/>
            <a:ext cx="96873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dirty="0"/>
              <a:t>Pairwise Similarity Score</a:t>
            </a:r>
          </a:p>
        </p:txBody>
      </p:sp>
    </p:spTree>
    <p:extLst>
      <p:ext uri="{BB962C8B-B14F-4D97-AF65-F5344CB8AC3E}">
        <p14:creationId xmlns:p14="http://schemas.microsoft.com/office/powerpoint/2010/main" val="8367584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E1B9DA5-BEF9-4632-B413-A9DB8D66B6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354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E1B9DA5-BEF9-4632-B413-A9DB8D66B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B122649-A7CE-49D7-B071-E5A99057AF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C4CBE07E-8B97-4D94-A2AF-ABEB8DA5D0AD}"/>
              </a:ext>
            </a:extLst>
          </p:cNvPr>
          <p:cNvGrpSpPr/>
          <p:nvPr/>
        </p:nvGrpSpPr>
        <p:grpSpPr>
          <a:xfrm>
            <a:off x="7503609" y="288522"/>
            <a:ext cx="3197520" cy="433080"/>
            <a:chOff x="7503609" y="288522"/>
            <a:chExt cx="3197520" cy="4330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07CD4228-29AD-4CD3-B4C3-C28147561D7B}"/>
                    </a:ext>
                  </a:extLst>
                </p14:cNvPr>
                <p14:cNvContentPartPr/>
                <p14:nvPr/>
              </p14:nvContentPartPr>
              <p14:xfrm>
                <a:off x="7503609" y="516402"/>
                <a:ext cx="235080" cy="4464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07CD4228-29AD-4CD3-B4C3-C28147561D7B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485609" y="498402"/>
                  <a:ext cx="27072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AC86D2A6-D502-4991-B72E-34D03A0E5B15}"/>
                    </a:ext>
                  </a:extLst>
                </p14:cNvPr>
                <p14:cNvContentPartPr/>
                <p14:nvPr/>
              </p14:nvContentPartPr>
              <p14:xfrm>
                <a:off x="8058729" y="382842"/>
                <a:ext cx="487440" cy="25560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AC86D2A6-D502-4991-B72E-34D03A0E5B15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041089" y="365202"/>
                  <a:ext cx="523080" cy="29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30B91EDA-DDCD-417F-88A6-785B168E33B0}"/>
                    </a:ext>
                  </a:extLst>
                </p14:cNvPr>
                <p14:cNvContentPartPr/>
                <p14:nvPr/>
              </p14:nvContentPartPr>
              <p14:xfrm>
                <a:off x="8587209" y="383562"/>
                <a:ext cx="195840" cy="22104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30B91EDA-DDCD-417F-88A6-785B168E33B0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8569209" y="365922"/>
                  <a:ext cx="231480" cy="256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3927B1D3-F30B-484B-AA59-EEFD2C91BD82}"/>
                    </a:ext>
                  </a:extLst>
                </p14:cNvPr>
                <p14:cNvContentPartPr/>
                <p14:nvPr/>
              </p14:nvContentPartPr>
              <p14:xfrm>
                <a:off x="8817249" y="453762"/>
                <a:ext cx="114480" cy="10908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3927B1D3-F30B-484B-AA59-EEFD2C91BD82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799609" y="435762"/>
                  <a:ext cx="150120" cy="14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0A96A0D1-6C65-4733-B51D-955503DFB29F}"/>
                    </a:ext>
                  </a:extLst>
                </p14:cNvPr>
                <p14:cNvContentPartPr/>
                <p14:nvPr/>
              </p14:nvContentPartPr>
              <p14:xfrm>
                <a:off x="8984289" y="332442"/>
                <a:ext cx="113040" cy="16524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0A96A0D1-6C65-4733-B51D-955503DFB29F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966649" y="314802"/>
                  <a:ext cx="148680" cy="20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62519990-C221-481E-87C5-34B6CDD05848}"/>
                    </a:ext>
                  </a:extLst>
                </p14:cNvPr>
                <p14:cNvContentPartPr/>
                <p14:nvPr/>
              </p14:nvContentPartPr>
              <p14:xfrm>
                <a:off x="9388929" y="313002"/>
                <a:ext cx="462960" cy="32832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62519990-C221-481E-87C5-34B6CDD05848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9371289" y="295362"/>
                  <a:ext cx="498600" cy="363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BB113BE4-2B14-429C-99C3-D843816C4AD6}"/>
                    </a:ext>
                  </a:extLst>
                </p14:cNvPr>
                <p14:cNvContentPartPr/>
                <p14:nvPr/>
              </p14:nvContentPartPr>
              <p14:xfrm>
                <a:off x="9808329" y="288522"/>
                <a:ext cx="666720" cy="43308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BB113BE4-2B14-429C-99C3-D843816C4AD6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9790689" y="270882"/>
                  <a:ext cx="702360" cy="468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1D049B4B-04FD-4D84-8732-1AEFCF837B74}"/>
                    </a:ext>
                  </a:extLst>
                </p14:cNvPr>
                <p14:cNvContentPartPr/>
                <p14:nvPr/>
              </p14:nvContentPartPr>
              <p14:xfrm>
                <a:off x="10431129" y="375282"/>
                <a:ext cx="270000" cy="12276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1D049B4B-04FD-4D84-8732-1AEFCF837B74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0413129" y="357282"/>
                  <a:ext cx="305640" cy="1584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4930570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4AEC20B-A9F9-4A95-B1CD-7EA161A79F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0599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25DC0D7-A464-4EB7-972C-3E61A9D54A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303B43F-644F-411A-BD84-F66B5CA55FAD}"/>
              </a:ext>
            </a:extLst>
          </p:cNvPr>
          <p:cNvGrpSpPr/>
          <p:nvPr/>
        </p:nvGrpSpPr>
        <p:grpSpPr>
          <a:xfrm>
            <a:off x="1207875" y="4487385"/>
            <a:ext cx="2091960" cy="772200"/>
            <a:chOff x="1207875" y="4487385"/>
            <a:chExt cx="2091960" cy="7722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F49F9DDB-A494-428E-901E-5A0F0D0EC5F5}"/>
                    </a:ext>
                  </a:extLst>
                </p14:cNvPr>
                <p14:cNvContentPartPr/>
                <p14:nvPr/>
              </p14:nvContentPartPr>
              <p14:xfrm>
                <a:off x="1207875" y="4487385"/>
                <a:ext cx="888480" cy="77220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F49F9DDB-A494-428E-901E-5A0F0D0EC5F5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189875" y="4469745"/>
                  <a:ext cx="924120" cy="80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49191370-C7C3-4EDE-B372-87521F124378}"/>
                    </a:ext>
                  </a:extLst>
                </p14:cNvPr>
                <p14:cNvContentPartPr/>
                <p14:nvPr/>
              </p14:nvContentPartPr>
              <p14:xfrm>
                <a:off x="2165475" y="4920465"/>
                <a:ext cx="219600" cy="2520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49191370-C7C3-4EDE-B372-87521F124378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147835" y="4902825"/>
                  <a:ext cx="25524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053772B0-83C4-4B11-914A-7BB338347B58}"/>
                    </a:ext>
                  </a:extLst>
                </p14:cNvPr>
                <p14:cNvContentPartPr/>
                <p14:nvPr/>
              </p14:nvContentPartPr>
              <p14:xfrm>
                <a:off x="2488755" y="4812465"/>
                <a:ext cx="7920" cy="15012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053772B0-83C4-4B11-914A-7BB338347B58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2471115" y="4794465"/>
                  <a:ext cx="43560" cy="18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9ED1F641-E2B8-41AB-AF95-84FD88E1A178}"/>
                    </a:ext>
                  </a:extLst>
                </p14:cNvPr>
                <p14:cNvContentPartPr/>
                <p14:nvPr/>
              </p14:nvContentPartPr>
              <p14:xfrm>
                <a:off x="2412795" y="4742985"/>
                <a:ext cx="27720" cy="3780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9ED1F641-E2B8-41AB-AF95-84FD88E1A178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2395155" y="4725345"/>
                  <a:ext cx="63360" cy="7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7ED27853-2E43-4F2A-B210-3DBEFA6C4DB2}"/>
                    </a:ext>
                  </a:extLst>
                </p14:cNvPr>
                <p14:cNvContentPartPr/>
                <p14:nvPr/>
              </p14:nvContentPartPr>
              <p14:xfrm>
                <a:off x="2575515" y="4797345"/>
                <a:ext cx="167760" cy="17928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7ED27853-2E43-4F2A-B210-3DBEFA6C4DB2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2557875" y="4779705"/>
                  <a:ext cx="203400" cy="21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BE849363-CF28-458B-A02C-98EBCBE0D945}"/>
                    </a:ext>
                  </a:extLst>
                </p14:cNvPr>
                <p14:cNvContentPartPr/>
                <p14:nvPr/>
              </p14:nvContentPartPr>
              <p14:xfrm>
                <a:off x="2812395" y="4771785"/>
                <a:ext cx="142200" cy="20088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BE849363-CF28-458B-A02C-98EBCBE0D945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2794755" y="4753785"/>
                  <a:ext cx="177840" cy="23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21A970E4-F34D-4295-9655-505F565B338B}"/>
                    </a:ext>
                  </a:extLst>
                </p14:cNvPr>
                <p14:cNvContentPartPr/>
                <p14:nvPr/>
              </p14:nvContentPartPr>
              <p14:xfrm>
                <a:off x="2968635" y="4741185"/>
                <a:ext cx="242280" cy="19008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21A970E4-F34D-4295-9655-505F565B338B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2950995" y="4723185"/>
                  <a:ext cx="277920" cy="22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E48CE6B6-8433-43C5-A984-B64809B424B5}"/>
                    </a:ext>
                  </a:extLst>
                </p14:cNvPr>
                <p14:cNvContentPartPr/>
                <p14:nvPr/>
              </p14:nvContentPartPr>
              <p14:xfrm>
                <a:off x="3119475" y="4761705"/>
                <a:ext cx="180360" cy="3132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E48CE6B6-8433-43C5-A984-B64809B424B5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3101475" y="4744065"/>
                  <a:ext cx="216000" cy="66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BCC622C-26F1-4177-9EC0-B164904AFFF7}"/>
              </a:ext>
            </a:extLst>
          </p:cNvPr>
          <p:cNvGrpSpPr/>
          <p:nvPr/>
        </p:nvGrpSpPr>
        <p:grpSpPr>
          <a:xfrm>
            <a:off x="10308315" y="5321145"/>
            <a:ext cx="1050840" cy="306000"/>
            <a:chOff x="10308315" y="5321145"/>
            <a:chExt cx="1050840" cy="306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04928350-A417-4DF6-BF90-713B14DF37B4}"/>
                    </a:ext>
                  </a:extLst>
                </p14:cNvPr>
                <p14:cNvContentPartPr/>
                <p14:nvPr/>
              </p14:nvContentPartPr>
              <p14:xfrm>
                <a:off x="10308315" y="5352825"/>
                <a:ext cx="165600" cy="21636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04928350-A417-4DF6-BF90-713B14DF37B4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0290315" y="5334825"/>
                  <a:ext cx="201240" cy="25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234E67CE-8956-48CB-9B19-2B2CB8B926A7}"/>
                    </a:ext>
                  </a:extLst>
                </p14:cNvPr>
                <p14:cNvContentPartPr/>
                <p14:nvPr/>
              </p14:nvContentPartPr>
              <p14:xfrm>
                <a:off x="10521435" y="5334105"/>
                <a:ext cx="273960" cy="19980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234E67CE-8956-48CB-9B19-2B2CB8B926A7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0503435" y="5316105"/>
                  <a:ext cx="309600" cy="23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A124F9BE-A8CA-44DA-A7BA-8E56406A8F71}"/>
                    </a:ext>
                  </a:extLst>
                </p14:cNvPr>
                <p14:cNvContentPartPr/>
                <p14:nvPr/>
              </p14:nvContentPartPr>
              <p14:xfrm>
                <a:off x="10753995" y="5374065"/>
                <a:ext cx="253080" cy="25308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A124F9BE-A8CA-44DA-A7BA-8E56406A8F71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735995" y="5356425"/>
                  <a:ext cx="288720" cy="288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D58DBD33-DC47-4D10-8EF7-12CC84B572FD}"/>
                    </a:ext>
                  </a:extLst>
                </p14:cNvPr>
                <p14:cNvContentPartPr/>
                <p14:nvPr/>
              </p14:nvContentPartPr>
              <p14:xfrm>
                <a:off x="11029035" y="5321145"/>
                <a:ext cx="183240" cy="24480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D58DBD33-DC47-4D10-8EF7-12CC84B572FD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1011035" y="5303145"/>
                  <a:ext cx="218880" cy="280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FE311FBE-4016-495D-A259-3311DF304455}"/>
                    </a:ext>
                  </a:extLst>
                </p14:cNvPr>
                <p14:cNvContentPartPr/>
                <p14:nvPr/>
              </p14:nvContentPartPr>
              <p14:xfrm>
                <a:off x="11199675" y="5405385"/>
                <a:ext cx="159480" cy="6372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FE311FBE-4016-495D-A259-3311DF304455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1181675" y="5387385"/>
                  <a:ext cx="195120" cy="9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097836A8-A15A-4A8E-B7A3-3A164BCC1156}"/>
                    </a:ext>
                  </a:extLst>
                </p14:cNvPr>
                <p14:cNvContentPartPr/>
                <p14:nvPr/>
              </p14:nvContentPartPr>
              <p14:xfrm>
                <a:off x="10797195" y="5411145"/>
                <a:ext cx="20520" cy="12852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097836A8-A15A-4A8E-B7A3-3A164BCC1156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779195" y="5393145"/>
                  <a:ext cx="56160" cy="16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5433B068-F9C1-443E-9B46-8EE2565D3926}"/>
                    </a:ext>
                  </a:extLst>
                </p14:cNvPr>
                <p14:cNvContentPartPr/>
                <p14:nvPr/>
              </p14:nvContentPartPr>
              <p14:xfrm>
                <a:off x="10740315" y="5415825"/>
                <a:ext cx="81000" cy="360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5433B068-F9C1-443E-9B46-8EE2565D3926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0722315" y="5397825"/>
                  <a:ext cx="116640" cy="392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A1B3C0C-55D1-4012-AD86-4BB8B25584B3}"/>
              </a:ext>
            </a:extLst>
          </p:cNvPr>
          <p:cNvGrpSpPr/>
          <p:nvPr/>
        </p:nvGrpSpPr>
        <p:grpSpPr>
          <a:xfrm>
            <a:off x="10319169" y="1593882"/>
            <a:ext cx="913680" cy="321480"/>
            <a:chOff x="10319169" y="1593882"/>
            <a:chExt cx="913680" cy="3214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" name="Ink 1">
                  <a:extLst>
                    <a:ext uri="{FF2B5EF4-FFF2-40B4-BE49-F238E27FC236}">
                      <a16:creationId xmlns:a16="http://schemas.microsoft.com/office/drawing/2014/main" id="{8CD419AC-3637-46E0-8F32-488D25431BC4}"/>
                    </a:ext>
                  </a:extLst>
                </p14:cNvPr>
                <p14:cNvContentPartPr/>
                <p14:nvPr/>
              </p14:nvContentPartPr>
              <p14:xfrm>
                <a:off x="10461369" y="1639602"/>
                <a:ext cx="5760" cy="198720"/>
              </p14:xfrm>
            </p:contentPart>
          </mc:Choice>
          <mc:Fallback xmlns="">
            <p:pic>
              <p:nvPicPr>
                <p:cNvPr id="2" name="Ink 1">
                  <a:extLst>
                    <a:ext uri="{FF2B5EF4-FFF2-40B4-BE49-F238E27FC236}">
                      <a16:creationId xmlns:a16="http://schemas.microsoft.com/office/drawing/2014/main" id="{8CD419AC-3637-46E0-8F32-488D25431BC4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0443729" y="1621962"/>
                  <a:ext cx="41400" cy="23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F7A6EA9E-BC36-406E-8237-40D6ABB7A0FE}"/>
                    </a:ext>
                  </a:extLst>
                </p14:cNvPr>
                <p14:cNvContentPartPr/>
                <p14:nvPr/>
              </p14:nvContentPartPr>
              <p14:xfrm>
                <a:off x="10597449" y="1605402"/>
                <a:ext cx="305280" cy="23580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F7A6EA9E-BC36-406E-8237-40D6ABB7A0FE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0579449" y="1587762"/>
                  <a:ext cx="340920" cy="27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0E7D69CC-61EA-428C-9E54-6EC11E5B5BA5}"/>
                    </a:ext>
                  </a:extLst>
                </p14:cNvPr>
                <p14:cNvContentPartPr/>
                <p14:nvPr/>
              </p14:nvContentPartPr>
              <p14:xfrm>
                <a:off x="10848369" y="1614402"/>
                <a:ext cx="156600" cy="24516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0E7D69CC-61EA-428C-9E54-6EC11E5B5BA5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0830729" y="1596762"/>
                  <a:ext cx="192240" cy="28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4BA32C31-E1CF-493B-A60B-457F72671431}"/>
                    </a:ext>
                  </a:extLst>
                </p14:cNvPr>
                <p14:cNvContentPartPr/>
                <p14:nvPr/>
              </p14:nvContentPartPr>
              <p14:xfrm>
                <a:off x="11120169" y="1593882"/>
                <a:ext cx="112680" cy="28584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4BA32C31-E1CF-493B-A60B-457F72671431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1102169" y="1576242"/>
                  <a:ext cx="148320" cy="32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CC8FB7F4-6658-4BA5-BDA3-A33B5FBD39D2}"/>
                    </a:ext>
                  </a:extLst>
                </p14:cNvPr>
                <p14:cNvContentPartPr/>
                <p14:nvPr/>
              </p14:nvContentPartPr>
              <p14:xfrm>
                <a:off x="10319169" y="1640322"/>
                <a:ext cx="66600" cy="24984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CC8FB7F4-6658-4BA5-BDA3-A33B5FBD39D2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0301169" y="1622682"/>
                  <a:ext cx="102240" cy="28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22503142-AB46-4496-8E7E-F65ABEDE19C6}"/>
                    </a:ext>
                  </a:extLst>
                </p14:cNvPr>
                <p14:cNvContentPartPr/>
                <p14:nvPr/>
              </p14:nvContentPartPr>
              <p14:xfrm>
                <a:off x="11054649" y="1836162"/>
                <a:ext cx="68760" cy="7920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22503142-AB46-4496-8E7E-F65ABEDE19C6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1037009" y="1818162"/>
                  <a:ext cx="104400" cy="114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03DCC31-54C0-4DAE-B04E-287DFB348227}"/>
              </a:ext>
            </a:extLst>
          </p:cNvPr>
          <p:cNvGrpSpPr/>
          <p:nvPr/>
        </p:nvGrpSpPr>
        <p:grpSpPr>
          <a:xfrm>
            <a:off x="552729" y="606042"/>
            <a:ext cx="684720" cy="340200"/>
            <a:chOff x="552729" y="606042"/>
            <a:chExt cx="684720" cy="3402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0D8E101B-6D60-4519-8A65-8C60FEE5157F}"/>
                    </a:ext>
                  </a:extLst>
                </p14:cNvPr>
                <p14:cNvContentPartPr/>
                <p14:nvPr/>
              </p14:nvContentPartPr>
              <p14:xfrm>
                <a:off x="552729" y="619362"/>
                <a:ext cx="14040" cy="32688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0D8E101B-6D60-4519-8A65-8C60FEE5157F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535089" y="601362"/>
                  <a:ext cx="49680" cy="36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F54DC79A-215C-487D-8AB0-416BFCD3FF85}"/>
                    </a:ext>
                  </a:extLst>
                </p14:cNvPr>
                <p14:cNvContentPartPr/>
                <p14:nvPr/>
              </p14:nvContentPartPr>
              <p14:xfrm>
                <a:off x="647769" y="694602"/>
                <a:ext cx="235800" cy="19872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F54DC79A-215C-487D-8AB0-416BFCD3FF85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629769" y="676602"/>
                  <a:ext cx="271440" cy="23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4ECB817D-08BC-4150-BB26-0202956E30FF}"/>
                    </a:ext>
                  </a:extLst>
                </p14:cNvPr>
                <p14:cNvContentPartPr/>
                <p14:nvPr/>
              </p14:nvContentPartPr>
              <p14:xfrm>
                <a:off x="881049" y="620442"/>
                <a:ext cx="162360" cy="19980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4ECB817D-08BC-4150-BB26-0202956E30FF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863049" y="602442"/>
                  <a:ext cx="198000" cy="23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49F4E15D-DF81-4370-B65E-CA9AFF8372BA}"/>
                    </a:ext>
                  </a:extLst>
                </p14:cNvPr>
                <p14:cNvContentPartPr/>
                <p14:nvPr/>
              </p14:nvContentPartPr>
              <p14:xfrm>
                <a:off x="1170129" y="606042"/>
                <a:ext cx="67320" cy="17856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49F4E15D-DF81-4370-B65E-CA9AFF8372BA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1152489" y="588402"/>
                  <a:ext cx="102960" cy="2142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56">
            <p14:nvContentPartPr>
              <p14:cNvPr id="50" name="Ink 49">
                <a:extLst>
                  <a:ext uri="{FF2B5EF4-FFF2-40B4-BE49-F238E27FC236}">
                    <a16:creationId xmlns:a16="http://schemas.microsoft.com/office/drawing/2014/main" id="{856396BA-EB63-405C-823C-B05875F5D198}"/>
                  </a:ext>
                </a:extLst>
              </p14:cNvPr>
              <p14:cNvContentPartPr/>
              <p14:nvPr/>
            </p14:nvContentPartPr>
            <p14:xfrm>
              <a:off x="1392249" y="642042"/>
              <a:ext cx="39960" cy="205200"/>
            </p14:xfrm>
          </p:contentPart>
        </mc:Choice>
        <mc:Fallback xmlns="">
          <p:pic>
            <p:nvPicPr>
              <p:cNvPr id="50" name="Ink 49">
                <a:extLst>
                  <a:ext uri="{FF2B5EF4-FFF2-40B4-BE49-F238E27FC236}">
                    <a16:creationId xmlns:a16="http://schemas.microsoft.com/office/drawing/2014/main" id="{856396BA-EB63-405C-823C-B05875F5D198}"/>
                  </a:ext>
                </a:extLst>
              </p:cNvPr>
              <p:cNvPicPr/>
              <p:nvPr/>
            </p:nvPicPr>
            <p:blipFill>
              <a:blip r:embed="rId57"/>
              <a:stretch>
                <a:fillRect/>
              </a:stretch>
            </p:blipFill>
            <p:spPr>
              <a:xfrm>
                <a:off x="1374609" y="624402"/>
                <a:ext cx="75600" cy="240840"/>
              </a:xfrm>
              <a:prstGeom prst="rect">
                <a:avLst/>
              </a:prstGeom>
            </p:spPr>
          </p:pic>
        </mc:Fallback>
      </mc:AlternateContent>
      <p:grpSp>
        <p:nvGrpSpPr>
          <p:cNvPr id="60" name="Group 59">
            <a:extLst>
              <a:ext uri="{FF2B5EF4-FFF2-40B4-BE49-F238E27FC236}">
                <a16:creationId xmlns:a16="http://schemas.microsoft.com/office/drawing/2014/main" id="{D099EDCF-5E7D-42EB-B04A-3A4A43BB1B77}"/>
              </a:ext>
            </a:extLst>
          </p:cNvPr>
          <p:cNvGrpSpPr/>
          <p:nvPr/>
        </p:nvGrpSpPr>
        <p:grpSpPr>
          <a:xfrm>
            <a:off x="1608969" y="721242"/>
            <a:ext cx="127800" cy="136800"/>
            <a:chOff x="1608969" y="721242"/>
            <a:chExt cx="127800" cy="136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C006AA14-537A-44DD-BD6C-B15F09763ED9}"/>
                    </a:ext>
                  </a:extLst>
                </p14:cNvPr>
                <p14:cNvContentPartPr/>
                <p14:nvPr/>
              </p14:nvContentPartPr>
              <p14:xfrm>
                <a:off x="1608969" y="747882"/>
                <a:ext cx="74160" cy="11016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C006AA14-537A-44DD-BD6C-B15F09763ED9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1591329" y="729882"/>
                  <a:ext cx="109800" cy="14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94F31469-74A3-4BB5-A0DD-397360A28FB8}"/>
                    </a:ext>
                  </a:extLst>
                </p14:cNvPr>
                <p14:cNvContentPartPr/>
                <p14:nvPr/>
              </p14:nvContentPartPr>
              <p14:xfrm>
                <a:off x="1723089" y="721242"/>
                <a:ext cx="13680" cy="12960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94F31469-74A3-4BB5-A0DD-397360A28FB8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1705449" y="703602"/>
                  <a:ext cx="49320" cy="1652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62">
            <p14:nvContentPartPr>
              <p14:cNvPr id="53" name="Ink 52">
                <a:extLst>
                  <a:ext uri="{FF2B5EF4-FFF2-40B4-BE49-F238E27FC236}">
                    <a16:creationId xmlns:a16="http://schemas.microsoft.com/office/drawing/2014/main" id="{2555483B-6F5B-49BB-8909-13F596206C97}"/>
                  </a:ext>
                </a:extLst>
              </p14:cNvPr>
              <p14:cNvContentPartPr/>
              <p14:nvPr/>
            </p14:nvContentPartPr>
            <p14:xfrm>
              <a:off x="2158689" y="720882"/>
              <a:ext cx="147240" cy="240480"/>
            </p14:xfrm>
          </p:contentPart>
        </mc:Choice>
        <mc:Fallback xmlns="">
          <p:pic>
            <p:nvPicPr>
              <p:cNvPr id="53" name="Ink 52">
                <a:extLst>
                  <a:ext uri="{FF2B5EF4-FFF2-40B4-BE49-F238E27FC236}">
                    <a16:creationId xmlns:a16="http://schemas.microsoft.com/office/drawing/2014/main" id="{2555483B-6F5B-49BB-8909-13F596206C97}"/>
                  </a:ext>
                </a:extLst>
              </p:cNvPr>
              <p:cNvPicPr/>
              <p:nvPr/>
            </p:nvPicPr>
            <p:blipFill>
              <a:blip r:embed="rId63"/>
              <a:stretch>
                <a:fillRect/>
              </a:stretch>
            </p:blipFill>
            <p:spPr>
              <a:xfrm>
                <a:off x="2141049" y="703242"/>
                <a:ext cx="182880" cy="276120"/>
              </a:xfrm>
              <a:prstGeom prst="rect">
                <a:avLst/>
              </a:prstGeom>
            </p:spPr>
          </p:pic>
        </mc:Fallback>
      </mc:AlternateContent>
      <p:grpSp>
        <p:nvGrpSpPr>
          <p:cNvPr id="64" name="Group 63">
            <a:extLst>
              <a:ext uri="{FF2B5EF4-FFF2-40B4-BE49-F238E27FC236}">
                <a16:creationId xmlns:a16="http://schemas.microsoft.com/office/drawing/2014/main" id="{9B482001-A8B8-4077-8CA1-AAA542183A1F}"/>
              </a:ext>
            </a:extLst>
          </p:cNvPr>
          <p:cNvGrpSpPr/>
          <p:nvPr/>
        </p:nvGrpSpPr>
        <p:grpSpPr>
          <a:xfrm>
            <a:off x="3627129" y="376002"/>
            <a:ext cx="7325640" cy="884880"/>
            <a:chOff x="3627129" y="376002"/>
            <a:chExt cx="7325640" cy="8848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0AA9F571-1209-4063-86F0-9D6853BC9BB7}"/>
                    </a:ext>
                  </a:extLst>
                </p14:cNvPr>
                <p14:cNvContentPartPr/>
                <p14:nvPr/>
              </p14:nvContentPartPr>
              <p14:xfrm>
                <a:off x="9697089" y="376002"/>
                <a:ext cx="182160" cy="21672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0AA9F571-1209-4063-86F0-9D6853BC9BB7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9679449" y="358002"/>
                  <a:ext cx="217800" cy="25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A5F5F2FF-D8AA-451E-A72D-BB8E253DD99A}"/>
                    </a:ext>
                  </a:extLst>
                </p14:cNvPr>
                <p14:cNvContentPartPr/>
                <p14:nvPr/>
              </p14:nvContentPartPr>
              <p14:xfrm>
                <a:off x="9745329" y="503802"/>
                <a:ext cx="72720" cy="1908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A5F5F2FF-D8AA-451E-A72D-BB8E253DD99A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9727689" y="486162"/>
                  <a:ext cx="10836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74F9A41B-A02B-4BB8-8EBE-B156AF7F5E2E}"/>
                    </a:ext>
                  </a:extLst>
                </p14:cNvPr>
                <p14:cNvContentPartPr/>
                <p14:nvPr/>
              </p14:nvContentPartPr>
              <p14:xfrm>
                <a:off x="10012449" y="383562"/>
                <a:ext cx="142560" cy="20988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74F9A41B-A02B-4BB8-8EBE-B156AF7F5E2E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9994809" y="365562"/>
                  <a:ext cx="178200" cy="24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F4170583-7D1B-4708-ACED-CAC5E7EA8ADC}"/>
                    </a:ext>
                  </a:extLst>
                </p14:cNvPr>
                <p14:cNvContentPartPr/>
                <p14:nvPr/>
              </p14:nvContentPartPr>
              <p14:xfrm>
                <a:off x="10228449" y="415962"/>
                <a:ext cx="444960" cy="22068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F4170583-7D1B-4708-ACED-CAC5E7EA8ADC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10210809" y="397962"/>
                  <a:ext cx="480600" cy="25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D7315DCD-58A6-49E5-8FA5-2D240977E4C6}"/>
                    </a:ext>
                  </a:extLst>
                </p14:cNvPr>
                <p14:cNvContentPartPr/>
                <p14:nvPr/>
              </p14:nvContentPartPr>
              <p14:xfrm>
                <a:off x="10671969" y="410202"/>
                <a:ext cx="181800" cy="14724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D7315DCD-58A6-49E5-8FA5-2D240977E4C6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10653969" y="392562"/>
                  <a:ext cx="217440" cy="18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41B726ED-D599-4CCF-A54F-A86DC181E303}"/>
                    </a:ext>
                  </a:extLst>
                </p14:cNvPr>
                <p14:cNvContentPartPr/>
                <p14:nvPr/>
              </p14:nvContentPartPr>
              <p14:xfrm>
                <a:off x="9767649" y="852642"/>
                <a:ext cx="182520" cy="900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41B726ED-D599-4CCF-A54F-A86DC181E303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9749649" y="834642"/>
                  <a:ext cx="218160" cy="4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0525A8F0-E2E4-43C6-B64F-DBCA6D68F2B3}"/>
                    </a:ext>
                  </a:extLst>
                </p14:cNvPr>
                <p14:cNvContentPartPr/>
                <p14:nvPr/>
              </p14:nvContentPartPr>
              <p14:xfrm>
                <a:off x="9776649" y="829602"/>
                <a:ext cx="397080" cy="18108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0525A8F0-E2E4-43C6-B64F-DBCA6D68F2B3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9758649" y="811962"/>
                  <a:ext cx="432720" cy="21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9333FBE4-FE89-4E9F-B047-722987D5C992}"/>
                    </a:ext>
                  </a:extLst>
                </p14:cNvPr>
                <p14:cNvContentPartPr/>
                <p14:nvPr/>
              </p14:nvContentPartPr>
              <p14:xfrm>
                <a:off x="10328529" y="859842"/>
                <a:ext cx="12960" cy="12816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9333FBE4-FE89-4E9F-B047-722987D5C992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0310889" y="841842"/>
                  <a:ext cx="48600" cy="16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C60CF0A3-2B80-45AA-B06F-9C203D6DF3A1}"/>
                    </a:ext>
                  </a:extLst>
                </p14:cNvPr>
                <p14:cNvContentPartPr/>
                <p14:nvPr/>
              </p14:nvContentPartPr>
              <p14:xfrm>
                <a:off x="10390089" y="906282"/>
                <a:ext cx="100440" cy="14796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C60CF0A3-2B80-45AA-B06F-9C203D6DF3A1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10372449" y="888282"/>
                  <a:ext cx="136080" cy="18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E5E96EB6-48FF-4958-AFD4-3A47FCD13FDA}"/>
                    </a:ext>
                  </a:extLst>
                </p14:cNvPr>
                <p14:cNvContentPartPr/>
                <p14:nvPr/>
              </p14:nvContentPartPr>
              <p14:xfrm>
                <a:off x="10539849" y="892242"/>
                <a:ext cx="215280" cy="19260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E5E96EB6-48FF-4958-AFD4-3A47FCD13FDA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10522209" y="874602"/>
                  <a:ext cx="250920" cy="22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A2601BB8-4BF9-47A0-B707-3ADACEDC20B9}"/>
                    </a:ext>
                  </a:extLst>
                </p14:cNvPr>
                <p14:cNvContentPartPr/>
                <p14:nvPr/>
              </p14:nvContentPartPr>
              <p14:xfrm>
                <a:off x="10880049" y="857322"/>
                <a:ext cx="72720" cy="19044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A2601BB8-4BF9-47A0-B707-3ADACEDC20B9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10862409" y="839682"/>
                  <a:ext cx="108360" cy="22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E9C44D24-0D34-475D-B377-91F2581CAD32}"/>
                    </a:ext>
                  </a:extLst>
                </p14:cNvPr>
                <p14:cNvContentPartPr/>
                <p14:nvPr/>
              </p14:nvContentPartPr>
              <p14:xfrm>
                <a:off x="3716769" y="558162"/>
                <a:ext cx="5973840" cy="702720"/>
              </p14:xfrm>
            </p:contentPart>
          </mc:Choice>
          <mc:Fallback xmlns=""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E9C44D24-0D34-475D-B377-91F2581CAD32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3698769" y="540522"/>
                  <a:ext cx="6009480" cy="738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581C1846-F58A-4E44-8877-A1C87AA6747F}"/>
                    </a:ext>
                  </a:extLst>
                </p14:cNvPr>
                <p14:cNvContentPartPr/>
                <p14:nvPr/>
              </p14:nvContentPartPr>
              <p14:xfrm>
                <a:off x="3627129" y="984402"/>
                <a:ext cx="225000" cy="239760"/>
              </p14:xfrm>
            </p:contentPart>
          </mc:Choice>
          <mc:Fallback xmlns=""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581C1846-F58A-4E44-8877-A1C87AA6747F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3609489" y="966402"/>
                  <a:ext cx="260640" cy="275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E5ECB5B-3624-44BD-A087-5DA15E94C73B}"/>
              </a:ext>
            </a:extLst>
          </p:cNvPr>
          <p:cNvGrpSpPr/>
          <p:nvPr/>
        </p:nvGrpSpPr>
        <p:grpSpPr>
          <a:xfrm>
            <a:off x="2467209" y="748602"/>
            <a:ext cx="936000" cy="315360"/>
            <a:chOff x="2467209" y="748602"/>
            <a:chExt cx="936000" cy="315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02ABB39D-06DA-4C15-901F-58C55F251895}"/>
                    </a:ext>
                  </a:extLst>
                </p14:cNvPr>
                <p14:cNvContentPartPr/>
                <p14:nvPr/>
              </p14:nvContentPartPr>
              <p14:xfrm>
                <a:off x="2467209" y="748602"/>
                <a:ext cx="37440" cy="22212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02ABB39D-06DA-4C15-901F-58C55F251895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2449209" y="730602"/>
                  <a:ext cx="73080" cy="25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DEFDA433-2FF1-4944-99D0-CC9F1BF35356}"/>
                    </a:ext>
                  </a:extLst>
                </p14:cNvPr>
                <p14:cNvContentPartPr/>
                <p14:nvPr/>
              </p14:nvContentPartPr>
              <p14:xfrm>
                <a:off x="2578089" y="790362"/>
                <a:ext cx="235440" cy="20520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DEFDA433-2FF1-4944-99D0-CC9F1BF35356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2560449" y="772722"/>
                  <a:ext cx="271080" cy="24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1277E416-F013-4921-ACDD-B624DB52439E}"/>
                    </a:ext>
                  </a:extLst>
                </p14:cNvPr>
                <p14:cNvContentPartPr/>
                <p14:nvPr/>
              </p14:nvContentPartPr>
              <p14:xfrm>
                <a:off x="2846289" y="791802"/>
                <a:ext cx="249480" cy="218160"/>
              </p14:xfrm>
            </p:contentPart>
          </mc:Choice>
          <mc:Fallback xmlns=""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1277E416-F013-4921-ACDD-B624DB52439E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2828289" y="774162"/>
                  <a:ext cx="285120" cy="25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1D417483-ED13-4AD3-BC36-6E093BAA64DD}"/>
                    </a:ext>
                  </a:extLst>
                </p14:cNvPr>
                <p14:cNvContentPartPr/>
                <p14:nvPr/>
              </p14:nvContentPartPr>
              <p14:xfrm>
                <a:off x="3204849" y="840042"/>
                <a:ext cx="39240" cy="139320"/>
              </p14:xfrm>
            </p:contentPart>
          </mc:Choice>
          <mc:Fallback xmlns=""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1D417483-ED13-4AD3-BC36-6E093BAA64DD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3187209" y="822402"/>
                  <a:ext cx="74880" cy="17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FD7FAF75-2852-45A7-97D5-2C745F8E66E9}"/>
                    </a:ext>
                  </a:extLst>
                </p14:cNvPr>
                <p14:cNvContentPartPr/>
                <p14:nvPr/>
              </p14:nvContentPartPr>
              <p14:xfrm>
                <a:off x="3320049" y="815922"/>
                <a:ext cx="83160" cy="248040"/>
              </p14:xfrm>
            </p:contentPart>
          </mc:Choice>
          <mc:Fallback xmlns=""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FD7FAF75-2852-45A7-97D5-2C745F8E66E9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3302049" y="797922"/>
                  <a:ext cx="118800" cy="28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65" name="Ink 64">
                  <a:extLst>
                    <a:ext uri="{FF2B5EF4-FFF2-40B4-BE49-F238E27FC236}">
                      <a16:creationId xmlns:a16="http://schemas.microsoft.com/office/drawing/2014/main" id="{308F1DA8-6089-4221-AFBD-B1C1AF2BC63A}"/>
                    </a:ext>
                  </a:extLst>
                </p14:cNvPr>
                <p14:cNvContentPartPr/>
                <p14:nvPr/>
              </p14:nvContentPartPr>
              <p14:xfrm>
                <a:off x="3231489" y="776322"/>
                <a:ext cx="70920" cy="176040"/>
              </p14:xfrm>
            </p:contentPart>
          </mc:Choice>
          <mc:Fallback xmlns="">
            <p:pic>
              <p:nvPicPr>
                <p:cNvPr id="65" name="Ink 64">
                  <a:extLst>
                    <a:ext uri="{FF2B5EF4-FFF2-40B4-BE49-F238E27FC236}">
                      <a16:creationId xmlns:a16="http://schemas.microsoft.com/office/drawing/2014/main" id="{308F1DA8-6089-4221-AFBD-B1C1AF2BC63A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3213489" y="758682"/>
                  <a:ext cx="106560" cy="21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66" name="Ink 65">
                  <a:extLst>
                    <a:ext uri="{FF2B5EF4-FFF2-40B4-BE49-F238E27FC236}">
                      <a16:creationId xmlns:a16="http://schemas.microsoft.com/office/drawing/2014/main" id="{8848F664-D183-485D-9C2B-3E9FFB4B8E3C}"/>
                    </a:ext>
                  </a:extLst>
                </p14:cNvPr>
                <p14:cNvContentPartPr/>
                <p14:nvPr/>
              </p14:nvContentPartPr>
              <p14:xfrm>
                <a:off x="3053649" y="879282"/>
                <a:ext cx="30600" cy="106920"/>
              </p14:xfrm>
            </p:contentPart>
          </mc:Choice>
          <mc:Fallback xmlns="">
            <p:pic>
              <p:nvPicPr>
                <p:cNvPr id="66" name="Ink 65">
                  <a:extLst>
                    <a:ext uri="{FF2B5EF4-FFF2-40B4-BE49-F238E27FC236}">
                      <a16:creationId xmlns:a16="http://schemas.microsoft.com/office/drawing/2014/main" id="{8848F664-D183-485D-9C2B-3E9FFB4B8E3C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3035649" y="861282"/>
                  <a:ext cx="66240" cy="142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3399CD6D-A61D-4947-AA66-11BCFF34900D}"/>
              </a:ext>
            </a:extLst>
          </p:cNvPr>
          <p:cNvGrpSpPr/>
          <p:nvPr/>
        </p:nvGrpSpPr>
        <p:grpSpPr>
          <a:xfrm>
            <a:off x="10376049" y="2143242"/>
            <a:ext cx="1044000" cy="2592720"/>
            <a:chOff x="10376049" y="2143242"/>
            <a:chExt cx="1044000" cy="2592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7ECC5B52-3133-4800-82B7-732AFB37F082}"/>
                    </a:ext>
                  </a:extLst>
                </p14:cNvPr>
                <p14:cNvContentPartPr/>
                <p14:nvPr/>
              </p14:nvContentPartPr>
              <p14:xfrm>
                <a:off x="11103609" y="2329362"/>
                <a:ext cx="81000" cy="792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7ECC5B52-3133-4800-82B7-732AFB37F082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1085969" y="2311722"/>
                  <a:ext cx="116640" cy="4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5A3A5A66-07FE-4473-B771-2AB62C96B855}"/>
                    </a:ext>
                  </a:extLst>
                </p14:cNvPr>
                <p14:cNvContentPartPr/>
                <p14:nvPr/>
              </p14:nvContentPartPr>
              <p14:xfrm>
                <a:off x="11015409" y="2352402"/>
                <a:ext cx="248760" cy="14868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5A3A5A66-07FE-4473-B771-2AB62C96B855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0997769" y="2334762"/>
                  <a:ext cx="284400" cy="184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96746D2E-E078-459D-B058-299E8EA0516D}"/>
                    </a:ext>
                  </a:extLst>
                </p14:cNvPr>
                <p14:cNvContentPartPr/>
                <p14:nvPr/>
              </p14:nvContentPartPr>
              <p14:xfrm>
                <a:off x="11180649" y="2143242"/>
                <a:ext cx="239400" cy="2029320"/>
              </p14:xfrm>
            </p:contentPart>
          </mc:Choice>
          <mc:Fallback xmlns=""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96746D2E-E078-459D-B058-299E8EA0516D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1162649" y="2125602"/>
                  <a:ext cx="275040" cy="206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F1A79845-DC40-47DA-A864-53E7D3C0A125}"/>
                    </a:ext>
                  </a:extLst>
                </p14:cNvPr>
                <p14:cNvContentPartPr/>
                <p14:nvPr/>
              </p14:nvContentPartPr>
              <p14:xfrm>
                <a:off x="10495209" y="2304882"/>
                <a:ext cx="295920" cy="243108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F1A79845-DC40-47DA-A864-53E7D3C0A125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0477209" y="2287242"/>
                  <a:ext cx="331560" cy="246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8F36083A-E879-4389-83CF-2217090D47CB}"/>
                    </a:ext>
                  </a:extLst>
                </p14:cNvPr>
                <p14:cNvContentPartPr/>
                <p14:nvPr/>
              </p14:nvContentPartPr>
              <p14:xfrm>
                <a:off x="10376049" y="4441482"/>
                <a:ext cx="715680" cy="206280"/>
              </p14:xfrm>
            </p:contentPart>
          </mc:Choice>
          <mc:Fallback xmlns=""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8F36083A-E879-4389-83CF-2217090D47CB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0358049" y="4423842"/>
                  <a:ext cx="751320" cy="24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4">
              <p14:nvContentPartPr>
                <p14:cNvPr id="71" name="Ink 70">
                  <a:extLst>
                    <a:ext uri="{FF2B5EF4-FFF2-40B4-BE49-F238E27FC236}">
                      <a16:creationId xmlns:a16="http://schemas.microsoft.com/office/drawing/2014/main" id="{DD56DD24-B789-40AC-959F-6DBB6912F332}"/>
                    </a:ext>
                  </a:extLst>
                </p14:cNvPr>
                <p14:cNvContentPartPr/>
                <p14:nvPr/>
              </p14:nvContentPartPr>
              <p14:xfrm>
                <a:off x="10583409" y="4354362"/>
                <a:ext cx="822240" cy="190440"/>
              </p14:xfrm>
            </p:contentPart>
          </mc:Choice>
          <mc:Fallback xmlns="">
            <p:pic>
              <p:nvPicPr>
                <p:cNvPr id="71" name="Ink 70">
                  <a:extLst>
                    <a:ext uri="{FF2B5EF4-FFF2-40B4-BE49-F238E27FC236}">
                      <a16:creationId xmlns:a16="http://schemas.microsoft.com/office/drawing/2014/main" id="{DD56DD24-B789-40AC-959F-6DBB6912F332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10565769" y="4336362"/>
                  <a:ext cx="857880" cy="2260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6083335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DC6B9A37-24F9-4002-8578-93BFB13BF5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CC1767FD-F1F1-4FAB-B6DD-0A700C0027C8}"/>
                  </a:ext>
                </a:extLst>
              </p14:cNvPr>
              <p14:cNvContentPartPr/>
              <p14:nvPr/>
            </p14:nvContentPartPr>
            <p14:xfrm>
              <a:off x="5294235" y="1535385"/>
              <a:ext cx="149040" cy="2966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CC1767FD-F1F1-4FAB-B6DD-0A700C0027C8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76595" y="1517745"/>
                <a:ext cx="184680" cy="332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38ABA823-400C-4254-81DD-141D2FF25E14}"/>
                  </a:ext>
                </a:extLst>
              </p14:cNvPr>
              <p14:cNvContentPartPr/>
              <p14:nvPr/>
            </p14:nvContentPartPr>
            <p14:xfrm>
              <a:off x="5668635" y="1613505"/>
              <a:ext cx="160920" cy="12960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38ABA823-400C-4254-81DD-141D2FF25E14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650995" y="1595505"/>
                <a:ext cx="196560" cy="48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09907923-4B70-4BFA-9451-D590F8D77A96}"/>
                  </a:ext>
                </a:extLst>
              </p14:cNvPr>
              <p14:cNvContentPartPr/>
              <p14:nvPr/>
            </p14:nvContentPartPr>
            <p14:xfrm>
              <a:off x="5728395" y="1704225"/>
              <a:ext cx="124560" cy="31680"/>
            </p14:xfrm>
          </p:contentPart>
        </mc:Choice>
        <mc:Fallback xmlns=""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09907923-4B70-4BFA-9451-D590F8D77A96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710755" y="1686225"/>
                <a:ext cx="160200" cy="67320"/>
              </a:xfrm>
              <a:prstGeom prst="rect">
                <a:avLst/>
              </a:prstGeom>
            </p:spPr>
          </p:pic>
        </mc:Fallback>
      </mc:AlternateContent>
      <p:grpSp>
        <p:nvGrpSpPr>
          <p:cNvPr id="24" name="Group 23">
            <a:extLst>
              <a:ext uri="{FF2B5EF4-FFF2-40B4-BE49-F238E27FC236}">
                <a16:creationId xmlns:a16="http://schemas.microsoft.com/office/drawing/2014/main" id="{873D9585-FD2A-483C-A022-A7EE1D3CFE74}"/>
              </a:ext>
            </a:extLst>
          </p:cNvPr>
          <p:cNvGrpSpPr/>
          <p:nvPr/>
        </p:nvGrpSpPr>
        <p:grpSpPr>
          <a:xfrm>
            <a:off x="10371315" y="4602585"/>
            <a:ext cx="200160" cy="477360"/>
            <a:chOff x="10371315" y="4602585"/>
            <a:chExt cx="200160" cy="477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53049593-3BA1-4C35-9692-0ED16A083C7E}"/>
                    </a:ext>
                  </a:extLst>
                </p14:cNvPr>
                <p14:cNvContentPartPr/>
                <p14:nvPr/>
              </p14:nvContentPartPr>
              <p14:xfrm>
                <a:off x="10392915" y="4739745"/>
                <a:ext cx="178560" cy="34020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53049593-3BA1-4C35-9692-0ED16A083C7E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0374915" y="4722105"/>
                  <a:ext cx="214200" cy="37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30EC6460-DAAB-486F-B1E1-355DC59EDF5B}"/>
                    </a:ext>
                  </a:extLst>
                </p14:cNvPr>
                <p14:cNvContentPartPr/>
                <p14:nvPr/>
              </p14:nvContentPartPr>
              <p14:xfrm>
                <a:off x="10371315" y="4602585"/>
                <a:ext cx="137160" cy="9180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30EC6460-DAAB-486F-B1E1-355DC59EDF5B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0353675" y="4584585"/>
                  <a:ext cx="172800" cy="127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8EBDA0D-54AA-461E-991F-3BC7E40E98E5}"/>
              </a:ext>
            </a:extLst>
          </p:cNvPr>
          <p:cNvGrpSpPr/>
          <p:nvPr/>
        </p:nvGrpSpPr>
        <p:grpSpPr>
          <a:xfrm>
            <a:off x="2831115" y="4299825"/>
            <a:ext cx="571320" cy="505800"/>
            <a:chOff x="2831115" y="4299825"/>
            <a:chExt cx="571320" cy="505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CD39D053-9814-4D86-8DE4-54E7E183F622}"/>
                    </a:ext>
                  </a:extLst>
                </p14:cNvPr>
                <p14:cNvContentPartPr/>
                <p14:nvPr/>
              </p14:nvContentPartPr>
              <p14:xfrm>
                <a:off x="2851275" y="4366785"/>
                <a:ext cx="16920" cy="33120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CD39D053-9814-4D86-8DE4-54E7E183F622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2833275" y="4348785"/>
                  <a:ext cx="52560" cy="36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62918F74-275B-469E-A653-C85BC4FB61EF}"/>
                    </a:ext>
                  </a:extLst>
                </p14:cNvPr>
                <p14:cNvContentPartPr/>
                <p14:nvPr/>
              </p14:nvContentPartPr>
              <p14:xfrm>
                <a:off x="2831115" y="4299825"/>
                <a:ext cx="571320" cy="50580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62918F74-275B-469E-A653-C85BC4FB61EF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2813475" y="4282185"/>
                  <a:ext cx="606960" cy="5414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32" name="Ink 31">
                <a:extLst>
                  <a:ext uri="{FF2B5EF4-FFF2-40B4-BE49-F238E27FC236}">
                    <a16:creationId xmlns:a16="http://schemas.microsoft.com/office/drawing/2014/main" id="{3235343B-4C0B-4785-9D23-B490B9ACE5AF}"/>
                  </a:ext>
                </a:extLst>
              </p14:cNvPr>
              <p14:cNvContentPartPr/>
              <p14:nvPr/>
            </p14:nvContentPartPr>
            <p14:xfrm>
              <a:off x="2802315" y="1777305"/>
              <a:ext cx="556920" cy="502200"/>
            </p14:xfrm>
          </p:contentPart>
        </mc:Choice>
        <mc:Fallback xmlns="">
          <p:pic>
            <p:nvPicPr>
              <p:cNvPr id="32" name="Ink 31">
                <a:extLst>
                  <a:ext uri="{FF2B5EF4-FFF2-40B4-BE49-F238E27FC236}">
                    <a16:creationId xmlns:a16="http://schemas.microsoft.com/office/drawing/2014/main" id="{3235343B-4C0B-4785-9D23-B490B9ACE5AF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2784315" y="1759305"/>
                <a:ext cx="592560" cy="537840"/>
              </a:xfrm>
              <a:prstGeom prst="rect">
                <a:avLst/>
              </a:prstGeom>
            </p:spPr>
          </p:pic>
        </mc:Fallback>
      </mc:AlternateContent>
      <p:grpSp>
        <p:nvGrpSpPr>
          <p:cNvPr id="41" name="Group 40">
            <a:extLst>
              <a:ext uri="{FF2B5EF4-FFF2-40B4-BE49-F238E27FC236}">
                <a16:creationId xmlns:a16="http://schemas.microsoft.com/office/drawing/2014/main" id="{E9A46973-E8DD-459E-8CBA-A81A89B8CA2A}"/>
              </a:ext>
            </a:extLst>
          </p:cNvPr>
          <p:cNvGrpSpPr/>
          <p:nvPr/>
        </p:nvGrpSpPr>
        <p:grpSpPr>
          <a:xfrm>
            <a:off x="2524395" y="925905"/>
            <a:ext cx="2179800" cy="555480"/>
            <a:chOff x="2524395" y="925905"/>
            <a:chExt cx="2179800" cy="5554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6F2AE598-F7E8-4F66-A600-7C753456105A}"/>
                    </a:ext>
                  </a:extLst>
                </p14:cNvPr>
                <p14:cNvContentPartPr/>
                <p14:nvPr/>
              </p14:nvContentPartPr>
              <p14:xfrm>
                <a:off x="2524395" y="1207785"/>
                <a:ext cx="190080" cy="27288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6F2AE598-F7E8-4F66-A600-7C753456105A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2506755" y="1189785"/>
                  <a:ext cx="225720" cy="30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937956D5-E99B-487A-9FD9-04F2420FB2A4}"/>
                    </a:ext>
                  </a:extLst>
                </p14:cNvPr>
                <p14:cNvContentPartPr/>
                <p14:nvPr/>
              </p14:nvContentPartPr>
              <p14:xfrm>
                <a:off x="2694675" y="1308225"/>
                <a:ext cx="108720" cy="16956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937956D5-E99B-487A-9FD9-04F2420FB2A4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2677035" y="1290225"/>
                  <a:ext cx="144360" cy="20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D4C34A00-2B1C-4F47-961C-547A50246302}"/>
                    </a:ext>
                  </a:extLst>
                </p14:cNvPr>
                <p14:cNvContentPartPr/>
                <p14:nvPr/>
              </p14:nvContentPartPr>
              <p14:xfrm>
                <a:off x="2827515" y="1319025"/>
                <a:ext cx="365400" cy="16236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D4C34A00-2B1C-4F47-961C-547A50246302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2809875" y="1301385"/>
                  <a:ext cx="401040" cy="19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4B28ED1C-269E-42E1-945F-C12EE545D493}"/>
                    </a:ext>
                  </a:extLst>
                </p14:cNvPr>
                <p14:cNvContentPartPr/>
                <p14:nvPr/>
              </p14:nvContentPartPr>
              <p14:xfrm>
                <a:off x="3431235" y="1227225"/>
                <a:ext cx="258480" cy="17028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4B28ED1C-269E-42E1-945F-C12EE545D493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3413595" y="1209225"/>
                  <a:ext cx="294120" cy="205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B8A076B0-4C67-4AEE-BE8B-37642E4694D4}"/>
                    </a:ext>
                  </a:extLst>
                </p14:cNvPr>
                <p14:cNvContentPartPr/>
                <p14:nvPr/>
              </p14:nvContentPartPr>
              <p14:xfrm>
                <a:off x="3702315" y="1159185"/>
                <a:ext cx="322560" cy="17028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B8A076B0-4C67-4AEE-BE8B-37642E4694D4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3684675" y="1141545"/>
                  <a:ext cx="358200" cy="205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E3229938-2094-49D7-8C45-60A2C111CC2A}"/>
                    </a:ext>
                  </a:extLst>
                </p14:cNvPr>
                <p14:cNvContentPartPr/>
                <p14:nvPr/>
              </p14:nvContentPartPr>
              <p14:xfrm>
                <a:off x="4162035" y="925905"/>
                <a:ext cx="384480" cy="33984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E3229938-2094-49D7-8C45-60A2C111CC2A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4144035" y="907905"/>
                  <a:ext cx="420120" cy="37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3D9AEC9A-DCD3-4B4C-B059-4DBE263F747B}"/>
                    </a:ext>
                  </a:extLst>
                </p14:cNvPr>
                <p14:cNvContentPartPr/>
                <p14:nvPr/>
              </p14:nvContentPartPr>
              <p14:xfrm>
                <a:off x="4479555" y="991065"/>
                <a:ext cx="224640" cy="10872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3D9AEC9A-DCD3-4B4C-B059-4DBE263F747B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4461555" y="973425"/>
                  <a:ext cx="260280" cy="1443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36">
            <p14:nvContentPartPr>
              <p14:cNvPr id="46" name="Ink 45">
                <a:extLst>
                  <a:ext uri="{FF2B5EF4-FFF2-40B4-BE49-F238E27FC236}">
                    <a16:creationId xmlns:a16="http://schemas.microsoft.com/office/drawing/2014/main" id="{E0D0F22C-76D6-4B9F-868A-8AC182ED8FD8}"/>
                  </a:ext>
                </a:extLst>
              </p14:cNvPr>
              <p14:cNvContentPartPr/>
              <p14:nvPr/>
            </p14:nvContentPartPr>
            <p14:xfrm>
              <a:off x="6302955" y="2876385"/>
              <a:ext cx="1263240" cy="756360"/>
            </p14:xfrm>
          </p:contentPart>
        </mc:Choice>
        <mc:Fallback xmlns="">
          <p:pic>
            <p:nvPicPr>
              <p:cNvPr id="46" name="Ink 45">
                <a:extLst>
                  <a:ext uri="{FF2B5EF4-FFF2-40B4-BE49-F238E27FC236}">
                    <a16:creationId xmlns:a16="http://schemas.microsoft.com/office/drawing/2014/main" id="{E0D0F22C-76D6-4B9F-868A-8AC182ED8FD8}"/>
                  </a:ext>
                </a:extLst>
              </p:cNvPr>
              <p:cNvPicPr/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6285315" y="2858385"/>
                <a:ext cx="1298880" cy="792000"/>
              </a:xfrm>
              <a:prstGeom prst="rect">
                <a:avLst/>
              </a:prstGeom>
            </p:spPr>
          </p:pic>
        </mc:Fallback>
      </mc:AlternateContent>
      <p:grpSp>
        <p:nvGrpSpPr>
          <p:cNvPr id="99" name="Group 98">
            <a:extLst>
              <a:ext uri="{FF2B5EF4-FFF2-40B4-BE49-F238E27FC236}">
                <a16:creationId xmlns:a16="http://schemas.microsoft.com/office/drawing/2014/main" id="{B7305AF5-F3CD-43FB-91CE-08D193985454}"/>
              </a:ext>
            </a:extLst>
          </p:cNvPr>
          <p:cNvGrpSpPr/>
          <p:nvPr/>
        </p:nvGrpSpPr>
        <p:grpSpPr>
          <a:xfrm>
            <a:off x="6361275" y="4613745"/>
            <a:ext cx="1829160" cy="334800"/>
            <a:chOff x="6361275" y="4613745"/>
            <a:chExt cx="1829160" cy="334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4907339E-6C31-4DE0-9ECD-DB91609FEEF7}"/>
                    </a:ext>
                  </a:extLst>
                </p14:cNvPr>
                <p14:cNvContentPartPr/>
                <p14:nvPr/>
              </p14:nvContentPartPr>
              <p14:xfrm>
                <a:off x="6383955" y="4805265"/>
                <a:ext cx="256680" cy="27000"/>
              </p14:xfrm>
            </p:contentPart>
          </mc:Choice>
          <mc:Fallback xmlns=""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4907339E-6C31-4DE0-9ECD-DB91609FEEF7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6366315" y="4787625"/>
                  <a:ext cx="292320" cy="6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7281B5B7-DDAA-41CF-9815-26DC8E70CAA8}"/>
                    </a:ext>
                  </a:extLst>
                </p14:cNvPr>
                <p14:cNvContentPartPr/>
                <p14:nvPr/>
              </p14:nvContentPartPr>
              <p14:xfrm>
                <a:off x="6361275" y="4697625"/>
                <a:ext cx="243720" cy="43920"/>
              </p14:xfrm>
            </p:contentPart>
          </mc:Choice>
          <mc:Fallback xmlns=""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7281B5B7-DDAA-41CF-9815-26DC8E70CAA8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6343635" y="4679625"/>
                  <a:ext cx="279360" cy="7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89" name="Ink 88">
                  <a:extLst>
                    <a:ext uri="{FF2B5EF4-FFF2-40B4-BE49-F238E27FC236}">
                      <a16:creationId xmlns:a16="http://schemas.microsoft.com/office/drawing/2014/main" id="{A13BD9C7-F8D4-40F4-A4B9-25AC7F90E622}"/>
                    </a:ext>
                  </a:extLst>
                </p14:cNvPr>
                <p14:cNvContentPartPr/>
                <p14:nvPr/>
              </p14:nvContentPartPr>
              <p14:xfrm>
                <a:off x="6815595" y="4613745"/>
                <a:ext cx="22680" cy="294480"/>
              </p14:xfrm>
            </p:contentPart>
          </mc:Choice>
          <mc:Fallback xmlns="">
            <p:pic>
              <p:nvPicPr>
                <p:cNvPr id="89" name="Ink 88">
                  <a:extLst>
                    <a:ext uri="{FF2B5EF4-FFF2-40B4-BE49-F238E27FC236}">
                      <a16:creationId xmlns:a16="http://schemas.microsoft.com/office/drawing/2014/main" id="{A13BD9C7-F8D4-40F4-A4B9-25AC7F90E622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6797595" y="4595745"/>
                  <a:ext cx="58320" cy="33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90" name="Ink 89">
                  <a:extLst>
                    <a:ext uri="{FF2B5EF4-FFF2-40B4-BE49-F238E27FC236}">
                      <a16:creationId xmlns:a16="http://schemas.microsoft.com/office/drawing/2014/main" id="{F2B51BE7-916E-493B-AD74-70D297293F1D}"/>
                    </a:ext>
                  </a:extLst>
                </p14:cNvPr>
                <p14:cNvContentPartPr/>
                <p14:nvPr/>
              </p14:nvContentPartPr>
              <p14:xfrm>
                <a:off x="6953115" y="4650105"/>
                <a:ext cx="13320" cy="285480"/>
              </p14:xfrm>
            </p:contentPart>
          </mc:Choice>
          <mc:Fallback xmlns="">
            <p:pic>
              <p:nvPicPr>
                <p:cNvPr id="90" name="Ink 89">
                  <a:extLst>
                    <a:ext uri="{FF2B5EF4-FFF2-40B4-BE49-F238E27FC236}">
                      <a16:creationId xmlns:a16="http://schemas.microsoft.com/office/drawing/2014/main" id="{F2B51BE7-916E-493B-AD74-70D297293F1D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6935115" y="4632465"/>
                  <a:ext cx="48960" cy="32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92" name="Ink 91">
                  <a:extLst>
                    <a:ext uri="{FF2B5EF4-FFF2-40B4-BE49-F238E27FC236}">
                      <a16:creationId xmlns:a16="http://schemas.microsoft.com/office/drawing/2014/main" id="{F7B7884C-30F3-4C73-927E-028B97870941}"/>
                    </a:ext>
                  </a:extLst>
                </p14:cNvPr>
                <p14:cNvContentPartPr/>
                <p14:nvPr/>
              </p14:nvContentPartPr>
              <p14:xfrm>
                <a:off x="7117995" y="4633545"/>
                <a:ext cx="116280" cy="294480"/>
              </p14:xfrm>
            </p:contentPart>
          </mc:Choice>
          <mc:Fallback xmlns="">
            <p:pic>
              <p:nvPicPr>
                <p:cNvPr id="92" name="Ink 91">
                  <a:extLst>
                    <a:ext uri="{FF2B5EF4-FFF2-40B4-BE49-F238E27FC236}">
                      <a16:creationId xmlns:a16="http://schemas.microsoft.com/office/drawing/2014/main" id="{F7B7884C-30F3-4C73-927E-028B97870941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7099995" y="4615905"/>
                  <a:ext cx="151920" cy="33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93" name="Ink 92">
                  <a:extLst>
                    <a:ext uri="{FF2B5EF4-FFF2-40B4-BE49-F238E27FC236}">
                      <a16:creationId xmlns:a16="http://schemas.microsoft.com/office/drawing/2014/main" id="{7FD90FA7-8A03-4CC2-BDC2-4C2D72C838AA}"/>
                    </a:ext>
                  </a:extLst>
                </p14:cNvPr>
                <p14:cNvContentPartPr/>
                <p14:nvPr/>
              </p14:nvContentPartPr>
              <p14:xfrm>
                <a:off x="7320315" y="4823265"/>
                <a:ext cx="36360" cy="125280"/>
              </p14:xfrm>
            </p:contentPart>
          </mc:Choice>
          <mc:Fallback xmlns="">
            <p:pic>
              <p:nvPicPr>
                <p:cNvPr id="93" name="Ink 92">
                  <a:extLst>
                    <a:ext uri="{FF2B5EF4-FFF2-40B4-BE49-F238E27FC236}">
                      <a16:creationId xmlns:a16="http://schemas.microsoft.com/office/drawing/2014/main" id="{7FD90FA7-8A03-4CC2-BDC2-4C2D72C838AA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7302315" y="4805625"/>
                  <a:ext cx="72000" cy="16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94" name="Ink 93">
                  <a:extLst>
                    <a:ext uri="{FF2B5EF4-FFF2-40B4-BE49-F238E27FC236}">
                      <a16:creationId xmlns:a16="http://schemas.microsoft.com/office/drawing/2014/main" id="{34E6C586-58A5-48CF-9E51-FD1ACCF49A4C}"/>
                    </a:ext>
                  </a:extLst>
                </p14:cNvPr>
                <p14:cNvContentPartPr/>
                <p14:nvPr/>
              </p14:nvContentPartPr>
              <p14:xfrm>
                <a:off x="7459275" y="4820025"/>
                <a:ext cx="81000" cy="14040"/>
              </p14:xfrm>
            </p:contentPart>
          </mc:Choice>
          <mc:Fallback xmlns="">
            <p:pic>
              <p:nvPicPr>
                <p:cNvPr id="94" name="Ink 93">
                  <a:extLst>
                    <a:ext uri="{FF2B5EF4-FFF2-40B4-BE49-F238E27FC236}">
                      <a16:creationId xmlns:a16="http://schemas.microsoft.com/office/drawing/2014/main" id="{34E6C586-58A5-48CF-9E51-FD1ACCF49A4C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7441275" y="4802385"/>
                  <a:ext cx="116640" cy="4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95" name="Ink 94">
                  <a:extLst>
                    <a:ext uri="{FF2B5EF4-FFF2-40B4-BE49-F238E27FC236}">
                      <a16:creationId xmlns:a16="http://schemas.microsoft.com/office/drawing/2014/main" id="{AF9C540C-C27C-4243-BE24-85F7EFD51316}"/>
                    </a:ext>
                  </a:extLst>
                </p14:cNvPr>
                <p14:cNvContentPartPr/>
                <p14:nvPr/>
              </p14:nvContentPartPr>
              <p14:xfrm>
                <a:off x="7647195" y="4653705"/>
                <a:ext cx="113040" cy="256320"/>
              </p14:xfrm>
            </p:contentPart>
          </mc:Choice>
          <mc:Fallback xmlns="">
            <p:pic>
              <p:nvPicPr>
                <p:cNvPr id="95" name="Ink 94">
                  <a:extLst>
                    <a:ext uri="{FF2B5EF4-FFF2-40B4-BE49-F238E27FC236}">
                      <a16:creationId xmlns:a16="http://schemas.microsoft.com/office/drawing/2014/main" id="{AF9C540C-C27C-4243-BE24-85F7EFD51316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7629195" y="4635705"/>
                  <a:ext cx="148680" cy="29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96" name="Ink 95">
                  <a:extLst>
                    <a:ext uri="{FF2B5EF4-FFF2-40B4-BE49-F238E27FC236}">
                      <a16:creationId xmlns:a16="http://schemas.microsoft.com/office/drawing/2014/main" id="{5831BD82-4861-47E0-BC34-E12CA129246F}"/>
                    </a:ext>
                  </a:extLst>
                </p14:cNvPr>
                <p14:cNvContentPartPr/>
                <p14:nvPr/>
              </p14:nvContentPartPr>
              <p14:xfrm>
                <a:off x="7840875" y="4784025"/>
                <a:ext cx="163080" cy="90360"/>
              </p14:xfrm>
            </p:contentPart>
          </mc:Choice>
          <mc:Fallback xmlns="">
            <p:pic>
              <p:nvPicPr>
                <p:cNvPr id="96" name="Ink 95">
                  <a:extLst>
                    <a:ext uri="{FF2B5EF4-FFF2-40B4-BE49-F238E27FC236}">
                      <a16:creationId xmlns:a16="http://schemas.microsoft.com/office/drawing/2014/main" id="{5831BD82-4861-47E0-BC34-E12CA129246F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7822875" y="4766385"/>
                  <a:ext cx="198720" cy="12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97" name="Ink 96">
                  <a:extLst>
                    <a:ext uri="{FF2B5EF4-FFF2-40B4-BE49-F238E27FC236}">
                      <a16:creationId xmlns:a16="http://schemas.microsoft.com/office/drawing/2014/main" id="{3C7215F2-4046-4DCA-B474-2E90E916907D}"/>
                    </a:ext>
                  </a:extLst>
                </p14:cNvPr>
                <p14:cNvContentPartPr/>
                <p14:nvPr/>
              </p14:nvContentPartPr>
              <p14:xfrm>
                <a:off x="8053995" y="4646865"/>
                <a:ext cx="22680" cy="235800"/>
              </p14:xfrm>
            </p:contentPart>
          </mc:Choice>
          <mc:Fallback xmlns="">
            <p:pic>
              <p:nvPicPr>
                <p:cNvPr id="97" name="Ink 96">
                  <a:extLst>
                    <a:ext uri="{FF2B5EF4-FFF2-40B4-BE49-F238E27FC236}">
                      <a16:creationId xmlns:a16="http://schemas.microsoft.com/office/drawing/2014/main" id="{3C7215F2-4046-4DCA-B474-2E90E916907D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8035995" y="4629225"/>
                  <a:ext cx="58320" cy="27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98" name="Ink 97">
                  <a:extLst>
                    <a:ext uri="{FF2B5EF4-FFF2-40B4-BE49-F238E27FC236}">
                      <a16:creationId xmlns:a16="http://schemas.microsoft.com/office/drawing/2014/main" id="{848EADB9-F799-4679-836E-10D8574189EE}"/>
                    </a:ext>
                  </a:extLst>
                </p14:cNvPr>
                <p14:cNvContentPartPr/>
                <p14:nvPr/>
              </p14:nvContentPartPr>
              <p14:xfrm>
                <a:off x="8164155" y="4661265"/>
                <a:ext cx="26280" cy="255960"/>
              </p14:xfrm>
            </p:contentPart>
          </mc:Choice>
          <mc:Fallback xmlns="">
            <p:pic>
              <p:nvPicPr>
                <p:cNvPr id="98" name="Ink 97">
                  <a:extLst>
                    <a:ext uri="{FF2B5EF4-FFF2-40B4-BE49-F238E27FC236}">
                      <a16:creationId xmlns:a16="http://schemas.microsoft.com/office/drawing/2014/main" id="{848EADB9-F799-4679-836E-10D8574189EE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8146155" y="4643265"/>
                  <a:ext cx="61920" cy="2916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60">
            <p14:nvContentPartPr>
              <p14:cNvPr id="101" name="Ink 100">
                <a:extLst>
                  <a:ext uri="{FF2B5EF4-FFF2-40B4-BE49-F238E27FC236}">
                    <a16:creationId xmlns:a16="http://schemas.microsoft.com/office/drawing/2014/main" id="{AB261026-6A7A-45B4-BC78-A109C81CA6EE}"/>
                  </a:ext>
                </a:extLst>
              </p14:cNvPr>
              <p14:cNvContentPartPr/>
              <p14:nvPr/>
            </p14:nvContentPartPr>
            <p14:xfrm>
              <a:off x="-476925" y="1415865"/>
              <a:ext cx="41400" cy="10080"/>
            </p14:xfrm>
          </p:contentPart>
        </mc:Choice>
        <mc:Fallback xmlns="">
          <p:pic>
            <p:nvPicPr>
              <p:cNvPr id="101" name="Ink 100">
                <a:extLst>
                  <a:ext uri="{FF2B5EF4-FFF2-40B4-BE49-F238E27FC236}">
                    <a16:creationId xmlns:a16="http://schemas.microsoft.com/office/drawing/2014/main" id="{AB261026-6A7A-45B4-BC78-A109C81CA6EE}"/>
                  </a:ext>
                </a:extLst>
              </p:cNvPr>
              <p:cNvPicPr/>
              <p:nvPr/>
            </p:nvPicPr>
            <p:blipFill>
              <a:blip r:embed="rId61"/>
              <a:stretch>
                <a:fillRect/>
              </a:stretch>
            </p:blipFill>
            <p:spPr>
              <a:xfrm>
                <a:off x="-494925" y="1397865"/>
                <a:ext cx="77040" cy="45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2">
            <p14:nvContentPartPr>
              <p14:cNvPr id="102" name="Ink 101">
                <a:extLst>
                  <a:ext uri="{FF2B5EF4-FFF2-40B4-BE49-F238E27FC236}">
                    <a16:creationId xmlns:a16="http://schemas.microsoft.com/office/drawing/2014/main" id="{046109A2-6BC1-400B-A6DE-37924AE4738A}"/>
                  </a:ext>
                </a:extLst>
              </p14:cNvPr>
              <p14:cNvContentPartPr/>
              <p14:nvPr/>
            </p14:nvContentPartPr>
            <p14:xfrm>
              <a:off x="-485565" y="1883505"/>
              <a:ext cx="4680" cy="17280"/>
            </p14:xfrm>
          </p:contentPart>
        </mc:Choice>
        <mc:Fallback xmlns="">
          <p:pic>
            <p:nvPicPr>
              <p:cNvPr id="102" name="Ink 101">
                <a:extLst>
                  <a:ext uri="{FF2B5EF4-FFF2-40B4-BE49-F238E27FC236}">
                    <a16:creationId xmlns:a16="http://schemas.microsoft.com/office/drawing/2014/main" id="{046109A2-6BC1-400B-A6DE-37924AE4738A}"/>
                  </a:ext>
                </a:extLst>
              </p:cNvPr>
              <p:cNvPicPr/>
              <p:nvPr/>
            </p:nvPicPr>
            <p:blipFill>
              <a:blip r:embed="rId63"/>
              <a:stretch>
                <a:fillRect/>
              </a:stretch>
            </p:blipFill>
            <p:spPr>
              <a:xfrm>
                <a:off x="-503565" y="1865865"/>
                <a:ext cx="40320" cy="52920"/>
              </a:xfrm>
              <a:prstGeom prst="rect">
                <a:avLst/>
              </a:prstGeom>
            </p:spPr>
          </p:pic>
        </mc:Fallback>
      </mc:AlternateContent>
      <p:grpSp>
        <p:nvGrpSpPr>
          <p:cNvPr id="119" name="Group 118">
            <a:extLst>
              <a:ext uri="{FF2B5EF4-FFF2-40B4-BE49-F238E27FC236}">
                <a16:creationId xmlns:a16="http://schemas.microsoft.com/office/drawing/2014/main" id="{714CC2CC-658E-4F81-8C67-BD5CC863B639}"/>
              </a:ext>
            </a:extLst>
          </p:cNvPr>
          <p:cNvGrpSpPr/>
          <p:nvPr/>
        </p:nvGrpSpPr>
        <p:grpSpPr>
          <a:xfrm>
            <a:off x="7552875" y="5853225"/>
            <a:ext cx="2887560" cy="858600"/>
            <a:chOff x="7552875" y="5853225"/>
            <a:chExt cx="2887560" cy="858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103" name="Ink 102">
                  <a:extLst>
                    <a:ext uri="{FF2B5EF4-FFF2-40B4-BE49-F238E27FC236}">
                      <a16:creationId xmlns:a16="http://schemas.microsoft.com/office/drawing/2014/main" id="{1A15D947-0828-45A9-BE04-D29CE7712EC2}"/>
                    </a:ext>
                  </a:extLst>
                </p14:cNvPr>
                <p14:cNvContentPartPr/>
                <p14:nvPr/>
              </p14:nvContentPartPr>
              <p14:xfrm>
                <a:off x="7580235" y="5951505"/>
                <a:ext cx="1888560" cy="90360"/>
              </p14:xfrm>
            </p:contentPart>
          </mc:Choice>
          <mc:Fallback xmlns="">
            <p:pic>
              <p:nvPicPr>
                <p:cNvPr id="103" name="Ink 102">
                  <a:extLst>
                    <a:ext uri="{FF2B5EF4-FFF2-40B4-BE49-F238E27FC236}">
                      <a16:creationId xmlns:a16="http://schemas.microsoft.com/office/drawing/2014/main" id="{1A15D947-0828-45A9-BE04-D29CE7712EC2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7562595" y="5933505"/>
                  <a:ext cx="1924200" cy="12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104" name="Ink 103">
                  <a:extLst>
                    <a:ext uri="{FF2B5EF4-FFF2-40B4-BE49-F238E27FC236}">
                      <a16:creationId xmlns:a16="http://schemas.microsoft.com/office/drawing/2014/main" id="{32A795A7-DF34-4465-9A16-A53DF278A687}"/>
                    </a:ext>
                  </a:extLst>
                </p14:cNvPr>
                <p14:cNvContentPartPr/>
                <p14:nvPr/>
              </p14:nvContentPartPr>
              <p14:xfrm>
                <a:off x="7552875" y="5853225"/>
                <a:ext cx="116640" cy="261360"/>
              </p14:xfrm>
            </p:contentPart>
          </mc:Choice>
          <mc:Fallback xmlns="">
            <p:pic>
              <p:nvPicPr>
                <p:cNvPr id="104" name="Ink 103">
                  <a:extLst>
                    <a:ext uri="{FF2B5EF4-FFF2-40B4-BE49-F238E27FC236}">
                      <a16:creationId xmlns:a16="http://schemas.microsoft.com/office/drawing/2014/main" id="{32A795A7-DF34-4465-9A16-A53DF278A687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7535235" y="5835585"/>
                  <a:ext cx="152280" cy="29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105" name="Ink 104">
                  <a:extLst>
                    <a:ext uri="{FF2B5EF4-FFF2-40B4-BE49-F238E27FC236}">
                      <a16:creationId xmlns:a16="http://schemas.microsoft.com/office/drawing/2014/main" id="{8634D26A-CFA3-460C-81DB-C437E9DB8951}"/>
                    </a:ext>
                  </a:extLst>
                </p14:cNvPr>
                <p14:cNvContentPartPr/>
                <p14:nvPr/>
              </p14:nvContentPartPr>
              <p14:xfrm>
                <a:off x="7756995" y="6355785"/>
                <a:ext cx="20880" cy="181800"/>
              </p14:xfrm>
            </p:contentPart>
          </mc:Choice>
          <mc:Fallback xmlns="">
            <p:pic>
              <p:nvPicPr>
                <p:cNvPr id="105" name="Ink 104">
                  <a:extLst>
                    <a:ext uri="{FF2B5EF4-FFF2-40B4-BE49-F238E27FC236}">
                      <a16:creationId xmlns:a16="http://schemas.microsoft.com/office/drawing/2014/main" id="{8634D26A-CFA3-460C-81DB-C437E9DB8951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7739355" y="6337785"/>
                  <a:ext cx="56520" cy="217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FD116EF4-E476-44B5-A7C6-D0DB433DD123}"/>
                    </a:ext>
                  </a:extLst>
                </p14:cNvPr>
                <p14:cNvContentPartPr/>
                <p14:nvPr/>
              </p14:nvContentPartPr>
              <p14:xfrm>
                <a:off x="7744035" y="6310065"/>
                <a:ext cx="242640" cy="240120"/>
              </p14:xfrm>
            </p:contentPart>
          </mc:Choice>
          <mc:Fallback xmlns=""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FD116EF4-E476-44B5-A7C6-D0DB433DD123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7726035" y="6292065"/>
                  <a:ext cx="278280" cy="27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107" name="Ink 106">
                  <a:extLst>
                    <a:ext uri="{FF2B5EF4-FFF2-40B4-BE49-F238E27FC236}">
                      <a16:creationId xmlns:a16="http://schemas.microsoft.com/office/drawing/2014/main" id="{0EA9121E-A1B0-4349-9513-D2B29A5610C4}"/>
                    </a:ext>
                  </a:extLst>
                </p14:cNvPr>
                <p14:cNvContentPartPr/>
                <p14:nvPr/>
              </p14:nvContentPartPr>
              <p14:xfrm>
                <a:off x="8062995" y="6369465"/>
                <a:ext cx="141840" cy="139680"/>
              </p14:xfrm>
            </p:contentPart>
          </mc:Choice>
          <mc:Fallback xmlns="">
            <p:pic>
              <p:nvPicPr>
                <p:cNvPr id="107" name="Ink 106">
                  <a:extLst>
                    <a:ext uri="{FF2B5EF4-FFF2-40B4-BE49-F238E27FC236}">
                      <a16:creationId xmlns:a16="http://schemas.microsoft.com/office/drawing/2014/main" id="{0EA9121E-A1B0-4349-9513-D2B29A5610C4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8044995" y="6351825"/>
                  <a:ext cx="177480" cy="175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108" name="Ink 107">
                  <a:extLst>
                    <a:ext uri="{FF2B5EF4-FFF2-40B4-BE49-F238E27FC236}">
                      <a16:creationId xmlns:a16="http://schemas.microsoft.com/office/drawing/2014/main" id="{9C9D54E2-9868-4B20-AA91-85CE0E458057}"/>
                    </a:ext>
                  </a:extLst>
                </p14:cNvPr>
                <p14:cNvContentPartPr/>
                <p14:nvPr/>
              </p14:nvContentPartPr>
              <p14:xfrm>
                <a:off x="8272155" y="6383505"/>
                <a:ext cx="141480" cy="184680"/>
              </p14:xfrm>
            </p:contentPart>
          </mc:Choice>
          <mc:Fallback xmlns="">
            <p:pic>
              <p:nvPicPr>
                <p:cNvPr id="108" name="Ink 107">
                  <a:extLst>
                    <a:ext uri="{FF2B5EF4-FFF2-40B4-BE49-F238E27FC236}">
                      <a16:creationId xmlns:a16="http://schemas.microsoft.com/office/drawing/2014/main" id="{9C9D54E2-9868-4B20-AA91-85CE0E458057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8254155" y="6365505"/>
                  <a:ext cx="177120" cy="22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109" name="Ink 108">
                  <a:extLst>
                    <a:ext uri="{FF2B5EF4-FFF2-40B4-BE49-F238E27FC236}">
                      <a16:creationId xmlns:a16="http://schemas.microsoft.com/office/drawing/2014/main" id="{0C66565E-2721-4150-914A-7C7979371444}"/>
                    </a:ext>
                  </a:extLst>
                </p14:cNvPr>
                <p14:cNvContentPartPr/>
                <p14:nvPr/>
              </p14:nvContentPartPr>
              <p14:xfrm>
                <a:off x="8428755" y="6454425"/>
                <a:ext cx="109080" cy="109800"/>
              </p14:xfrm>
            </p:contentPart>
          </mc:Choice>
          <mc:Fallback xmlns="">
            <p:pic>
              <p:nvPicPr>
                <p:cNvPr id="109" name="Ink 108">
                  <a:extLst>
                    <a:ext uri="{FF2B5EF4-FFF2-40B4-BE49-F238E27FC236}">
                      <a16:creationId xmlns:a16="http://schemas.microsoft.com/office/drawing/2014/main" id="{0C66565E-2721-4150-914A-7C7979371444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8411115" y="6436425"/>
                  <a:ext cx="144720" cy="14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110" name="Ink 109">
                  <a:extLst>
                    <a:ext uri="{FF2B5EF4-FFF2-40B4-BE49-F238E27FC236}">
                      <a16:creationId xmlns:a16="http://schemas.microsoft.com/office/drawing/2014/main" id="{D29C11A9-8F24-4F02-BB2B-27EF5A4E70EB}"/>
                    </a:ext>
                  </a:extLst>
                </p14:cNvPr>
                <p14:cNvContentPartPr/>
                <p14:nvPr/>
              </p14:nvContentPartPr>
              <p14:xfrm>
                <a:off x="8691915" y="6330945"/>
                <a:ext cx="137880" cy="292680"/>
              </p14:xfrm>
            </p:contentPart>
          </mc:Choice>
          <mc:Fallback xmlns="">
            <p:pic>
              <p:nvPicPr>
                <p:cNvPr id="110" name="Ink 109">
                  <a:extLst>
                    <a:ext uri="{FF2B5EF4-FFF2-40B4-BE49-F238E27FC236}">
                      <a16:creationId xmlns:a16="http://schemas.microsoft.com/office/drawing/2014/main" id="{D29C11A9-8F24-4F02-BB2B-27EF5A4E70EB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8673915" y="6313305"/>
                  <a:ext cx="173520" cy="328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111" name="Ink 110">
                  <a:extLst>
                    <a:ext uri="{FF2B5EF4-FFF2-40B4-BE49-F238E27FC236}">
                      <a16:creationId xmlns:a16="http://schemas.microsoft.com/office/drawing/2014/main" id="{D96F8766-3162-4C61-8823-6A587AE9BF35}"/>
                    </a:ext>
                  </a:extLst>
                </p14:cNvPr>
                <p14:cNvContentPartPr/>
                <p14:nvPr/>
              </p14:nvContentPartPr>
              <p14:xfrm>
                <a:off x="8840955" y="6425985"/>
                <a:ext cx="240840" cy="116640"/>
              </p14:xfrm>
            </p:contentPart>
          </mc:Choice>
          <mc:Fallback xmlns="">
            <p:pic>
              <p:nvPicPr>
                <p:cNvPr id="111" name="Ink 110">
                  <a:extLst>
                    <a:ext uri="{FF2B5EF4-FFF2-40B4-BE49-F238E27FC236}">
                      <a16:creationId xmlns:a16="http://schemas.microsoft.com/office/drawing/2014/main" id="{D96F8766-3162-4C61-8823-6A587AE9BF35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8822955" y="6407985"/>
                  <a:ext cx="276480" cy="15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112" name="Ink 111">
                  <a:extLst>
                    <a:ext uri="{FF2B5EF4-FFF2-40B4-BE49-F238E27FC236}">
                      <a16:creationId xmlns:a16="http://schemas.microsoft.com/office/drawing/2014/main" id="{52D1B8A4-5E5E-44A6-8D74-80C4FEC99A61}"/>
                    </a:ext>
                  </a:extLst>
                </p14:cNvPr>
                <p14:cNvContentPartPr/>
                <p14:nvPr/>
              </p14:nvContentPartPr>
              <p14:xfrm>
                <a:off x="9266475" y="6332025"/>
                <a:ext cx="119160" cy="300240"/>
              </p14:xfrm>
            </p:contentPart>
          </mc:Choice>
          <mc:Fallback xmlns="">
            <p:pic>
              <p:nvPicPr>
                <p:cNvPr id="112" name="Ink 111">
                  <a:extLst>
                    <a:ext uri="{FF2B5EF4-FFF2-40B4-BE49-F238E27FC236}">
                      <a16:creationId xmlns:a16="http://schemas.microsoft.com/office/drawing/2014/main" id="{52D1B8A4-5E5E-44A6-8D74-80C4FEC99A61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9248475" y="6314025"/>
                  <a:ext cx="154800" cy="33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113" name="Ink 112">
                  <a:extLst>
                    <a:ext uri="{FF2B5EF4-FFF2-40B4-BE49-F238E27FC236}">
                      <a16:creationId xmlns:a16="http://schemas.microsoft.com/office/drawing/2014/main" id="{041E4CB4-F3A1-439A-919A-4AE6DBF07A64}"/>
                    </a:ext>
                  </a:extLst>
                </p14:cNvPr>
                <p14:cNvContentPartPr/>
                <p14:nvPr/>
              </p14:nvContentPartPr>
              <p14:xfrm>
                <a:off x="9377355" y="6369465"/>
                <a:ext cx="258120" cy="342360"/>
              </p14:xfrm>
            </p:contentPart>
          </mc:Choice>
          <mc:Fallback xmlns="">
            <p:pic>
              <p:nvPicPr>
                <p:cNvPr id="113" name="Ink 112">
                  <a:extLst>
                    <a:ext uri="{FF2B5EF4-FFF2-40B4-BE49-F238E27FC236}">
                      <a16:creationId xmlns:a16="http://schemas.microsoft.com/office/drawing/2014/main" id="{041E4CB4-F3A1-439A-919A-4AE6DBF07A64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9359355" y="6351825"/>
                  <a:ext cx="293760" cy="37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114" name="Ink 113">
                  <a:extLst>
                    <a:ext uri="{FF2B5EF4-FFF2-40B4-BE49-F238E27FC236}">
                      <a16:creationId xmlns:a16="http://schemas.microsoft.com/office/drawing/2014/main" id="{891539DE-E878-4A6E-B76F-4DC9FC9A3983}"/>
                    </a:ext>
                  </a:extLst>
                </p14:cNvPr>
                <p14:cNvContentPartPr/>
                <p14:nvPr/>
              </p14:nvContentPartPr>
              <p14:xfrm>
                <a:off x="9707835" y="6156345"/>
                <a:ext cx="233640" cy="299160"/>
              </p14:xfrm>
            </p:contentPart>
          </mc:Choice>
          <mc:Fallback xmlns="">
            <p:pic>
              <p:nvPicPr>
                <p:cNvPr id="114" name="Ink 113">
                  <a:extLst>
                    <a:ext uri="{FF2B5EF4-FFF2-40B4-BE49-F238E27FC236}">
                      <a16:creationId xmlns:a16="http://schemas.microsoft.com/office/drawing/2014/main" id="{891539DE-E878-4A6E-B76F-4DC9FC9A3983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9689835" y="6138345"/>
                  <a:ext cx="269280" cy="33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115" name="Ink 114">
                  <a:extLst>
                    <a:ext uri="{FF2B5EF4-FFF2-40B4-BE49-F238E27FC236}">
                      <a16:creationId xmlns:a16="http://schemas.microsoft.com/office/drawing/2014/main" id="{76F0BD6E-2F12-45FC-94C6-D23B4485096E}"/>
                    </a:ext>
                  </a:extLst>
                </p14:cNvPr>
                <p14:cNvContentPartPr/>
                <p14:nvPr/>
              </p14:nvContentPartPr>
              <p14:xfrm>
                <a:off x="9925275" y="6324105"/>
                <a:ext cx="165960" cy="100080"/>
              </p14:xfrm>
            </p:contentPart>
          </mc:Choice>
          <mc:Fallback xmlns="">
            <p:pic>
              <p:nvPicPr>
                <p:cNvPr id="115" name="Ink 114">
                  <a:extLst>
                    <a:ext uri="{FF2B5EF4-FFF2-40B4-BE49-F238E27FC236}">
                      <a16:creationId xmlns:a16="http://schemas.microsoft.com/office/drawing/2014/main" id="{76F0BD6E-2F12-45FC-94C6-D23B4485096E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9907275" y="6306465"/>
                  <a:ext cx="201600" cy="13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116" name="Ink 115">
                  <a:extLst>
                    <a:ext uri="{FF2B5EF4-FFF2-40B4-BE49-F238E27FC236}">
                      <a16:creationId xmlns:a16="http://schemas.microsoft.com/office/drawing/2014/main" id="{FF4154A8-092B-4DA8-9486-1DBB6E07325C}"/>
                    </a:ext>
                  </a:extLst>
                </p14:cNvPr>
                <p14:cNvContentPartPr/>
                <p14:nvPr/>
              </p14:nvContentPartPr>
              <p14:xfrm>
                <a:off x="10023195" y="6183345"/>
                <a:ext cx="188280" cy="215280"/>
              </p14:xfrm>
            </p:contentPart>
          </mc:Choice>
          <mc:Fallback xmlns="">
            <p:pic>
              <p:nvPicPr>
                <p:cNvPr id="116" name="Ink 115">
                  <a:extLst>
                    <a:ext uri="{FF2B5EF4-FFF2-40B4-BE49-F238E27FC236}">
                      <a16:creationId xmlns:a16="http://schemas.microsoft.com/office/drawing/2014/main" id="{FF4154A8-092B-4DA8-9486-1DBB6E07325C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10005195" y="6165345"/>
                  <a:ext cx="223920" cy="25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117" name="Ink 116">
                  <a:extLst>
                    <a:ext uri="{FF2B5EF4-FFF2-40B4-BE49-F238E27FC236}">
                      <a16:creationId xmlns:a16="http://schemas.microsoft.com/office/drawing/2014/main" id="{0BB03CD5-6A00-4D8D-BF3B-3C992D324804}"/>
                    </a:ext>
                  </a:extLst>
                </p14:cNvPr>
                <p14:cNvContentPartPr/>
                <p14:nvPr/>
              </p14:nvContentPartPr>
              <p14:xfrm>
                <a:off x="10159275" y="6245985"/>
                <a:ext cx="281160" cy="156240"/>
              </p14:xfrm>
            </p:contentPart>
          </mc:Choice>
          <mc:Fallback xmlns="">
            <p:pic>
              <p:nvPicPr>
                <p:cNvPr id="117" name="Ink 116">
                  <a:extLst>
                    <a:ext uri="{FF2B5EF4-FFF2-40B4-BE49-F238E27FC236}">
                      <a16:creationId xmlns:a16="http://schemas.microsoft.com/office/drawing/2014/main" id="{0BB03CD5-6A00-4D8D-BF3B-3C992D324804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10141275" y="6227985"/>
                  <a:ext cx="316800" cy="19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118" name="Ink 117">
                  <a:extLst>
                    <a:ext uri="{FF2B5EF4-FFF2-40B4-BE49-F238E27FC236}">
                      <a16:creationId xmlns:a16="http://schemas.microsoft.com/office/drawing/2014/main" id="{058BF580-75B8-4E82-8314-549CCACB7D05}"/>
                    </a:ext>
                  </a:extLst>
                </p14:cNvPr>
                <p14:cNvContentPartPr/>
                <p14:nvPr/>
              </p14:nvContentPartPr>
              <p14:xfrm>
                <a:off x="10091955" y="6619665"/>
                <a:ext cx="347760" cy="57600"/>
              </p14:xfrm>
            </p:contentPart>
          </mc:Choice>
          <mc:Fallback xmlns="">
            <p:pic>
              <p:nvPicPr>
                <p:cNvPr id="118" name="Ink 117">
                  <a:extLst>
                    <a:ext uri="{FF2B5EF4-FFF2-40B4-BE49-F238E27FC236}">
                      <a16:creationId xmlns:a16="http://schemas.microsoft.com/office/drawing/2014/main" id="{058BF580-75B8-4E82-8314-549CCACB7D05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10074315" y="6601665"/>
                  <a:ext cx="383400" cy="932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CBDA5BBE-8A9A-48B8-A077-2C5AB6CF8DDA}"/>
              </a:ext>
            </a:extLst>
          </p:cNvPr>
          <p:cNvGrpSpPr/>
          <p:nvPr/>
        </p:nvGrpSpPr>
        <p:grpSpPr>
          <a:xfrm>
            <a:off x="11050275" y="4593945"/>
            <a:ext cx="237240" cy="325440"/>
            <a:chOff x="11050275" y="4593945"/>
            <a:chExt cx="237240" cy="325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120" name="Ink 119">
                  <a:extLst>
                    <a:ext uri="{FF2B5EF4-FFF2-40B4-BE49-F238E27FC236}">
                      <a16:creationId xmlns:a16="http://schemas.microsoft.com/office/drawing/2014/main" id="{4D754781-C705-41C6-89D7-5871FF2536C1}"/>
                    </a:ext>
                  </a:extLst>
                </p14:cNvPr>
                <p14:cNvContentPartPr/>
                <p14:nvPr/>
              </p14:nvContentPartPr>
              <p14:xfrm>
                <a:off x="11102475" y="4593945"/>
                <a:ext cx="54360" cy="299880"/>
              </p14:xfrm>
            </p:contentPart>
          </mc:Choice>
          <mc:Fallback xmlns="">
            <p:pic>
              <p:nvPicPr>
                <p:cNvPr id="120" name="Ink 119">
                  <a:extLst>
                    <a:ext uri="{FF2B5EF4-FFF2-40B4-BE49-F238E27FC236}">
                      <a16:creationId xmlns:a16="http://schemas.microsoft.com/office/drawing/2014/main" id="{4D754781-C705-41C6-89D7-5871FF2536C1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11084475" y="4576305"/>
                  <a:ext cx="90000" cy="33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121" name="Ink 120">
                  <a:extLst>
                    <a:ext uri="{FF2B5EF4-FFF2-40B4-BE49-F238E27FC236}">
                      <a16:creationId xmlns:a16="http://schemas.microsoft.com/office/drawing/2014/main" id="{D97DAAAF-C08C-454E-A2C2-F1AA0612033F}"/>
                    </a:ext>
                  </a:extLst>
                </p14:cNvPr>
                <p14:cNvContentPartPr/>
                <p14:nvPr/>
              </p14:nvContentPartPr>
              <p14:xfrm>
                <a:off x="11050275" y="4784385"/>
                <a:ext cx="237240" cy="135000"/>
              </p14:xfrm>
            </p:contentPart>
          </mc:Choice>
          <mc:Fallback xmlns="">
            <p:pic>
              <p:nvPicPr>
                <p:cNvPr id="121" name="Ink 120">
                  <a:extLst>
                    <a:ext uri="{FF2B5EF4-FFF2-40B4-BE49-F238E27FC236}">
                      <a16:creationId xmlns:a16="http://schemas.microsoft.com/office/drawing/2014/main" id="{D97DAAAF-C08C-454E-A2C2-F1AA0612033F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11032275" y="4766745"/>
                  <a:ext cx="272880" cy="170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A51BA879-2B15-4023-A215-942524E927DD}"/>
              </a:ext>
            </a:extLst>
          </p:cNvPr>
          <p:cNvGrpSpPr/>
          <p:nvPr/>
        </p:nvGrpSpPr>
        <p:grpSpPr>
          <a:xfrm>
            <a:off x="10749675" y="5088585"/>
            <a:ext cx="1241640" cy="300960"/>
            <a:chOff x="10749675" y="5088585"/>
            <a:chExt cx="1241640" cy="300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122" name="Ink 121">
                  <a:extLst>
                    <a:ext uri="{FF2B5EF4-FFF2-40B4-BE49-F238E27FC236}">
                      <a16:creationId xmlns:a16="http://schemas.microsoft.com/office/drawing/2014/main" id="{F049F074-B0EA-4F50-B574-452DEAEE2040}"/>
                    </a:ext>
                  </a:extLst>
                </p14:cNvPr>
                <p14:cNvContentPartPr/>
                <p14:nvPr/>
              </p14:nvContentPartPr>
              <p14:xfrm>
                <a:off x="10749675" y="5119905"/>
                <a:ext cx="105120" cy="263520"/>
              </p14:xfrm>
            </p:contentPart>
          </mc:Choice>
          <mc:Fallback xmlns="">
            <p:pic>
              <p:nvPicPr>
                <p:cNvPr id="122" name="Ink 121">
                  <a:extLst>
                    <a:ext uri="{FF2B5EF4-FFF2-40B4-BE49-F238E27FC236}">
                      <a16:creationId xmlns:a16="http://schemas.microsoft.com/office/drawing/2014/main" id="{F049F074-B0EA-4F50-B574-452DEAEE2040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0731675" y="5102265"/>
                  <a:ext cx="140760" cy="299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123" name="Ink 122">
                  <a:extLst>
                    <a:ext uri="{FF2B5EF4-FFF2-40B4-BE49-F238E27FC236}">
                      <a16:creationId xmlns:a16="http://schemas.microsoft.com/office/drawing/2014/main" id="{C5EA660F-B9B0-44AE-B557-77A63B568069}"/>
                    </a:ext>
                  </a:extLst>
                </p14:cNvPr>
                <p14:cNvContentPartPr/>
                <p14:nvPr/>
              </p14:nvContentPartPr>
              <p14:xfrm>
                <a:off x="10903755" y="5203785"/>
                <a:ext cx="137520" cy="185760"/>
              </p14:xfrm>
            </p:contentPart>
          </mc:Choice>
          <mc:Fallback xmlns="">
            <p:pic>
              <p:nvPicPr>
                <p:cNvPr id="123" name="Ink 122">
                  <a:extLst>
                    <a:ext uri="{FF2B5EF4-FFF2-40B4-BE49-F238E27FC236}">
                      <a16:creationId xmlns:a16="http://schemas.microsoft.com/office/drawing/2014/main" id="{C5EA660F-B9B0-44AE-B557-77A63B568069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10886115" y="5185785"/>
                  <a:ext cx="173160" cy="22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124" name="Ink 123">
                  <a:extLst>
                    <a:ext uri="{FF2B5EF4-FFF2-40B4-BE49-F238E27FC236}">
                      <a16:creationId xmlns:a16="http://schemas.microsoft.com/office/drawing/2014/main" id="{A6734172-0F5F-4A71-B415-FA0D21194EE4}"/>
                    </a:ext>
                  </a:extLst>
                </p14:cNvPr>
                <p14:cNvContentPartPr/>
                <p14:nvPr/>
              </p14:nvContentPartPr>
              <p14:xfrm>
                <a:off x="11047395" y="5183265"/>
                <a:ext cx="17280" cy="28800"/>
              </p14:xfrm>
            </p:contentPart>
          </mc:Choice>
          <mc:Fallback xmlns="">
            <p:pic>
              <p:nvPicPr>
                <p:cNvPr id="124" name="Ink 123">
                  <a:extLst>
                    <a:ext uri="{FF2B5EF4-FFF2-40B4-BE49-F238E27FC236}">
                      <a16:creationId xmlns:a16="http://schemas.microsoft.com/office/drawing/2014/main" id="{A6734172-0F5F-4A71-B415-FA0D21194EE4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1029755" y="5165265"/>
                  <a:ext cx="52920" cy="6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125" name="Ink 124">
                  <a:extLst>
                    <a:ext uri="{FF2B5EF4-FFF2-40B4-BE49-F238E27FC236}">
                      <a16:creationId xmlns:a16="http://schemas.microsoft.com/office/drawing/2014/main" id="{E3628824-F804-4F08-8273-BEB84AB6083D}"/>
                    </a:ext>
                  </a:extLst>
                </p14:cNvPr>
                <p14:cNvContentPartPr/>
                <p14:nvPr/>
              </p14:nvContentPartPr>
              <p14:xfrm>
                <a:off x="11088075" y="5208825"/>
                <a:ext cx="42120" cy="143280"/>
              </p14:xfrm>
            </p:contentPart>
          </mc:Choice>
          <mc:Fallback xmlns="">
            <p:pic>
              <p:nvPicPr>
                <p:cNvPr id="125" name="Ink 124">
                  <a:extLst>
                    <a:ext uri="{FF2B5EF4-FFF2-40B4-BE49-F238E27FC236}">
                      <a16:creationId xmlns:a16="http://schemas.microsoft.com/office/drawing/2014/main" id="{E3628824-F804-4F08-8273-BEB84AB6083D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1070075" y="5191185"/>
                  <a:ext cx="77760" cy="17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126" name="Ink 125">
                  <a:extLst>
                    <a:ext uri="{FF2B5EF4-FFF2-40B4-BE49-F238E27FC236}">
                      <a16:creationId xmlns:a16="http://schemas.microsoft.com/office/drawing/2014/main" id="{A8FD775E-199B-430D-9DB1-564949CF227E}"/>
                    </a:ext>
                  </a:extLst>
                </p14:cNvPr>
                <p14:cNvContentPartPr/>
                <p14:nvPr/>
              </p14:nvContentPartPr>
              <p14:xfrm>
                <a:off x="11169435" y="5201625"/>
                <a:ext cx="171720" cy="133200"/>
              </p14:xfrm>
            </p:contentPart>
          </mc:Choice>
          <mc:Fallback xmlns="">
            <p:pic>
              <p:nvPicPr>
                <p:cNvPr id="126" name="Ink 125">
                  <a:extLst>
                    <a:ext uri="{FF2B5EF4-FFF2-40B4-BE49-F238E27FC236}">
                      <a16:creationId xmlns:a16="http://schemas.microsoft.com/office/drawing/2014/main" id="{A8FD775E-199B-430D-9DB1-564949CF227E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1151435" y="5183625"/>
                  <a:ext cx="207360" cy="16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127" name="Ink 126">
                  <a:extLst>
                    <a:ext uri="{FF2B5EF4-FFF2-40B4-BE49-F238E27FC236}">
                      <a16:creationId xmlns:a16="http://schemas.microsoft.com/office/drawing/2014/main" id="{9C8F1BBB-C008-40C1-9DDA-38A9A037F0BB}"/>
                    </a:ext>
                  </a:extLst>
                </p14:cNvPr>
                <p14:cNvContentPartPr/>
                <p14:nvPr/>
              </p14:nvContentPartPr>
              <p14:xfrm>
                <a:off x="11369235" y="5168865"/>
                <a:ext cx="192240" cy="121680"/>
              </p14:xfrm>
            </p:contentPart>
          </mc:Choice>
          <mc:Fallback xmlns="">
            <p:pic>
              <p:nvPicPr>
                <p:cNvPr id="127" name="Ink 126">
                  <a:extLst>
                    <a:ext uri="{FF2B5EF4-FFF2-40B4-BE49-F238E27FC236}">
                      <a16:creationId xmlns:a16="http://schemas.microsoft.com/office/drawing/2014/main" id="{9C8F1BBB-C008-40C1-9DDA-38A9A037F0BB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1351595" y="5150865"/>
                  <a:ext cx="227880" cy="15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128" name="Ink 127">
                  <a:extLst>
                    <a:ext uri="{FF2B5EF4-FFF2-40B4-BE49-F238E27FC236}">
                      <a16:creationId xmlns:a16="http://schemas.microsoft.com/office/drawing/2014/main" id="{7C3E0354-3C4C-437B-B19F-1343101C11D1}"/>
                    </a:ext>
                  </a:extLst>
                </p14:cNvPr>
                <p14:cNvContentPartPr/>
                <p14:nvPr/>
              </p14:nvContentPartPr>
              <p14:xfrm>
                <a:off x="11599635" y="5088585"/>
                <a:ext cx="67320" cy="193320"/>
              </p14:xfrm>
            </p:contentPart>
          </mc:Choice>
          <mc:Fallback xmlns="">
            <p:pic>
              <p:nvPicPr>
                <p:cNvPr id="128" name="Ink 127">
                  <a:extLst>
                    <a:ext uri="{FF2B5EF4-FFF2-40B4-BE49-F238E27FC236}">
                      <a16:creationId xmlns:a16="http://schemas.microsoft.com/office/drawing/2014/main" id="{7C3E0354-3C4C-437B-B19F-1343101C11D1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1581995" y="5070585"/>
                  <a:ext cx="102960" cy="22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4">
              <p14:nvContentPartPr>
                <p14:cNvPr id="129" name="Ink 128">
                  <a:extLst>
                    <a:ext uri="{FF2B5EF4-FFF2-40B4-BE49-F238E27FC236}">
                      <a16:creationId xmlns:a16="http://schemas.microsoft.com/office/drawing/2014/main" id="{543AFA94-A773-4A0A-94B5-B8A20640E57B}"/>
                    </a:ext>
                  </a:extLst>
                </p14:cNvPr>
                <p14:cNvContentPartPr/>
                <p14:nvPr/>
              </p14:nvContentPartPr>
              <p14:xfrm>
                <a:off x="11751195" y="5113425"/>
                <a:ext cx="111960" cy="171360"/>
              </p14:xfrm>
            </p:contentPart>
          </mc:Choice>
          <mc:Fallback xmlns="">
            <p:pic>
              <p:nvPicPr>
                <p:cNvPr id="129" name="Ink 128">
                  <a:extLst>
                    <a:ext uri="{FF2B5EF4-FFF2-40B4-BE49-F238E27FC236}">
                      <a16:creationId xmlns:a16="http://schemas.microsoft.com/office/drawing/2014/main" id="{543AFA94-A773-4A0A-94B5-B8A20640E57B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11733555" y="5095425"/>
                  <a:ext cx="147600" cy="20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6">
              <p14:nvContentPartPr>
                <p14:cNvPr id="130" name="Ink 129">
                  <a:extLst>
                    <a:ext uri="{FF2B5EF4-FFF2-40B4-BE49-F238E27FC236}">
                      <a16:creationId xmlns:a16="http://schemas.microsoft.com/office/drawing/2014/main" id="{2C149584-0268-4F2D-8EBF-982DA2B57956}"/>
                    </a:ext>
                  </a:extLst>
                </p14:cNvPr>
                <p14:cNvContentPartPr/>
                <p14:nvPr/>
              </p14:nvContentPartPr>
              <p14:xfrm>
                <a:off x="11908515" y="5152665"/>
                <a:ext cx="82800" cy="79560"/>
              </p14:xfrm>
            </p:contentPart>
          </mc:Choice>
          <mc:Fallback xmlns="">
            <p:pic>
              <p:nvPicPr>
                <p:cNvPr id="130" name="Ink 129">
                  <a:extLst>
                    <a:ext uri="{FF2B5EF4-FFF2-40B4-BE49-F238E27FC236}">
                      <a16:creationId xmlns:a16="http://schemas.microsoft.com/office/drawing/2014/main" id="{2C149584-0268-4F2D-8EBF-982DA2B57956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11890515" y="5135025"/>
                  <a:ext cx="118440" cy="115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85992006-3D79-44EB-AD0A-5782A0C64ECD}"/>
              </a:ext>
            </a:extLst>
          </p:cNvPr>
          <p:cNvGrpSpPr/>
          <p:nvPr/>
        </p:nvGrpSpPr>
        <p:grpSpPr>
          <a:xfrm>
            <a:off x="10705755" y="5495745"/>
            <a:ext cx="1463040" cy="364680"/>
            <a:chOff x="10705755" y="5495745"/>
            <a:chExt cx="1463040" cy="3646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8">
              <p14:nvContentPartPr>
                <p14:cNvPr id="131" name="Ink 130">
                  <a:extLst>
                    <a:ext uri="{FF2B5EF4-FFF2-40B4-BE49-F238E27FC236}">
                      <a16:creationId xmlns:a16="http://schemas.microsoft.com/office/drawing/2014/main" id="{4B6D2BB5-56B2-408E-88EC-BE3C88C3FB8C}"/>
                    </a:ext>
                  </a:extLst>
                </p14:cNvPr>
                <p14:cNvContentPartPr/>
                <p14:nvPr/>
              </p14:nvContentPartPr>
              <p14:xfrm>
                <a:off x="10705755" y="5642625"/>
                <a:ext cx="131400" cy="217440"/>
              </p14:xfrm>
            </p:contentPart>
          </mc:Choice>
          <mc:Fallback xmlns="">
            <p:pic>
              <p:nvPicPr>
                <p:cNvPr id="131" name="Ink 130">
                  <a:extLst>
                    <a:ext uri="{FF2B5EF4-FFF2-40B4-BE49-F238E27FC236}">
                      <a16:creationId xmlns:a16="http://schemas.microsoft.com/office/drawing/2014/main" id="{4B6D2BB5-56B2-408E-88EC-BE3C88C3FB8C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10688115" y="5624625"/>
                  <a:ext cx="167040" cy="25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0">
              <p14:nvContentPartPr>
                <p14:cNvPr id="132" name="Ink 131">
                  <a:extLst>
                    <a:ext uri="{FF2B5EF4-FFF2-40B4-BE49-F238E27FC236}">
                      <a16:creationId xmlns:a16="http://schemas.microsoft.com/office/drawing/2014/main" id="{52D9BD12-B693-4F2A-85A6-C8A5C360781C}"/>
                    </a:ext>
                  </a:extLst>
                </p14:cNvPr>
                <p14:cNvContentPartPr/>
                <p14:nvPr/>
              </p14:nvContentPartPr>
              <p14:xfrm>
                <a:off x="10909515" y="5678625"/>
                <a:ext cx="47160" cy="106560"/>
              </p14:xfrm>
            </p:contentPart>
          </mc:Choice>
          <mc:Fallback xmlns="">
            <p:pic>
              <p:nvPicPr>
                <p:cNvPr id="132" name="Ink 131">
                  <a:extLst>
                    <a:ext uri="{FF2B5EF4-FFF2-40B4-BE49-F238E27FC236}">
                      <a16:creationId xmlns:a16="http://schemas.microsoft.com/office/drawing/2014/main" id="{52D9BD12-B693-4F2A-85A6-C8A5C360781C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10891515" y="5660985"/>
                  <a:ext cx="82800" cy="142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2">
              <p14:nvContentPartPr>
                <p14:cNvPr id="133" name="Ink 132">
                  <a:extLst>
                    <a:ext uri="{FF2B5EF4-FFF2-40B4-BE49-F238E27FC236}">
                      <a16:creationId xmlns:a16="http://schemas.microsoft.com/office/drawing/2014/main" id="{43B6E3F3-EA89-4490-9E8C-0E3087FC7130}"/>
                    </a:ext>
                  </a:extLst>
                </p14:cNvPr>
                <p14:cNvContentPartPr/>
                <p14:nvPr/>
              </p14:nvContentPartPr>
              <p14:xfrm>
                <a:off x="10930755" y="5617425"/>
                <a:ext cx="337680" cy="162000"/>
              </p14:xfrm>
            </p:contentPart>
          </mc:Choice>
          <mc:Fallback xmlns="">
            <p:pic>
              <p:nvPicPr>
                <p:cNvPr id="133" name="Ink 132">
                  <a:extLst>
                    <a:ext uri="{FF2B5EF4-FFF2-40B4-BE49-F238E27FC236}">
                      <a16:creationId xmlns:a16="http://schemas.microsoft.com/office/drawing/2014/main" id="{43B6E3F3-EA89-4490-9E8C-0E3087FC7130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10913115" y="5599425"/>
                  <a:ext cx="373320" cy="19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134" name="Ink 133">
                  <a:extLst>
                    <a:ext uri="{FF2B5EF4-FFF2-40B4-BE49-F238E27FC236}">
                      <a16:creationId xmlns:a16="http://schemas.microsoft.com/office/drawing/2014/main" id="{96326E21-4B12-47D9-8B5E-6E28D078F010}"/>
                    </a:ext>
                  </a:extLst>
                </p14:cNvPr>
                <p14:cNvContentPartPr/>
                <p14:nvPr/>
              </p14:nvContentPartPr>
              <p14:xfrm>
                <a:off x="11309835" y="5555505"/>
                <a:ext cx="71280" cy="174600"/>
              </p14:xfrm>
            </p:contentPart>
          </mc:Choice>
          <mc:Fallback xmlns="">
            <p:pic>
              <p:nvPicPr>
                <p:cNvPr id="134" name="Ink 133">
                  <a:extLst>
                    <a:ext uri="{FF2B5EF4-FFF2-40B4-BE49-F238E27FC236}">
                      <a16:creationId xmlns:a16="http://schemas.microsoft.com/office/drawing/2014/main" id="{96326E21-4B12-47D9-8B5E-6E28D078F010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11291835" y="5537865"/>
                  <a:ext cx="106920" cy="21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135" name="Ink 134">
                  <a:extLst>
                    <a:ext uri="{FF2B5EF4-FFF2-40B4-BE49-F238E27FC236}">
                      <a16:creationId xmlns:a16="http://schemas.microsoft.com/office/drawing/2014/main" id="{56B0DFA3-403F-4DA4-A7BC-2526B36041C1}"/>
                    </a:ext>
                  </a:extLst>
                </p14:cNvPr>
                <p14:cNvContentPartPr/>
                <p14:nvPr/>
              </p14:nvContentPartPr>
              <p14:xfrm>
                <a:off x="11432595" y="5568105"/>
                <a:ext cx="75240" cy="216000"/>
              </p14:xfrm>
            </p:contentPart>
          </mc:Choice>
          <mc:Fallback xmlns="">
            <p:pic>
              <p:nvPicPr>
                <p:cNvPr id="135" name="Ink 134">
                  <a:extLst>
                    <a:ext uri="{FF2B5EF4-FFF2-40B4-BE49-F238E27FC236}">
                      <a16:creationId xmlns:a16="http://schemas.microsoft.com/office/drawing/2014/main" id="{56B0DFA3-403F-4DA4-A7BC-2526B36041C1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11414955" y="5550105"/>
                  <a:ext cx="110880" cy="25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8">
              <p14:nvContentPartPr>
                <p14:cNvPr id="136" name="Ink 135">
                  <a:extLst>
                    <a:ext uri="{FF2B5EF4-FFF2-40B4-BE49-F238E27FC236}">
                      <a16:creationId xmlns:a16="http://schemas.microsoft.com/office/drawing/2014/main" id="{0A743DC4-0394-478C-A5E8-8DECABC49CBE}"/>
                    </a:ext>
                  </a:extLst>
                </p14:cNvPr>
                <p14:cNvContentPartPr/>
                <p14:nvPr/>
              </p14:nvContentPartPr>
              <p14:xfrm>
                <a:off x="11572635" y="5653785"/>
                <a:ext cx="117720" cy="103680"/>
              </p14:xfrm>
            </p:contentPart>
          </mc:Choice>
          <mc:Fallback xmlns="">
            <p:pic>
              <p:nvPicPr>
                <p:cNvPr id="136" name="Ink 135">
                  <a:extLst>
                    <a:ext uri="{FF2B5EF4-FFF2-40B4-BE49-F238E27FC236}">
                      <a16:creationId xmlns:a16="http://schemas.microsoft.com/office/drawing/2014/main" id="{0A743DC4-0394-478C-A5E8-8DECABC49CBE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11554635" y="5635785"/>
                  <a:ext cx="153360" cy="13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0">
              <p14:nvContentPartPr>
                <p14:cNvPr id="137" name="Ink 136">
                  <a:extLst>
                    <a:ext uri="{FF2B5EF4-FFF2-40B4-BE49-F238E27FC236}">
                      <a16:creationId xmlns:a16="http://schemas.microsoft.com/office/drawing/2014/main" id="{192DC3CD-2E95-4F32-8D68-A70AD0151C3A}"/>
                    </a:ext>
                  </a:extLst>
                </p14:cNvPr>
                <p14:cNvContentPartPr/>
                <p14:nvPr/>
              </p14:nvContentPartPr>
              <p14:xfrm>
                <a:off x="11750115" y="5495745"/>
                <a:ext cx="239400" cy="208800"/>
              </p14:xfrm>
            </p:contentPart>
          </mc:Choice>
          <mc:Fallback xmlns="">
            <p:pic>
              <p:nvPicPr>
                <p:cNvPr id="137" name="Ink 136">
                  <a:extLst>
                    <a:ext uri="{FF2B5EF4-FFF2-40B4-BE49-F238E27FC236}">
                      <a16:creationId xmlns:a16="http://schemas.microsoft.com/office/drawing/2014/main" id="{192DC3CD-2E95-4F32-8D68-A70AD0151C3A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11732475" y="5477745"/>
                  <a:ext cx="275040" cy="24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2">
              <p14:nvContentPartPr>
                <p14:cNvPr id="138" name="Ink 137">
                  <a:extLst>
                    <a:ext uri="{FF2B5EF4-FFF2-40B4-BE49-F238E27FC236}">
                      <a16:creationId xmlns:a16="http://schemas.microsoft.com/office/drawing/2014/main" id="{3DDC6B32-6EEB-4F8B-8CA1-E6A9940CB382}"/>
                    </a:ext>
                  </a:extLst>
                </p14:cNvPr>
                <p14:cNvContentPartPr/>
                <p14:nvPr/>
              </p14:nvContentPartPr>
              <p14:xfrm>
                <a:off x="11933715" y="5588625"/>
                <a:ext cx="235080" cy="271800"/>
              </p14:xfrm>
            </p:contentPart>
          </mc:Choice>
          <mc:Fallback xmlns="">
            <p:pic>
              <p:nvPicPr>
                <p:cNvPr id="138" name="Ink 137">
                  <a:extLst>
                    <a:ext uri="{FF2B5EF4-FFF2-40B4-BE49-F238E27FC236}">
                      <a16:creationId xmlns:a16="http://schemas.microsoft.com/office/drawing/2014/main" id="{3DDC6B32-6EEB-4F8B-8CA1-E6A9940CB382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11915715" y="5570985"/>
                  <a:ext cx="270720" cy="3074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4459053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C0F7F60-1D72-4F29-AC7D-B646971A9B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DBD14128-255E-448B-BA8F-6A851933A91F}"/>
              </a:ext>
            </a:extLst>
          </p:cNvPr>
          <p:cNvGrpSpPr/>
          <p:nvPr/>
        </p:nvGrpSpPr>
        <p:grpSpPr>
          <a:xfrm>
            <a:off x="6566835" y="5009025"/>
            <a:ext cx="851040" cy="242640"/>
            <a:chOff x="6566835" y="5009025"/>
            <a:chExt cx="851040" cy="242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D395CEF6-C52F-4965-AF7E-8D266355BFA5}"/>
                    </a:ext>
                  </a:extLst>
                </p14:cNvPr>
                <p14:cNvContentPartPr/>
                <p14:nvPr/>
              </p14:nvContentPartPr>
              <p14:xfrm>
                <a:off x="6574395" y="5026305"/>
                <a:ext cx="33120" cy="17568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D395CEF6-C52F-4965-AF7E-8D266355BFA5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556755" y="5008665"/>
                  <a:ext cx="68760" cy="211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D0FB5DF9-9282-4AA1-A44D-BF5688C62B17}"/>
                    </a:ext>
                  </a:extLst>
                </p14:cNvPr>
                <p14:cNvContentPartPr/>
                <p14:nvPr/>
              </p14:nvContentPartPr>
              <p14:xfrm>
                <a:off x="6566835" y="5018745"/>
                <a:ext cx="186840" cy="18252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D0FB5DF9-9282-4AA1-A44D-BF5688C62B17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549195" y="5000745"/>
                  <a:ext cx="222480" cy="218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9E3BB60B-DF00-4284-B3B3-0676D7A01274}"/>
                    </a:ext>
                  </a:extLst>
                </p14:cNvPr>
                <p14:cNvContentPartPr/>
                <p14:nvPr/>
              </p14:nvContentPartPr>
              <p14:xfrm>
                <a:off x="6855915" y="5009025"/>
                <a:ext cx="232920" cy="24264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9E3BB60B-DF00-4284-B3B3-0676D7A01274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6838275" y="4991385"/>
                  <a:ext cx="268560" cy="27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B2922516-3188-4B70-8A07-450AA0AB3D49}"/>
                    </a:ext>
                  </a:extLst>
                </p14:cNvPr>
                <p14:cNvContentPartPr/>
                <p14:nvPr/>
              </p14:nvContentPartPr>
              <p14:xfrm>
                <a:off x="7007475" y="5069505"/>
                <a:ext cx="83520" cy="2772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B2922516-3188-4B70-8A07-450AA0AB3D49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6989835" y="5051865"/>
                  <a:ext cx="119160" cy="6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2CCBBD17-7AC6-40D5-9229-0567BD9C2ECB}"/>
                    </a:ext>
                  </a:extLst>
                </p14:cNvPr>
                <p14:cNvContentPartPr/>
                <p14:nvPr/>
              </p14:nvContentPartPr>
              <p14:xfrm>
                <a:off x="7144275" y="5080665"/>
                <a:ext cx="273600" cy="17064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2CCBBD17-7AC6-40D5-9229-0567BD9C2ECB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7126635" y="5063025"/>
                  <a:ext cx="309240" cy="206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1196E96-61DE-44E4-A0A1-67B1D40CB0FD}"/>
              </a:ext>
            </a:extLst>
          </p:cNvPr>
          <p:cNvGrpSpPr/>
          <p:nvPr/>
        </p:nvGrpSpPr>
        <p:grpSpPr>
          <a:xfrm>
            <a:off x="7684635" y="5022345"/>
            <a:ext cx="3229560" cy="293040"/>
            <a:chOff x="7684635" y="5022345"/>
            <a:chExt cx="3229560" cy="2930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CD52694C-03C0-4137-BE1F-0AFF0C2426C5}"/>
                    </a:ext>
                  </a:extLst>
                </p14:cNvPr>
                <p14:cNvContentPartPr/>
                <p14:nvPr/>
              </p14:nvContentPartPr>
              <p14:xfrm>
                <a:off x="7821435" y="5065545"/>
                <a:ext cx="32040" cy="24984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CD52694C-03C0-4137-BE1F-0AFF0C2426C5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7803435" y="5047545"/>
                  <a:ext cx="67680" cy="28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29F7AAE3-A9B0-46E8-A6DF-37A7619415B9}"/>
                    </a:ext>
                  </a:extLst>
                </p14:cNvPr>
                <p14:cNvContentPartPr/>
                <p14:nvPr/>
              </p14:nvContentPartPr>
              <p14:xfrm>
                <a:off x="7684635" y="5055105"/>
                <a:ext cx="246240" cy="4032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29F7AAE3-A9B0-46E8-A6DF-37A7619415B9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7666635" y="5037105"/>
                  <a:ext cx="281880" cy="7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F6AC962C-E041-46B7-82CD-ED6F531F5D50}"/>
                    </a:ext>
                  </a:extLst>
                </p14:cNvPr>
                <p14:cNvContentPartPr/>
                <p14:nvPr/>
              </p14:nvContentPartPr>
              <p14:xfrm>
                <a:off x="7984875" y="5100105"/>
                <a:ext cx="101160" cy="16380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F6AC962C-E041-46B7-82CD-ED6F531F5D50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7966875" y="5082105"/>
                  <a:ext cx="136800" cy="199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5E3071BA-F113-4507-B36A-CB4A00D59253}"/>
                    </a:ext>
                  </a:extLst>
                </p14:cNvPr>
                <p14:cNvContentPartPr/>
                <p14:nvPr/>
              </p14:nvContentPartPr>
              <p14:xfrm>
                <a:off x="8428395" y="5052225"/>
                <a:ext cx="7560" cy="24516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5E3071BA-F113-4507-B36A-CB4A00D59253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8410395" y="5034225"/>
                  <a:ext cx="43200" cy="28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2714E2D0-6EBC-4415-ADC0-81909893269F}"/>
                    </a:ext>
                  </a:extLst>
                </p14:cNvPr>
                <p14:cNvContentPartPr/>
                <p14:nvPr/>
              </p14:nvContentPartPr>
              <p14:xfrm>
                <a:off x="8310675" y="5143665"/>
                <a:ext cx="574200" cy="14040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2714E2D0-6EBC-4415-ADC0-81909893269F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8292675" y="5125665"/>
                  <a:ext cx="609840" cy="17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B9819D5A-5A92-47D2-81DD-E416216617E1}"/>
                    </a:ext>
                  </a:extLst>
                </p14:cNvPr>
                <p14:cNvContentPartPr/>
                <p14:nvPr/>
              </p14:nvContentPartPr>
              <p14:xfrm>
                <a:off x="8838795" y="5033145"/>
                <a:ext cx="14760" cy="4500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B9819D5A-5A92-47D2-81DD-E416216617E1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8821155" y="5015505"/>
                  <a:ext cx="5040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5F3BCF7C-878A-4B25-8078-B0F96DEBBB71}"/>
                    </a:ext>
                  </a:extLst>
                </p14:cNvPr>
                <p14:cNvContentPartPr/>
                <p14:nvPr/>
              </p14:nvContentPartPr>
              <p14:xfrm>
                <a:off x="8915835" y="5098305"/>
                <a:ext cx="129960" cy="14364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5F3BCF7C-878A-4B25-8078-B0F96DEBBB71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8897835" y="5080305"/>
                  <a:ext cx="165600" cy="17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E30E9F6D-3CAB-46A8-989A-F4B2F85F85BD}"/>
                    </a:ext>
                  </a:extLst>
                </p14:cNvPr>
                <p14:cNvContentPartPr/>
                <p14:nvPr/>
              </p14:nvContentPartPr>
              <p14:xfrm>
                <a:off x="9301395" y="5036025"/>
                <a:ext cx="28080" cy="22644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E30E9F6D-3CAB-46A8-989A-F4B2F85F85BD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9283395" y="5018025"/>
                  <a:ext cx="63720" cy="26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A86C5B54-2BAD-45C7-BE2A-5F78161C2CD7}"/>
                    </a:ext>
                  </a:extLst>
                </p14:cNvPr>
                <p14:cNvContentPartPr/>
                <p14:nvPr/>
              </p14:nvContentPartPr>
              <p14:xfrm>
                <a:off x="9196995" y="5152305"/>
                <a:ext cx="354240" cy="14868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A86C5B54-2BAD-45C7-BE2A-5F78161C2CD7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9178995" y="5134665"/>
                  <a:ext cx="389880" cy="184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641851D1-FC00-4C63-A9AE-68820506EFAA}"/>
                    </a:ext>
                  </a:extLst>
                </p14:cNvPr>
                <p14:cNvContentPartPr/>
                <p14:nvPr/>
              </p14:nvContentPartPr>
              <p14:xfrm>
                <a:off x="9615315" y="5176785"/>
                <a:ext cx="127440" cy="11916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641851D1-FC00-4C63-A9AE-68820506EFAA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9597315" y="5159145"/>
                  <a:ext cx="163080" cy="15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73787152-6382-42EB-A3F0-8A6CEA6E55E6}"/>
                    </a:ext>
                  </a:extLst>
                </p14:cNvPr>
                <p14:cNvContentPartPr/>
                <p14:nvPr/>
              </p14:nvContentPartPr>
              <p14:xfrm>
                <a:off x="9984315" y="5131065"/>
                <a:ext cx="452880" cy="14544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73787152-6382-42EB-A3F0-8A6CEA6E55E6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9966315" y="5113425"/>
                  <a:ext cx="488520" cy="181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4DEE741A-826B-4C73-81AD-F61EE16BF326}"/>
                    </a:ext>
                  </a:extLst>
                </p14:cNvPr>
                <p14:cNvContentPartPr/>
                <p14:nvPr/>
              </p14:nvContentPartPr>
              <p14:xfrm>
                <a:off x="10534035" y="5022345"/>
                <a:ext cx="380160" cy="23004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4DEE741A-826B-4C73-81AD-F61EE16BF326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0516395" y="5004345"/>
                  <a:ext cx="415800" cy="265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0A39C11-A42F-4E82-A0E5-4A0EB7468DEC}"/>
              </a:ext>
            </a:extLst>
          </p:cNvPr>
          <p:cNvGrpSpPr/>
          <p:nvPr/>
        </p:nvGrpSpPr>
        <p:grpSpPr>
          <a:xfrm>
            <a:off x="11117595" y="5056905"/>
            <a:ext cx="362880" cy="168480"/>
            <a:chOff x="11117595" y="5056905"/>
            <a:chExt cx="362880" cy="1684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22B04BB1-0658-4101-A097-5C5BE7AD2FF8}"/>
                    </a:ext>
                  </a:extLst>
                </p14:cNvPr>
                <p14:cNvContentPartPr/>
                <p14:nvPr/>
              </p14:nvContentPartPr>
              <p14:xfrm>
                <a:off x="11117595" y="5056905"/>
                <a:ext cx="178200" cy="16092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22B04BB1-0658-4101-A097-5C5BE7AD2FF8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1099595" y="5039265"/>
                  <a:ext cx="213840" cy="19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4E9E82CE-7BDF-46E5-BDAF-41B1225434C8}"/>
                    </a:ext>
                  </a:extLst>
                </p14:cNvPr>
                <p14:cNvContentPartPr/>
                <p14:nvPr/>
              </p14:nvContentPartPr>
              <p14:xfrm>
                <a:off x="11316315" y="5086425"/>
                <a:ext cx="164160" cy="13896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4E9E82CE-7BDF-46E5-BDAF-41B1225434C8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1298315" y="5068785"/>
                  <a:ext cx="199800" cy="174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26B7255-B97A-49B1-B197-2181A20E2C46}"/>
              </a:ext>
            </a:extLst>
          </p:cNvPr>
          <p:cNvGrpSpPr/>
          <p:nvPr/>
        </p:nvGrpSpPr>
        <p:grpSpPr>
          <a:xfrm>
            <a:off x="6522915" y="5417985"/>
            <a:ext cx="1001520" cy="401400"/>
            <a:chOff x="6522915" y="5417985"/>
            <a:chExt cx="1001520" cy="401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2AF1E856-8521-459A-A80E-DE593B383789}"/>
                    </a:ext>
                  </a:extLst>
                </p14:cNvPr>
                <p14:cNvContentPartPr/>
                <p14:nvPr/>
              </p14:nvContentPartPr>
              <p14:xfrm>
                <a:off x="6522915" y="5417985"/>
                <a:ext cx="95040" cy="34668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2AF1E856-8521-459A-A80E-DE593B383789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6505275" y="5399985"/>
                  <a:ext cx="130680" cy="38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053A3B10-3852-4796-B13B-ADA76164075F}"/>
                    </a:ext>
                  </a:extLst>
                </p14:cNvPr>
                <p14:cNvContentPartPr/>
                <p14:nvPr/>
              </p14:nvContentPartPr>
              <p14:xfrm>
                <a:off x="6606795" y="5511945"/>
                <a:ext cx="437040" cy="30744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053A3B10-3852-4796-B13B-ADA76164075F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6589155" y="5493945"/>
                  <a:ext cx="472680" cy="34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210B9F01-C0C1-4D2F-BF02-A9D515B37D38}"/>
                    </a:ext>
                  </a:extLst>
                </p14:cNvPr>
                <p14:cNvContentPartPr/>
                <p14:nvPr/>
              </p14:nvContentPartPr>
              <p14:xfrm>
                <a:off x="7087395" y="5537865"/>
                <a:ext cx="437040" cy="17856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210B9F01-C0C1-4D2F-BF02-A9D515B37D38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7069395" y="5520225"/>
                  <a:ext cx="472680" cy="214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C07FDA8-F99E-431D-AE6A-03EEE44F8387}"/>
              </a:ext>
            </a:extLst>
          </p:cNvPr>
          <p:cNvGrpSpPr/>
          <p:nvPr/>
        </p:nvGrpSpPr>
        <p:grpSpPr>
          <a:xfrm>
            <a:off x="7887675" y="5399985"/>
            <a:ext cx="469800" cy="273960"/>
            <a:chOff x="7887675" y="5399985"/>
            <a:chExt cx="469800" cy="273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7A127EA3-29BB-4702-9945-C2ABF2D3D475}"/>
                    </a:ext>
                  </a:extLst>
                </p14:cNvPr>
                <p14:cNvContentPartPr/>
                <p14:nvPr/>
              </p14:nvContentPartPr>
              <p14:xfrm>
                <a:off x="7941675" y="5399985"/>
                <a:ext cx="57240" cy="25776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7A127EA3-29BB-4702-9945-C2ABF2D3D475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7923675" y="5382345"/>
                  <a:ext cx="92880" cy="29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3A0919F8-4E8F-414A-BB4D-38FDABCD690A}"/>
                    </a:ext>
                  </a:extLst>
                </p14:cNvPr>
                <p14:cNvContentPartPr/>
                <p14:nvPr/>
              </p14:nvContentPartPr>
              <p14:xfrm>
                <a:off x="7887675" y="5513385"/>
                <a:ext cx="469800" cy="16056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3A0919F8-4E8F-414A-BB4D-38FDABCD690A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7869675" y="5495745"/>
                  <a:ext cx="505440" cy="196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EF32132-27C8-4B06-BA93-E4992843A92E}"/>
              </a:ext>
            </a:extLst>
          </p:cNvPr>
          <p:cNvGrpSpPr/>
          <p:nvPr/>
        </p:nvGrpSpPr>
        <p:grpSpPr>
          <a:xfrm>
            <a:off x="8705595" y="5481345"/>
            <a:ext cx="1725840" cy="223560"/>
            <a:chOff x="8705595" y="5481345"/>
            <a:chExt cx="1725840" cy="2235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2A33C735-D3FC-44D2-A772-3AE999666494}"/>
                    </a:ext>
                  </a:extLst>
                </p14:cNvPr>
                <p14:cNvContentPartPr/>
                <p14:nvPr/>
              </p14:nvContentPartPr>
              <p14:xfrm>
                <a:off x="8705595" y="5484225"/>
                <a:ext cx="172800" cy="22068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2A33C735-D3FC-44D2-A772-3AE999666494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8687955" y="5466585"/>
                  <a:ext cx="208440" cy="25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F5DC4876-5A16-4C4B-888E-25434C3309C5}"/>
                    </a:ext>
                  </a:extLst>
                </p14:cNvPr>
                <p14:cNvContentPartPr/>
                <p14:nvPr/>
              </p14:nvContentPartPr>
              <p14:xfrm>
                <a:off x="8933835" y="5547945"/>
                <a:ext cx="136800" cy="11412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F5DC4876-5A16-4C4B-888E-25434C3309C5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8916195" y="5529945"/>
                  <a:ext cx="172440" cy="14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CE053CD1-BDE9-4ACB-95ED-D383F9EEF400}"/>
                    </a:ext>
                  </a:extLst>
                </p14:cNvPr>
                <p14:cNvContentPartPr/>
                <p14:nvPr/>
              </p14:nvContentPartPr>
              <p14:xfrm>
                <a:off x="9126075" y="5573865"/>
                <a:ext cx="170280" cy="12420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CE053CD1-BDE9-4ACB-95ED-D383F9EEF400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9108075" y="5555865"/>
                  <a:ext cx="205920" cy="15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93C5BE3E-A2E2-4223-8483-A83AC2B103FF}"/>
                    </a:ext>
                  </a:extLst>
                </p14:cNvPr>
                <p14:cNvContentPartPr/>
                <p14:nvPr/>
              </p14:nvContentPartPr>
              <p14:xfrm>
                <a:off x="9363675" y="5559105"/>
                <a:ext cx="77400" cy="10980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93C5BE3E-A2E2-4223-8483-A83AC2B103FF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9345675" y="5541105"/>
                  <a:ext cx="113040" cy="14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55B488D3-F110-4A8F-ADFE-E7EC5BBA4B7C}"/>
                    </a:ext>
                  </a:extLst>
                </p14:cNvPr>
                <p14:cNvContentPartPr/>
                <p14:nvPr/>
              </p14:nvContentPartPr>
              <p14:xfrm>
                <a:off x="9638715" y="5559825"/>
                <a:ext cx="325440" cy="12996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55B488D3-F110-4A8F-ADFE-E7EC5BBA4B7C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9620715" y="5541825"/>
                  <a:ext cx="361080" cy="16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8AFF1DD5-4299-44D8-9198-FF5058EDB189}"/>
                    </a:ext>
                  </a:extLst>
                </p14:cNvPr>
                <p14:cNvContentPartPr/>
                <p14:nvPr/>
              </p14:nvContentPartPr>
              <p14:xfrm>
                <a:off x="9956955" y="5623545"/>
                <a:ext cx="36360" cy="1476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8AFF1DD5-4299-44D8-9198-FF5058EDB189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9938955" y="5605905"/>
                  <a:ext cx="72000" cy="5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637C6486-7337-4A4F-961C-752256A4C2C3}"/>
                    </a:ext>
                  </a:extLst>
                </p14:cNvPr>
                <p14:cNvContentPartPr/>
                <p14:nvPr/>
              </p14:nvContentPartPr>
              <p14:xfrm>
                <a:off x="10195275" y="5565945"/>
                <a:ext cx="91800" cy="12600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637C6486-7337-4A4F-961C-752256A4C2C3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10177635" y="5548305"/>
                  <a:ext cx="127440" cy="16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CA4618CD-B92C-437F-9262-FB4CCA4ADD57}"/>
                    </a:ext>
                  </a:extLst>
                </p14:cNvPr>
                <p14:cNvContentPartPr/>
                <p14:nvPr/>
              </p14:nvContentPartPr>
              <p14:xfrm>
                <a:off x="10338555" y="5481345"/>
                <a:ext cx="92880" cy="20880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CA4618CD-B92C-437F-9262-FB4CCA4ADD57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10320915" y="5463345"/>
                  <a:ext cx="128520" cy="244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4FF591-8A4D-45F3-8527-1198EE5FC96A}"/>
              </a:ext>
            </a:extLst>
          </p:cNvPr>
          <p:cNvGrpSpPr/>
          <p:nvPr/>
        </p:nvGrpSpPr>
        <p:grpSpPr>
          <a:xfrm>
            <a:off x="10694235" y="5527065"/>
            <a:ext cx="566280" cy="174240"/>
            <a:chOff x="10694235" y="5527065"/>
            <a:chExt cx="566280" cy="174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AC16239B-4887-429B-BF94-DC64BC8FD7D9}"/>
                    </a:ext>
                  </a:extLst>
                </p14:cNvPr>
                <p14:cNvContentPartPr/>
                <p14:nvPr/>
              </p14:nvContentPartPr>
              <p14:xfrm>
                <a:off x="10694235" y="5604465"/>
                <a:ext cx="213840" cy="1368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AC16239B-4887-429B-BF94-DC64BC8FD7D9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10676235" y="5586465"/>
                  <a:ext cx="249480" cy="4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5FD18F35-8477-4AB1-B000-4CCDDB5D9383}"/>
                    </a:ext>
                  </a:extLst>
                </p14:cNvPr>
                <p14:cNvContentPartPr/>
                <p14:nvPr/>
              </p14:nvContentPartPr>
              <p14:xfrm>
                <a:off x="10750035" y="5527065"/>
                <a:ext cx="27360" cy="17424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5FD18F35-8477-4AB1-B000-4CCDDB5D9383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10732395" y="5509065"/>
                  <a:ext cx="6300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83EFF1F5-AFF8-4D5C-9F2E-9188DB56B6F5}"/>
                    </a:ext>
                  </a:extLst>
                </p14:cNvPr>
                <p14:cNvContentPartPr/>
                <p14:nvPr/>
              </p14:nvContentPartPr>
              <p14:xfrm>
                <a:off x="10903035" y="5574225"/>
                <a:ext cx="120600" cy="11772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83EFF1F5-AFF8-4D5C-9F2E-9188DB56B6F5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10885035" y="5556225"/>
                  <a:ext cx="156240" cy="15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83021640-CE01-43EC-9397-D7E5E881F1CC}"/>
                    </a:ext>
                  </a:extLst>
                </p14:cNvPr>
                <p14:cNvContentPartPr/>
                <p14:nvPr/>
              </p14:nvContentPartPr>
              <p14:xfrm>
                <a:off x="11122635" y="5552265"/>
                <a:ext cx="137880" cy="10440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83021640-CE01-43EC-9397-D7E5E881F1CC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11104635" y="5534625"/>
                  <a:ext cx="173520" cy="1400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E7C1A32-D4E9-429D-A779-594B3D9C0510}"/>
              </a:ext>
            </a:extLst>
          </p:cNvPr>
          <p:cNvGrpSpPr/>
          <p:nvPr/>
        </p:nvGrpSpPr>
        <p:grpSpPr>
          <a:xfrm>
            <a:off x="11461035" y="5487825"/>
            <a:ext cx="610920" cy="286920"/>
            <a:chOff x="11461035" y="5487825"/>
            <a:chExt cx="610920" cy="286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86CC097E-CE52-4A85-A1F6-2125FC17C64A}"/>
                    </a:ext>
                  </a:extLst>
                </p14:cNvPr>
                <p14:cNvContentPartPr/>
                <p14:nvPr/>
              </p14:nvContentPartPr>
              <p14:xfrm>
                <a:off x="11461035" y="5487825"/>
                <a:ext cx="127080" cy="28692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86CC097E-CE52-4A85-A1F6-2125FC17C64A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1443035" y="5470185"/>
                  <a:ext cx="162720" cy="32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C442E95F-DCF1-4688-A3BA-976E16D52E89}"/>
                    </a:ext>
                  </a:extLst>
                </p14:cNvPr>
                <p14:cNvContentPartPr/>
                <p14:nvPr/>
              </p14:nvContentPartPr>
              <p14:xfrm>
                <a:off x="11678115" y="5615265"/>
                <a:ext cx="98280" cy="1080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C442E95F-DCF1-4688-A3BA-976E16D52E89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11660475" y="5597265"/>
                  <a:ext cx="133920" cy="4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A7264E06-EA5C-4388-B650-03B3C97A7693}"/>
                    </a:ext>
                  </a:extLst>
                </p14:cNvPr>
                <p14:cNvContentPartPr/>
                <p14:nvPr/>
              </p14:nvContentPartPr>
              <p14:xfrm>
                <a:off x="11786835" y="5553705"/>
                <a:ext cx="110880" cy="14472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A7264E06-EA5C-4388-B650-03B3C97A7693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11769195" y="5535705"/>
                  <a:ext cx="146520" cy="18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BCB18EF9-4055-4D1B-80ED-0F17295AF74D}"/>
                    </a:ext>
                  </a:extLst>
                </p14:cNvPr>
                <p14:cNvContentPartPr/>
                <p14:nvPr/>
              </p14:nvContentPartPr>
              <p14:xfrm>
                <a:off x="11954595" y="5533185"/>
                <a:ext cx="117360" cy="14076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BCB18EF9-4055-4D1B-80ED-0F17295AF74D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11936955" y="5515185"/>
                  <a:ext cx="153000" cy="176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9D52D2C-2369-465D-81CD-D4CE8994EEC7}"/>
              </a:ext>
            </a:extLst>
          </p:cNvPr>
          <p:cNvGrpSpPr/>
          <p:nvPr/>
        </p:nvGrpSpPr>
        <p:grpSpPr>
          <a:xfrm>
            <a:off x="6515715" y="6019905"/>
            <a:ext cx="1236240" cy="295920"/>
            <a:chOff x="6515715" y="6019905"/>
            <a:chExt cx="1236240" cy="295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CDFE044D-E807-4099-B4C0-4E49372CC64B}"/>
                    </a:ext>
                  </a:extLst>
                </p14:cNvPr>
                <p14:cNvContentPartPr/>
                <p14:nvPr/>
              </p14:nvContentPartPr>
              <p14:xfrm>
                <a:off x="6515715" y="6019905"/>
                <a:ext cx="164520" cy="28656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CDFE044D-E807-4099-B4C0-4E49372CC64B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6498075" y="6001905"/>
                  <a:ext cx="200160" cy="322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A8203DCA-3EF8-4853-A2A2-14633E27EE68}"/>
                    </a:ext>
                  </a:extLst>
                </p14:cNvPr>
                <p14:cNvContentPartPr/>
                <p14:nvPr/>
              </p14:nvContentPartPr>
              <p14:xfrm>
                <a:off x="6710475" y="6134745"/>
                <a:ext cx="172440" cy="16092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A8203DCA-3EF8-4853-A2A2-14633E27EE68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6692835" y="6117105"/>
                  <a:ext cx="208080" cy="19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1C3BD292-F865-4866-964B-4FDAC6C8AF76}"/>
                    </a:ext>
                  </a:extLst>
                </p14:cNvPr>
                <p14:cNvContentPartPr/>
                <p14:nvPr/>
              </p14:nvContentPartPr>
              <p14:xfrm>
                <a:off x="6948075" y="6153465"/>
                <a:ext cx="231480" cy="12636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1C3BD292-F865-4866-964B-4FDAC6C8AF76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6930075" y="6135465"/>
                  <a:ext cx="267120" cy="16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423531EF-F192-44CB-AFF5-9A9737A14646}"/>
                    </a:ext>
                  </a:extLst>
                </p14:cNvPr>
                <p14:cNvContentPartPr/>
                <p14:nvPr/>
              </p14:nvContentPartPr>
              <p14:xfrm>
                <a:off x="7247595" y="6109905"/>
                <a:ext cx="129240" cy="20592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423531EF-F192-44CB-AFF5-9A9737A14646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7229595" y="6092265"/>
                  <a:ext cx="164880" cy="24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A1ECE382-1CFB-4256-A8EE-09D9C574B0D2}"/>
                    </a:ext>
                  </a:extLst>
                </p14:cNvPr>
                <p14:cNvContentPartPr/>
                <p14:nvPr/>
              </p14:nvContentPartPr>
              <p14:xfrm>
                <a:off x="7400955" y="6032505"/>
                <a:ext cx="61560" cy="191520"/>
              </p14:xfrm>
            </p:contentPart>
          </mc:Choice>
          <mc:Fallback xmlns=""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A1ECE382-1CFB-4256-A8EE-09D9C574B0D2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7382955" y="6014865"/>
                  <a:ext cx="97200" cy="22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16321296-95AF-4FE6-98AB-D1884DEBCF1E}"/>
                    </a:ext>
                  </a:extLst>
                </p14:cNvPr>
                <p14:cNvContentPartPr/>
                <p14:nvPr/>
              </p14:nvContentPartPr>
              <p14:xfrm>
                <a:off x="7541355" y="6111345"/>
                <a:ext cx="210600" cy="133920"/>
              </p14:xfrm>
            </p:contentPart>
          </mc:Choice>
          <mc:Fallback xmlns=""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16321296-95AF-4FE6-98AB-D1884DEBCF1E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7523355" y="6093705"/>
                  <a:ext cx="246240" cy="169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7B5C8252-6B66-4C85-BE27-DD5B5DE8E8C3}"/>
              </a:ext>
            </a:extLst>
          </p:cNvPr>
          <p:cNvGrpSpPr/>
          <p:nvPr/>
        </p:nvGrpSpPr>
        <p:grpSpPr>
          <a:xfrm>
            <a:off x="5464875" y="1592625"/>
            <a:ext cx="486360" cy="305640"/>
            <a:chOff x="5464875" y="1592625"/>
            <a:chExt cx="486360" cy="305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493C2DA5-5D7C-429D-82AE-4C81B9343C7D}"/>
                    </a:ext>
                  </a:extLst>
                </p14:cNvPr>
                <p14:cNvContentPartPr/>
                <p14:nvPr/>
              </p14:nvContentPartPr>
              <p14:xfrm>
                <a:off x="5464875" y="1592625"/>
                <a:ext cx="208800" cy="305640"/>
              </p14:xfrm>
            </p:contentPart>
          </mc:Choice>
          <mc:Fallback xmlns=""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493C2DA5-5D7C-429D-82AE-4C81B9343C7D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5447235" y="1574985"/>
                  <a:ext cx="244440" cy="34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61" name="Ink 60">
                  <a:extLst>
                    <a:ext uri="{FF2B5EF4-FFF2-40B4-BE49-F238E27FC236}">
                      <a16:creationId xmlns:a16="http://schemas.microsoft.com/office/drawing/2014/main" id="{C95B3D05-67B1-4FE3-9571-93BC2ED173F6}"/>
                    </a:ext>
                  </a:extLst>
                </p14:cNvPr>
                <p14:cNvContentPartPr/>
                <p14:nvPr/>
              </p14:nvContentPartPr>
              <p14:xfrm>
                <a:off x="5788875" y="1696305"/>
                <a:ext cx="159480" cy="10800"/>
              </p14:xfrm>
            </p:contentPart>
          </mc:Choice>
          <mc:Fallback xmlns="">
            <p:pic>
              <p:nvPicPr>
                <p:cNvPr id="61" name="Ink 60">
                  <a:extLst>
                    <a:ext uri="{FF2B5EF4-FFF2-40B4-BE49-F238E27FC236}">
                      <a16:creationId xmlns:a16="http://schemas.microsoft.com/office/drawing/2014/main" id="{C95B3D05-67B1-4FE3-9571-93BC2ED173F6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5771235" y="1678665"/>
                  <a:ext cx="195120" cy="4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0E2C670A-E46A-4226-A209-5124F51143F3}"/>
                    </a:ext>
                  </a:extLst>
                </p14:cNvPr>
                <p14:cNvContentPartPr/>
                <p14:nvPr/>
              </p14:nvContentPartPr>
              <p14:xfrm>
                <a:off x="5775195" y="1843185"/>
                <a:ext cx="176040" cy="42120"/>
              </p14:xfrm>
            </p:contentPart>
          </mc:Choice>
          <mc:Fallback xmlns=""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0E2C670A-E46A-4226-A209-5124F51143F3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5757555" y="1825545"/>
                  <a:ext cx="211680" cy="777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3BECDDE-23D0-4D30-AEC6-52F7D54838DD}"/>
              </a:ext>
            </a:extLst>
          </p:cNvPr>
          <p:cNvGrpSpPr/>
          <p:nvPr/>
        </p:nvGrpSpPr>
        <p:grpSpPr>
          <a:xfrm>
            <a:off x="11557875" y="4020465"/>
            <a:ext cx="365040" cy="344880"/>
            <a:chOff x="11557875" y="4020465"/>
            <a:chExt cx="365040" cy="3448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67" name="Ink 66">
                  <a:extLst>
                    <a:ext uri="{FF2B5EF4-FFF2-40B4-BE49-F238E27FC236}">
                      <a16:creationId xmlns:a16="http://schemas.microsoft.com/office/drawing/2014/main" id="{50CBCE44-239B-43AA-9DA7-A038A1CA8227}"/>
                    </a:ext>
                  </a:extLst>
                </p14:cNvPr>
                <p14:cNvContentPartPr/>
                <p14:nvPr/>
              </p14:nvContentPartPr>
              <p14:xfrm>
                <a:off x="11560035" y="4189665"/>
                <a:ext cx="105120" cy="16560"/>
              </p14:xfrm>
            </p:contentPart>
          </mc:Choice>
          <mc:Fallback xmlns="">
            <p:pic>
              <p:nvPicPr>
                <p:cNvPr id="67" name="Ink 66">
                  <a:extLst>
                    <a:ext uri="{FF2B5EF4-FFF2-40B4-BE49-F238E27FC236}">
                      <a16:creationId xmlns:a16="http://schemas.microsoft.com/office/drawing/2014/main" id="{50CBCE44-239B-43AA-9DA7-A038A1CA8227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1542395" y="4172025"/>
                  <a:ext cx="140760" cy="52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7C843C0D-9CF6-4A5E-948A-613B3EC757E2}"/>
                    </a:ext>
                  </a:extLst>
                </p14:cNvPr>
                <p14:cNvContentPartPr/>
                <p14:nvPr/>
              </p14:nvContentPartPr>
              <p14:xfrm>
                <a:off x="11557875" y="4263465"/>
                <a:ext cx="119880" cy="24120"/>
              </p14:xfrm>
            </p:contentPart>
          </mc:Choice>
          <mc:Fallback xmlns=""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7C843C0D-9CF6-4A5E-948A-613B3EC757E2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1540235" y="4245825"/>
                  <a:ext cx="15552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D1148DE5-FE36-469D-B8EF-F9F1152D467B}"/>
                    </a:ext>
                  </a:extLst>
                </p14:cNvPr>
                <p14:cNvContentPartPr/>
                <p14:nvPr/>
              </p14:nvContentPartPr>
              <p14:xfrm>
                <a:off x="11730675" y="4151145"/>
                <a:ext cx="192240" cy="21420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D1148DE5-FE36-469D-B8EF-F9F1152D467B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1713035" y="4133145"/>
                  <a:ext cx="227880" cy="24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B5DC61A3-2C88-452E-BB6A-82E81BA87E7C}"/>
                    </a:ext>
                  </a:extLst>
                </p14:cNvPr>
                <p14:cNvContentPartPr/>
                <p14:nvPr/>
              </p14:nvContentPartPr>
              <p14:xfrm>
                <a:off x="11754435" y="4020465"/>
                <a:ext cx="153720" cy="72360"/>
              </p14:xfrm>
            </p:contentPart>
          </mc:Choice>
          <mc:Fallback xmlns=""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B5DC61A3-2C88-452E-BB6A-82E81BA87E7C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1736795" y="4002825"/>
                  <a:ext cx="189360" cy="1080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6491282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63BEA28-8356-4416-9F6C-A7E6F0D463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FB43AEE7-E7B1-4235-AFE6-B0632AC1E831}"/>
              </a:ext>
            </a:extLst>
          </p:cNvPr>
          <p:cNvGrpSpPr/>
          <p:nvPr/>
        </p:nvGrpSpPr>
        <p:grpSpPr>
          <a:xfrm>
            <a:off x="2993835" y="325425"/>
            <a:ext cx="632520" cy="289080"/>
            <a:chOff x="2993835" y="325425"/>
            <a:chExt cx="632520" cy="2890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8A59DBA1-D286-4E3A-87EC-79AE1C539DD7}"/>
                    </a:ext>
                  </a:extLst>
                </p14:cNvPr>
                <p14:cNvContentPartPr/>
                <p14:nvPr/>
              </p14:nvContentPartPr>
              <p14:xfrm>
                <a:off x="2993835" y="325425"/>
                <a:ext cx="39240" cy="25884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8A59DBA1-D286-4E3A-87EC-79AE1C539DD7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2976195" y="307425"/>
                  <a:ext cx="74880" cy="294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D8F89DA4-627A-41E4-9954-B3D0B16D7F7F}"/>
                    </a:ext>
                  </a:extLst>
                </p14:cNvPr>
                <p14:cNvContentPartPr/>
                <p14:nvPr/>
              </p14:nvContentPartPr>
              <p14:xfrm>
                <a:off x="2996715" y="408585"/>
                <a:ext cx="216720" cy="20592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D8F89DA4-627A-41E4-9954-B3D0B16D7F7F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979075" y="390585"/>
                  <a:ext cx="252360" cy="24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DDD231F0-BD03-4FC9-B662-D6EBDC1B84DA}"/>
                    </a:ext>
                  </a:extLst>
                </p14:cNvPr>
                <p14:cNvContentPartPr/>
                <p14:nvPr/>
              </p14:nvContentPartPr>
              <p14:xfrm>
                <a:off x="3294795" y="416145"/>
                <a:ext cx="83520" cy="11772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DDD231F0-BD03-4FC9-B662-D6EBDC1B84DA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3277155" y="398145"/>
                  <a:ext cx="119160" cy="15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F7196C53-C156-47F6-9AAC-FBE73F33B453}"/>
                    </a:ext>
                  </a:extLst>
                </p14:cNvPr>
                <p14:cNvContentPartPr/>
                <p14:nvPr/>
              </p14:nvContentPartPr>
              <p14:xfrm>
                <a:off x="3433035" y="395985"/>
                <a:ext cx="193320" cy="13896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F7196C53-C156-47F6-9AAC-FBE73F33B453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3415395" y="377985"/>
                  <a:ext cx="228960" cy="174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F1CEA1-F037-4B97-A17D-180601A81CE0}"/>
              </a:ext>
            </a:extLst>
          </p:cNvPr>
          <p:cNvGrpSpPr/>
          <p:nvPr/>
        </p:nvGrpSpPr>
        <p:grpSpPr>
          <a:xfrm>
            <a:off x="8658795" y="302745"/>
            <a:ext cx="1478880" cy="392760"/>
            <a:chOff x="8658795" y="302745"/>
            <a:chExt cx="1478880" cy="392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5195AE3D-688E-4226-93CF-83B7515A1B69}"/>
                    </a:ext>
                  </a:extLst>
                </p14:cNvPr>
                <p14:cNvContentPartPr/>
                <p14:nvPr/>
              </p14:nvContentPartPr>
              <p14:xfrm>
                <a:off x="8658795" y="302745"/>
                <a:ext cx="229320" cy="26280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5195AE3D-688E-4226-93CF-83B7515A1B69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640795" y="284745"/>
                  <a:ext cx="264960" cy="298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4FE77DC5-2614-4EEF-800B-51FD9F660254}"/>
                    </a:ext>
                  </a:extLst>
                </p14:cNvPr>
                <p14:cNvContentPartPr/>
                <p14:nvPr/>
              </p14:nvContentPartPr>
              <p14:xfrm>
                <a:off x="8896755" y="401025"/>
                <a:ext cx="365400" cy="29448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4FE77DC5-2614-4EEF-800B-51FD9F660254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8879115" y="383385"/>
                  <a:ext cx="401040" cy="33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DE01E25F-878F-40A1-AC29-DA8D8782677E}"/>
                    </a:ext>
                  </a:extLst>
                </p14:cNvPr>
                <p14:cNvContentPartPr/>
                <p14:nvPr/>
              </p14:nvContentPartPr>
              <p14:xfrm>
                <a:off x="9286635" y="347025"/>
                <a:ext cx="165960" cy="28260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DE01E25F-878F-40A1-AC29-DA8D8782677E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9268635" y="329385"/>
                  <a:ext cx="201600" cy="31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B572CB71-0F07-4681-BFB0-E7FEAFB2F13F}"/>
                    </a:ext>
                  </a:extLst>
                </p14:cNvPr>
                <p14:cNvContentPartPr/>
                <p14:nvPr/>
              </p14:nvContentPartPr>
              <p14:xfrm>
                <a:off x="9444315" y="405705"/>
                <a:ext cx="361440" cy="16560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B572CB71-0F07-4681-BFB0-E7FEAFB2F13F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426315" y="387705"/>
                  <a:ext cx="397080" cy="20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DC4115C9-4F10-4492-8A84-341CFBE7DF6F}"/>
                    </a:ext>
                  </a:extLst>
                </p14:cNvPr>
                <p14:cNvContentPartPr/>
                <p14:nvPr/>
              </p14:nvContentPartPr>
              <p14:xfrm>
                <a:off x="9906555" y="327945"/>
                <a:ext cx="63720" cy="21348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DC4115C9-4F10-4492-8A84-341CFBE7DF6F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9888555" y="309945"/>
                  <a:ext cx="99360" cy="24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84F57F54-990B-4777-A650-A7B2E8906E96}"/>
                    </a:ext>
                  </a:extLst>
                </p14:cNvPr>
                <p14:cNvContentPartPr/>
                <p14:nvPr/>
              </p14:nvContentPartPr>
              <p14:xfrm>
                <a:off x="10041195" y="352065"/>
                <a:ext cx="96480" cy="21312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84F57F54-990B-4777-A650-A7B2E8906E96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0023195" y="334425"/>
                  <a:ext cx="132120" cy="248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19A77AF2-957A-4A95-B372-6D22E5837D00}"/>
                    </a:ext>
                  </a:extLst>
                </p14:cNvPr>
                <p14:cNvContentPartPr/>
                <p14:nvPr/>
              </p14:nvContentPartPr>
              <p14:xfrm>
                <a:off x="9931035" y="635025"/>
                <a:ext cx="167400" cy="1476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19A77AF2-957A-4A95-B372-6D22E5837D00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9913035" y="617025"/>
                  <a:ext cx="203040" cy="504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28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9B3CD613-4AC0-4882-A359-B8249AAE8A4D}"/>
                  </a:ext>
                </a:extLst>
              </p14:cNvPr>
              <p14:cNvContentPartPr/>
              <p14:nvPr/>
            </p14:nvContentPartPr>
            <p14:xfrm>
              <a:off x="1874595" y="2433585"/>
              <a:ext cx="1957320" cy="669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9B3CD613-4AC0-4882-A359-B8249AAE8A4D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1856595" y="2415945"/>
                <a:ext cx="1992960" cy="10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0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21562325-72DD-4151-AF5E-02621123F29E}"/>
                  </a:ext>
                </a:extLst>
              </p14:cNvPr>
              <p14:cNvContentPartPr/>
              <p14:nvPr/>
            </p14:nvContentPartPr>
            <p14:xfrm>
              <a:off x="9835275" y="2438985"/>
              <a:ext cx="1139400" cy="5940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21562325-72DD-4151-AF5E-02621123F29E}"/>
                  </a:ext>
                </a:extLst>
              </p:cNvPr>
              <p:cNvPicPr/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9817275" y="2420985"/>
                <a:ext cx="1175040" cy="95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2">
            <p14:nvContentPartPr>
              <p14:cNvPr id="26" name="Ink 25">
                <a:extLst>
                  <a:ext uri="{FF2B5EF4-FFF2-40B4-BE49-F238E27FC236}">
                    <a16:creationId xmlns:a16="http://schemas.microsoft.com/office/drawing/2014/main" id="{50FAB777-1983-4A4B-8238-39F3558180BE}"/>
                  </a:ext>
                </a:extLst>
              </p14:cNvPr>
              <p14:cNvContentPartPr/>
              <p14:nvPr/>
            </p14:nvContentPartPr>
            <p14:xfrm>
              <a:off x="1219755" y="2940105"/>
              <a:ext cx="774000" cy="48240"/>
            </p14:xfrm>
          </p:contentPart>
        </mc:Choice>
        <mc:Fallback xmlns="">
          <p:pic>
            <p:nvPicPr>
              <p:cNvPr id="26" name="Ink 25">
                <a:extLst>
                  <a:ext uri="{FF2B5EF4-FFF2-40B4-BE49-F238E27FC236}">
                    <a16:creationId xmlns:a16="http://schemas.microsoft.com/office/drawing/2014/main" id="{50FAB777-1983-4A4B-8238-39F3558180BE}"/>
                  </a:ext>
                </a:extLst>
              </p:cNvPr>
              <p:cNvPicPr/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1202115" y="2922465"/>
                <a:ext cx="809640" cy="838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6901911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C804F-5BBB-469C-946E-AEC8F4144E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7AADD4-33F6-4987-9B7F-C4F7DB6506B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7F850C-4DCB-4F7F-B577-D135C6111A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862D8E8D-CFD0-438F-AB0D-DF8EF6E3B065}"/>
              </a:ext>
            </a:extLst>
          </p:cNvPr>
          <p:cNvGrpSpPr/>
          <p:nvPr/>
        </p:nvGrpSpPr>
        <p:grpSpPr>
          <a:xfrm>
            <a:off x="7571649" y="269802"/>
            <a:ext cx="874800" cy="227520"/>
            <a:chOff x="7571649" y="269802"/>
            <a:chExt cx="874800" cy="227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B99CDCD3-B352-42DF-A923-9EEA511AD63C}"/>
                    </a:ext>
                  </a:extLst>
                </p14:cNvPr>
                <p14:cNvContentPartPr/>
                <p14:nvPr/>
              </p14:nvContentPartPr>
              <p14:xfrm>
                <a:off x="7571649" y="416682"/>
                <a:ext cx="180360" cy="1116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B99CDCD3-B352-42DF-A923-9EEA511AD63C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554009" y="398682"/>
                  <a:ext cx="216000" cy="4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7180F8DD-35C7-4F94-8059-21123B0A70A8}"/>
                    </a:ext>
                  </a:extLst>
                </p14:cNvPr>
                <p14:cNvContentPartPr/>
                <p14:nvPr/>
              </p14:nvContentPartPr>
              <p14:xfrm>
                <a:off x="8015889" y="305802"/>
                <a:ext cx="34200" cy="18432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7180F8DD-35C7-4F94-8059-21123B0A70A8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7998249" y="288162"/>
                  <a:ext cx="69840" cy="21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F2477970-5B4A-40DE-B881-437954D1219A}"/>
                    </a:ext>
                  </a:extLst>
                </p14:cNvPr>
                <p14:cNvContentPartPr/>
                <p14:nvPr/>
              </p14:nvContentPartPr>
              <p14:xfrm>
                <a:off x="7819689" y="269802"/>
                <a:ext cx="519480" cy="22320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F2477970-5B4A-40DE-B881-437954D1219A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7802049" y="251802"/>
                  <a:ext cx="555120" cy="25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3C491A04-A523-45C1-9F18-C2B19A3E36EC}"/>
                    </a:ext>
                  </a:extLst>
                </p14:cNvPr>
                <p14:cNvContentPartPr/>
                <p14:nvPr/>
              </p14:nvContentPartPr>
              <p14:xfrm>
                <a:off x="8367609" y="355842"/>
                <a:ext cx="78840" cy="14148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3C491A04-A523-45C1-9F18-C2B19A3E36EC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8349969" y="337842"/>
                  <a:ext cx="114480" cy="1771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BA5AB3C-D6F6-4E0A-9A4C-DC2427B7008D}"/>
              </a:ext>
            </a:extLst>
          </p:cNvPr>
          <p:cNvGrpSpPr/>
          <p:nvPr/>
        </p:nvGrpSpPr>
        <p:grpSpPr>
          <a:xfrm>
            <a:off x="8663169" y="300042"/>
            <a:ext cx="1562040" cy="317520"/>
            <a:chOff x="8663169" y="300042"/>
            <a:chExt cx="1562040" cy="317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86A57AD7-4E05-4C8D-B5AA-25F456C4816F}"/>
                    </a:ext>
                  </a:extLst>
                </p14:cNvPr>
                <p14:cNvContentPartPr/>
                <p14:nvPr/>
              </p14:nvContentPartPr>
              <p14:xfrm>
                <a:off x="8663169" y="300042"/>
                <a:ext cx="141840" cy="31752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86A57AD7-4E05-4C8D-B5AA-25F456C4816F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8645169" y="282042"/>
                  <a:ext cx="177480" cy="35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FC24BC72-E7CB-4916-A2BA-8A2C30863754}"/>
                    </a:ext>
                  </a:extLst>
                </p14:cNvPr>
                <p14:cNvContentPartPr/>
                <p14:nvPr/>
              </p14:nvContentPartPr>
              <p14:xfrm>
                <a:off x="8756049" y="397242"/>
                <a:ext cx="336240" cy="13284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FC24BC72-E7CB-4916-A2BA-8A2C30863754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8738409" y="379602"/>
                  <a:ext cx="371880" cy="16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D6B4D1A2-9D74-4A57-B3AC-C15798F5EA45}"/>
                    </a:ext>
                  </a:extLst>
                </p14:cNvPr>
                <p14:cNvContentPartPr/>
                <p14:nvPr/>
              </p14:nvContentPartPr>
              <p14:xfrm>
                <a:off x="9115689" y="310122"/>
                <a:ext cx="142920" cy="18864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D6B4D1A2-9D74-4A57-B3AC-C15798F5EA45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9097689" y="292482"/>
                  <a:ext cx="178560" cy="22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405E5D6E-8235-41DF-98CF-5100FAD36871}"/>
                    </a:ext>
                  </a:extLst>
                </p14:cNvPr>
                <p14:cNvContentPartPr/>
                <p14:nvPr/>
              </p14:nvContentPartPr>
              <p14:xfrm>
                <a:off x="9282009" y="306162"/>
                <a:ext cx="64440" cy="20880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405E5D6E-8235-41DF-98CF-5100FAD36871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9264009" y="288162"/>
                  <a:ext cx="100080" cy="24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49CC71E7-9644-485E-96D1-7D31853E1ACA}"/>
                    </a:ext>
                  </a:extLst>
                </p14:cNvPr>
                <p14:cNvContentPartPr/>
                <p14:nvPr/>
              </p14:nvContentPartPr>
              <p14:xfrm>
                <a:off x="9368769" y="364842"/>
                <a:ext cx="127800" cy="14004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49CC71E7-9644-485E-96D1-7D31853E1ACA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9351129" y="346842"/>
                  <a:ext cx="163440" cy="17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668C64A5-E077-4E1C-BD02-ABF32A7B02D8}"/>
                    </a:ext>
                  </a:extLst>
                </p14:cNvPr>
                <p14:cNvContentPartPr/>
                <p14:nvPr/>
              </p14:nvContentPartPr>
              <p14:xfrm>
                <a:off x="9594129" y="398322"/>
                <a:ext cx="201960" cy="11376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668C64A5-E077-4E1C-BD02-ABF32A7B02D8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9576129" y="380682"/>
                  <a:ext cx="237600" cy="14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9761595F-DD0F-48BD-8BCE-57A3A39EF40E}"/>
                    </a:ext>
                  </a:extLst>
                </p14:cNvPr>
                <p14:cNvContentPartPr/>
                <p14:nvPr/>
              </p14:nvContentPartPr>
              <p14:xfrm>
                <a:off x="9995529" y="384282"/>
                <a:ext cx="10800" cy="15552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9761595F-DD0F-48BD-8BCE-57A3A39EF40E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9977889" y="366642"/>
                  <a:ext cx="46440" cy="19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F788DDE1-CF18-4FA3-BFFF-A9480AF903F2}"/>
                    </a:ext>
                  </a:extLst>
                </p14:cNvPr>
                <p14:cNvContentPartPr/>
                <p14:nvPr/>
              </p14:nvContentPartPr>
              <p14:xfrm>
                <a:off x="9927849" y="316602"/>
                <a:ext cx="25200" cy="5364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F788DDE1-CF18-4FA3-BFFF-A9480AF903F2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9910209" y="298602"/>
                  <a:ext cx="60840" cy="8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48368997-343C-4A22-8FF4-7966E0339209}"/>
                    </a:ext>
                  </a:extLst>
                </p14:cNvPr>
                <p14:cNvContentPartPr/>
                <p14:nvPr/>
              </p14:nvContentPartPr>
              <p14:xfrm>
                <a:off x="10098849" y="346482"/>
                <a:ext cx="126360" cy="16596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48368997-343C-4A22-8FF4-7966E0339209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10080849" y="328842"/>
                  <a:ext cx="162000" cy="201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68B9ED4-FFC7-41C1-B9C3-0800C3F5E48B}"/>
              </a:ext>
            </a:extLst>
          </p:cNvPr>
          <p:cNvGrpSpPr/>
          <p:nvPr/>
        </p:nvGrpSpPr>
        <p:grpSpPr>
          <a:xfrm>
            <a:off x="10431129" y="346482"/>
            <a:ext cx="578520" cy="210600"/>
            <a:chOff x="10431129" y="346482"/>
            <a:chExt cx="578520" cy="210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8333240B-A9B5-46D0-BB32-116EFC930536}"/>
                    </a:ext>
                  </a:extLst>
                </p14:cNvPr>
                <p14:cNvContentPartPr/>
                <p14:nvPr/>
              </p14:nvContentPartPr>
              <p14:xfrm>
                <a:off x="10431129" y="407322"/>
                <a:ext cx="338760" cy="10728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8333240B-A9B5-46D0-BB32-116EFC930536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10413489" y="389322"/>
                  <a:ext cx="374400" cy="14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27DAAED0-3EC8-4B90-A785-97743961D32C}"/>
                    </a:ext>
                  </a:extLst>
                </p14:cNvPr>
                <p14:cNvContentPartPr/>
                <p14:nvPr/>
              </p14:nvContentPartPr>
              <p14:xfrm>
                <a:off x="10836489" y="346482"/>
                <a:ext cx="64800" cy="21060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27DAAED0-3EC8-4B90-A785-97743961D32C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10818849" y="328842"/>
                  <a:ext cx="100440" cy="24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6CB12F8B-3B06-4B8F-9266-4E49D8E59E94}"/>
                    </a:ext>
                  </a:extLst>
                </p14:cNvPr>
                <p14:cNvContentPartPr/>
                <p14:nvPr/>
              </p14:nvContentPartPr>
              <p14:xfrm>
                <a:off x="10820649" y="467082"/>
                <a:ext cx="189000" cy="4284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6CB12F8B-3B06-4B8F-9266-4E49D8E59E94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10802649" y="449082"/>
                  <a:ext cx="224640" cy="78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99D837D-83A6-40EF-808B-6C075363E154}"/>
              </a:ext>
            </a:extLst>
          </p:cNvPr>
          <p:cNvGrpSpPr/>
          <p:nvPr/>
        </p:nvGrpSpPr>
        <p:grpSpPr>
          <a:xfrm>
            <a:off x="11243649" y="350802"/>
            <a:ext cx="325800" cy="261360"/>
            <a:chOff x="11243649" y="350802"/>
            <a:chExt cx="325800" cy="261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8F816454-7BBE-496F-9A7B-02D9CF7066BB}"/>
                    </a:ext>
                  </a:extLst>
                </p14:cNvPr>
                <p14:cNvContentPartPr/>
                <p14:nvPr/>
              </p14:nvContentPartPr>
              <p14:xfrm>
                <a:off x="11357769" y="350802"/>
                <a:ext cx="80280" cy="26136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8F816454-7BBE-496F-9A7B-02D9CF7066BB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11340129" y="333162"/>
                  <a:ext cx="115920" cy="29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6ABC0DF0-5982-4012-BAB3-3604FA9732A0}"/>
                    </a:ext>
                  </a:extLst>
                </p14:cNvPr>
                <p14:cNvContentPartPr/>
                <p14:nvPr/>
              </p14:nvContentPartPr>
              <p14:xfrm>
                <a:off x="11243649" y="442962"/>
                <a:ext cx="325800" cy="11412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6ABC0DF0-5982-4012-BAB3-3604FA9732A0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11225649" y="424962"/>
                  <a:ext cx="361440" cy="1497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9C07713-827E-43AF-B3A5-BD238A7CFD3A}"/>
              </a:ext>
            </a:extLst>
          </p:cNvPr>
          <p:cNvGrpSpPr/>
          <p:nvPr/>
        </p:nvGrpSpPr>
        <p:grpSpPr>
          <a:xfrm>
            <a:off x="11861769" y="321282"/>
            <a:ext cx="1267560" cy="454320"/>
            <a:chOff x="11861769" y="321282"/>
            <a:chExt cx="1267560" cy="454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433850C9-0219-4287-8C49-1FA0A0DDD1E1}"/>
                    </a:ext>
                  </a:extLst>
                </p14:cNvPr>
                <p14:cNvContentPartPr/>
                <p14:nvPr/>
              </p14:nvContentPartPr>
              <p14:xfrm>
                <a:off x="11861769" y="372402"/>
                <a:ext cx="667440" cy="27576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433850C9-0219-4287-8C49-1FA0A0DDD1E1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11843769" y="354762"/>
                  <a:ext cx="703080" cy="31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5C2D011E-3224-47A0-8B10-44AF36315B41}"/>
                    </a:ext>
                  </a:extLst>
                </p14:cNvPr>
                <p14:cNvContentPartPr/>
                <p14:nvPr/>
              </p14:nvContentPartPr>
              <p14:xfrm>
                <a:off x="12549729" y="362682"/>
                <a:ext cx="75600" cy="20664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5C2D011E-3224-47A0-8B10-44AF36315B41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12532089" y="345042"/>
                  <a:ext cx="111240" cy="24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6B5C54C2-9E74-46E7-B9EA-C27A4CB5F8D2}"/>
                    </a:ext>
                  </a:extLst>
                </p14:cNvPr>
                <p14:cNvContentPartPr/>
                <p14:nvPr/>
              </p14:nvContentPartPr>
              <p14:xfrm>
                <a:off x="12708849" y="321282"/>
                <a:ext cx="192960" cy="30060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6B5C54C2-9E74-46E7-B9EA-C27A4CB5F8D2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12691209" y="303282"/>
                  <a:ext cx="228600" cy="33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50BC0316-4FC7-4E1E-BD66-A30D82EC8CA7}"/>
                    </a:ext>
                  </a:extLst>
                </p14:cNvPr>
                <p14:cNvContentPartPr/>
                <p14:nvPr/>
              </p14:nvContentPartPr>
              <p14:xfrm>
                <a:off x="12765009" y="465642"/>
                <a:ext cx="364320" cy="30996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50BC0316-4FC7-4E1E-BD66-A30D82EC8CA7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12747009" y="448002"/>
                  <a:ext cx="399960" cy="3456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56622494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4B77C47C-7AB1-408D-B430-1BDA5C70C5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852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8061123-0206-448C-A68D-51BE0D55C2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9812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201790C-F049-42C9-828C-858CE36048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62752E3-750A-4926-96EA-80C38B11EB48}"/>
              </a:ext>
            </a:extLst>
          </p:cNvPr>
          <p:cNvGrpSpPr/>
          <p:nvPr/>
        </p:nvGrpSpPr>
        <p:grpSpPr>
          <a:xfrm>
            <a:off x="196995" y="4579545"/>
            <a:ext cx="798840" cy="280080"/>
            <a:chOff x="196995" y="4579545"/>
            <a:chExt cx="798840" cy="2800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F62BF77A-8568-44A5-BF9B-A7A47F4AC62F}"/>
                    </a:ext>
                  </a:extLst>
                </p14:cNvPr>
                <p14:cNvContentPartPr/>
                <p14:nvPr/>
              </p14:nvContentPartPr>
              <p14:xfrm>
                <a:off x="196995" y="4579545"/>
                <a:ext cx="145440" cy="26460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F62BF77A-8568-44A5-BF9B-A7A47F4AC62F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78995" y="4561905"/>
                  <a:ext cx="181080" cy="30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A551D754-E8AB-484A-9AC0-7F9E45E01D50}"/>
                    </a:ext>
                  </a:extLst>
                </p14:cNvPr>
                <p14:cNvContentPartPr/>
                <p14:nvPr/>
              </p14:nvContentPartPr>
              <p14:xfrm>
                <a:off x="325515" y="4695825"/>
                <a:ext cx="103320" cy="14580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A551D754-E8AB-484A-9AC0-7F9E45E01D50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07875" y="4677825"/>
                  <a:ext cx="138960" cy="18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968CC531-12AF-48A0-9926-531849A86457}"/>
                    </a:ext>
                  </a:extLst>
                </p14:cNvPr>
                <p14:cNvContentPartPr/>
                <p14:nvPr/>
              </p14:nvContentPartPr>
              <p14:xfrm>
                <a:off x="527475" y="4714905"/>
                <a:ext cx="179640" cy="14472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968CC531-12AF-48A0-9926-531849A86457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09475" y="4697265"/>
                  <a:ext cx="215280" cy="18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B1EBD2BD-D766-46DA-8479-5384245E148B}"/>
                    </a:ext>
                  </a:extLst>
                </p14:cNvPr>
                <p14:cNvContentPartPr/>
                <p14:nvPr/>
              </p14:nvContentPartPr>
              <p14:xfrm>
                <a:off x="716115" y="4722825"/>
                <a:ext cx="139320" cy="11808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B1EBD2BD-D766-46DA-8479-5384245E148B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698115" y="4705185"/>
                  <a:ext cx="174960" cy="15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8D41ECF2-D97A-4513-963D-CA905733D308}"/>
                    </a:ext>
                  </a:extLst>
                </p14:cNvPr>
                <p14:cNvContentPartPr/>
                <p14:nvPr/>
              </p14:nvContentPartPr>
              <p14:xfrm>
                <a:off x="891795" y="4649745"/>
                <a:ext cx="104040" cy="20448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8D41ECF2-D97A-4513-963D-CA905733D308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73795" y="4631745"/>
                  <a:ext cx="139680" cy="2401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A8B598E-96C2-4DD6-A445-F66031E1CD74}"/>
              </a:ext>
            </a:extLst>
          </p:cNvPr>
          <p:cNvGrpSpPr/>
          <p:nvPr/>
        </p:nvGrpSpPr>
        <p:grpSpPr>
          <a:xfrm>
            <a:off x="1195995" y="4623825"/>
            <a:ext cx="1621800" cy="248400"/>
            <a:chOff x="1195995" y="4623825"/>
            <a:chExt cx="1621800" cy="248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CB9DB3A7-444F-49D1-8E0A-A09E209BF9D3}"/>
                    </a:ext>
                  </a:extLst>
                </p14:cNvPr>
                <p14:cNvContentPartPr/>
                <p14:nvPr/>
              </p14:nvContentPartPr>
              <p14:xfrm>
                <a:off x="1269795" y="4643265"/>
                <a:ext cx="65160" cy="22896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CB9DB3A7-444F-49D1-8E0A-A09E209BF9D3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251795" y="4625625"/>
                  <a:ext cx="100800" cy="26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A70FD3E2-3FBD-4A9C-BB5C-832BEE1366FA}"/>
                    </a:ext>
                  </a:extLst>
                </p14:cNvPr>
                <p14:cNvContentPartPr/>
                <p14:nvPr/>
              </p14:nvContentPartPr>
              <p14:xfrm>
                <a:off x="1195995" y="4746945"/>
                <a:ext cx="379440" cy="10548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A70FD3E2-3FBD-4A9C-BB5C-832BEE1366FA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177995" y="4729305"/>
                  <a:ext cx="415080" cy="14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128EC418-FAE6-4C88-BA42-BD89D28A3DBD}"/>
                    </a:ext>
                  </a:extLst>
                </p14:cNvPr>
                <p14:cNvContentPartPr/>
                <p14:nvPr/>
              </p14:nvContentPartPr>
              <p14:xfrm>
                <a:off x="1593435" y="4725705"/>
                <a:ext cx="105840" cy="12816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128EC418-FAE6-4C88-BA42-BD89D28A3DBD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575435" y="4707705"/>
                  <a:ext cx="141480" cy="16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2E5223C7-0637-4F34-8E7C-6DE2C2F66C05}"/>
                    </a:ext>
                  </a:extLst>
                </p14:cNvPr>
                <p14:cNvContentPartPr/>
                <p14:nvPr/>
              </p14:nvContentPartPr>
              <p14:xfrm>
                <a:off x="1426035" y="4623825"/>
                <a:ext cx="24120" cy="15012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2E5223C7-0637-4F34-8E7C-6DE2C2F66C05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408035" y="4606185"/>
                  <a:ext cx="59760" cy="18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567A8B26-A119-46E9-B607-A5CC3F513BBB}"/>
                    </a:ext>
                  </a:extLst>
                </p14:cNvPr>
                <p14:cNvContentPartPr/>
                <p14:nvPr/>
              </p14:nvContentPartPr>
              <p14:xfrm>
                <a:off x="1849755" y="4712025"/>
                <a:ext cx="151920" cy="16020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567A8B26-A119-46E9-B607-A5CC3F513BBB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832115" y="4694385"/>
                  <a:ext cx="187560" cy="19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D9602C7C-390B-4244-8A96-F38A4B4F4503}"/>
                    </a:ext>
                  </a:extLst>
                </p14:cNvPr>
                <p14:cNvContentPartPr/>
                <p14:nvPr/>
              </p14:nvContentPartPr>
              <p14:xfrm>
                <a:off x="2034435" y="4750185"/>
                <a:ext cx="179640" cy="11520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D9602C7C-390B-4244-8A96-F38A4B4F4503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2016435" y="4732545"/>
                  <a:ext cx="215280" cy="15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9EC7D202-B3EB-4AA9-9324-9679D4DAF88C}"/>
                    </a:ext>
                  </a:extLst>
                </p14:cNvPr>
                <p14:cNvContentPartPr/>
                <p14:nvPr/>
              </p14:nvContentPartPr>
              <p14:xfrm>
                <a:off x="2278875" y="4699785"/>
                <a:ext cx="362160" cy="15480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9EC7D202-B3EB-4AA9-9324-9679D4DAF88C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2261235" y="4681785"/>
                  <a:ext cx="397800" cy="190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8BBEAF9D-21D6-4579-AEE5-5DDEFF3FBF0F}"/>
                    </a:ext>
                  </a:extLst>
                </p14:cNvPr>
                <p14:cNvContentPartPr/>
                <p14:nvPr/>
              </p14:nvContentPartPr>
              <p14:xfrm>
                <a:off x="2632395" y="4704465"/>
                <a:ext cx="185400" cy="12132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8BBEAF9D-21D6-4579-AEE5-5DDEFF3FBF0F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2614755" y="4686465"/>
                  <a:ext cx="221040" cy="15696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1233213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3BA9F411-56CC-4F41-99C2-16B8AED8C7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82C94A94-BE30-46EF-9A76-DCF42BDDBF66}"/>
              </a:ext>
            </a:extLst>
          </p:cNvPr>
          <p:cNvGrpSpPr/>
          <p:nvPr/>
        </p:nvGrpSpPr>
        <p:grpSpPr>
          <a:xfrm>
            <a:off x="185835" y="885225"/>
            <a:ext cx="1364760" cy="321480"/>
            <a:chOff x="185835" y="885225"/>
            <a:chExt cx="1364760" cy="3214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A785E641-B634-4DCF-97E1-3D5D00542F7E}"/>
                    </a:ext>
                  </a:extLst>
                </p14:cNvPr>
                <p14:cNvContentPartPr/>
                <p14:nvPr/>
              </p14:nvContentPartPr>
              <p14:xfrm>
                <a:off x="185835" y="885225"/>
                <a:ext cx="132840" cy="30096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A785E641-B634-4DCF-97E1-3D5D00542F7E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67835" y="867585"/>
                  <a:ext cx="168480" cy="33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C68658D9-3249-405D-B5C9-66ABCA790ACA}"/>
                    </a:ext>
                  </a:extLst>
                </p14:cNvPr>
                <p14:cNvContentPartPr/>
                <p14:nvPr/>
              </p14:nvContentPartPr>
              <p14:xfrm>
                <a:off x="301395" y="1054065"/>
                <a:ext cx="122400" cy="14004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C68658D9-3249-405D-B5C9-66ABCA790ACA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83755" y="1036425"/>
                  <a:ext cx="158040" cy="17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D34B93BE-1BC7-4483-AC04-D272764B9957}"/>
                    </a:ext>
                  </a:extLst>
                </p14:cNvPr>
                <p14:cNvContentPartPr/>
                <p14:nvPr/>
              </p14:nvContentPartPr>
              <p14:xfrm>
                <a:off x="475995" y="1041105"/>
                <a:ext cx="198360" cy="16560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D34B93BE-1BC7-4483-AC04-D272764B9957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458355" y="1023465"/>
                  <a:ext cx="234000" cy="20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B2F90B03-31FE-45F2-B7AA-03C76E845B33}"/>
                    </a:ext>
                  </a:extLst>
                </p14:cNvPr>
                <p14:cNvContentPartPr/>
                <p14:nvPr/>
              </p14:nvContentPartPr>
              <p14:xfrm>
                <a:off x="652755" y="1070265"/>
                <a:ext cx="150120" cy="11088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B2F90B03-31FE-45F2-B7AA-03C76E845B33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634755" y="1052625"/>
                  <a:ext cx="185760" cy="14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A4DC2CAB-CEBE-479E-88A2-9ADA39514C6D}"/>
                    </a:ext>
                  </a:extLst>
                </p14:cNvPr>
                <p14:cNvContentPartPr/>
                <p14:nvPr/>
              </p14:nvContentPartPr>
              <p14:xfrm>
                <a:off x="893955" y="968745"/>
                <a:ext cx="122040" cy="21528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A4DC2CAB-CEBE-479E-88A2-9ADA39514C6D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75955" y="950745"/>
                  <a:ext cx="157680" cy="25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E2B17D4C-9A17-4F7A-B9F9-CB57D84A6E64}"/>
                    </a:ext>
                  </a:extLst>
                </p14:cNvPr>
                <p14:cNvContentPartPr/>
                <p14:nvPr/>
              </p14:nvContentPartPr>
              <p14:xfrm>
                <a:off x="1139475" y="971265"/>
                <a:ext cx="55080" cy="20952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E2B17D4C-9A17-4F7A-B9F9-CB57D84A6E64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121475" y="953625"/>
                  <a:ext cx="90720" cy="245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A0F5702D-0300-4B35-922A-9270AA6CEF56}"/>
                    </a:ext>
                  </a:extLst>
                </p14:cNvPr>
                <p14:cNvContentPartPr/>
                <p14:nvPr/>
              </p14:nvContentPartPr>
              <p14:xfrm>
                <a:off x="1102395" y="1069185"/>
                <a:ext cx="448200" cy="10656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A0F5702D-0300-4B35-922A-9270AA6CEF56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084755" y="1051545"/>
                  <a:ext cx="483840" cy="142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6E41E16-D9F9-470B-807A-CAA55313B703}"/>
              </a:ext>
            </a:extLst>
          </p:cNvPr>
          <p:cNvGrpSpPr/>
          <p:nvPr/>
        </p:nvGrpSpPr>
        <p:grpSpPr>
          <a:xfrm>
            <a:off x="1735635" y="968745"/>
            <a:ext cx="1621080" cy="280800"/>
            <a:chOff x="1735635" y="968745"/>
            <a:chExt cx="1621080" cy="280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3B0C24DB-BBCB-4AEA-94EA-B6D9C4BD504F}"/>
                    </a:ext>
                  </a:extLst>
                </p14:cNvPr>
                <p14:cNvContentPartPr/>
                <p14:nvPr/>
              </p14:nvContentPartPr>
              <p14:xfrm>
                <a:off x="1735635" y="1024545"/>
                <a:ext cx="147960" cy="3204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3B0C24DB-BBCB-4AEA-94EA-B6D9C4BD504F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717635" y="1006545"/>
                  <a:ext cx="183600" cy="6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334BD5FA-5DDE-4073-8BD6-70F0CD819439}"/>
                    </a:ext>
                  </a:extLst>
                </p14:cNvPr>
                <p14:cNvContentPartPr/>
                <p14:nvPr/>
              </p14:nvContentPartPr>
              <p14:xfrm>
                <a:off x="1765875" y="968745"/>
                <a:ext cx="253440" cy="20376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334BD5FA-5DDE-4073-8BD6-70F0CD819439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747875" y="950745"/>
                  <a:ext cx="289080" cy="23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9840C28E-B391-4D9D-AB64-138EC81D44E4}"/>
                    </a:ext>
                  </a:extLst>
                </p14:cNvPr>
                <p14:cNvContentPartPr/>
                <p14:nvPr/>
              </p14:nvContentPartPr>
              <p14:xfrm>
                <a:off x="2102835" y="1032105"/>
                <a:ext cx="118440" cy="14544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9840C28E-B391-4D9D-AB64-138EC81D44E4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2084835" y="1014105"/>
                  <a:ext cx="154080" cy="181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9F3D7685-D667-44C8-BA55-823C7AD48618}"/>
                    </a:ext>
                  </a:extLst>
                </p14:cNvPr>
                <p14:cNvContentPartPr/>
                <p14:nvPr/>
              </p14:nvContentPartPr>
              <p14:xfrm>
                <a:off x="2383275" y="1010505"/>
                <a:ext cx="131760" cy="20124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9F3D7685-D667-44C8-BA55-823C7AD48618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2365275" y="992505"/>
                  <a:ext cx="167400" cy="23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879068E7-340F-4785-AD7D-B9E46B8B41F1}"/>
                    </a:ext>
                  </a:extLst>
                </p14:cNvPr>
                <p14:cNvContentPartPr/>
                <p14:nvPr/>
              </p14:nvContentPartPr>
              <p14:xfrm>
                <a:off x="2558235" y="1055865"/>
                <a:ext cx="101520" cy="10836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879068E7-340F-4785-AD7D-B9E46B8B41F1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2540235" y="1037865"/>
                  <a:ext cx="137160" cy="14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AA1A8FC1-BAEA-4B4F-B8D5-A3CD40B73AE4}"/>
                    </a:ext>
                  </a:extLst>
                </p14:cNvPr>
                <p14:cNvContentPartPr/>
                <p14:nvPr/>
              </p14:nvContentPartPr>
              <p14:xfrm>
                <a:off x="2682075" y="1085025"/>
                <a:ext cx="218520" cy="15372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AA1A8FC1-BAEA-4B4F-B8D5-A3CD40B73AE4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2664435" y="1067025"/>
                  <a:ext cx="254160" cy="18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19078317-EA09-4134-BD6B-F48C09F6CB66}"/>
                    </a:ext>
                  </a:extLst>
                </p14:cNvPr>
                <p14:cNvContentPartPr/>
                <p14:nvPr/>
              </p14:nvContentPartPr>
              <p14:xfrm>
                <a:off x="2937675" y="1013025"/>
                <a:ext cx="126360" cy="23652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19078317-EA09-4134-BD6B-F48C09F6CB66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2920035" y="995385"/>
                  <a:ext cx="162000" cy="27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496DDB43-F0D9-4FCC-A856-06B27D420E5E}"/>
                    </a:ext>
                  </a:extLst>
                </p14:cNvPr>
                <p14:cNvContentPartPr/>
                <p14:nvPr/>
              </p14:nvContentPartPr>
              <p14:xfrm>
                <a:off x="3084555" y="999705"/>
                <a:ext cx="78840" cy="18396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496DDB43-F0D9-4FCC-A856-06B27D420E5E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3066915" y="982065"/>
                  <a:ext cx="114480" cy="21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1ADD1B3A-EE01-48CE-8414-561BBBB725A8}"/>
                    </a:ext>
                  </a:extLst>
                </p14:cNvPr>
                <p14:cNvContentPartPr/>
                <p14:nvPr/>
              </p14:nvContentPartPr>
              <p14:xfrm>
                <a:off x="3242955" y="1040745"/>
                <a:ext cx="113760" cy="11844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1ADD1B3A-EE01-48CE-8414-561BBBB725A8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3225315" y="1022745"/>
                  <a:ext cx="149400" cy="154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BEB3F40-7B81-4790-83AB-A383F610F209}"/>
              </a:ext>
            </a:extLst>
          </p:cNvPr>
          <p:cNvGrpSpPr/>
          <p:nvPr/>
        </p:nvGrpSpPr>
        <p:grpSpPr>
          <a:xfrm>
            <a:off x="2235" y="4670625"/>
            <a:ext cx="1466640" cy="234000"/>
            <a:chOff x="2235" y="4670625"/>
            <a:chExt cx="1466640" cy="234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8BF395D2-6834-4205-8144-7C02613F02DE}"/>
                    </a:ext>
                  </a:extLst>
                </p14:cNvPr>
                <p14:cNvContentPartPr/>
                <p14:nvPr/>
              </p14:nvContentPartPr>
              <p14:xfrm>
                <a:off x="99795" y="4670625"/>
                <a:ext cx="139320" cy="23220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8BF395D2-6834-4205-8144-7C02613F02DE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81795" y="4652625"/>
                  <a:ext cx="174960" cy="26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005BD123-9D71-4260-A5A1-D3DB65EC7362}"/>
                    </a:ext>
                  </a:extLst>
                </p14:cNvPr>
                <p14:cNvContentPartPr/>
                <p14:nvPr/>
              </p14:nvContentPartPr>
              <p14:xfrm>
                <a:off x="68115" y="4759185"/>
                <a:ext cx="109800" cy="14364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005BD123-9D71-4260-A5A1-D3DB65EC7362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50115" y="4741545"/>
                  <a:ext cx="145440" cy="17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A2FAF626-884D-4288-A3D8-8B56BDAB8F3E}"/>
                    </a:ext>
                  </a:extLst>
                </p14:cNvPr>
                <p14:cNvContentPartPr/>
                <p14:nvPr/>
              </p14:nvContentPartPr>
              <p14:xfrm>
                <a:off x="2235" y="4728225"/>
                <a:ext cx="375480" cy="15984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A2FAF626-884D-4288-A3D8-8B56BDAB8F3E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-15405" y="4710225"/>
                  <a:ext cx="411120" cy="19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F3E982E8-9573-4F92-9534-A338D8908B72}"/>
                    </a:ext>
                  </a:extLst>
                </p14:cNvPr>
                <p14:cNvContentPartPr/>
                <p14:nvPr/>
              </p14:nvContentPartPr>
              <p14:xfrm>
                <a:off x="339555" y="4735425"/>
                <a:ext cx="141120" cy="13752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F3E982E8-9573-4F92-9534-A338D8908B72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321555" y="4717425"/>
                  <a:ext cx="176760" cy="17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03151806-313C-4F8C-AC7E-641FA319543C}"/>
                    </a:ext>
                  </a:extLst>
                </p14:cNvPr>
                <p14:cNvContentPartPr/>
                <p14:nvPr/>
              </p14:nvContentPartPr>
              <p14:xfrm>
                <a:off x="553035" y="4763865"/>
                <a:ext cx="122040" cy="14076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03151806-313C-4F8C-AC7E-641FA319543C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535035" y="4745865"/>
                  <a:ext cx="157680" cy="176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003D152B-C685-47DC-932C-C9C1612DF557}"/>
                    </a:ext>
                  </a:extLst>
                </p14:cNvPr>
                <p14:cNvContentPartPr/>
                <p14:nvPr/>
              </p14:nvContentPartPr>
              <p14:xfrm>
                <a:off x="736275" y="4768545"/>
                <a:ext cx="134640" cy="9684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003D152B-C685-47DC-932C-C9C1612DF557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718275" y="4750545"/>
                  <a:ext cx="170280" cy="13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CDDE455D-EF1A-4E06-A2F4-A882FDAE7D58}"/>
                    </a:ext>
                  </a:extLst>
                </p14:cNvPr>
                <p14:cNvContentPartPr/>
                <p14:nvPr/>
              </p14:nvContentPartPr>
              <p14:xfrm>
                <a:off x="1106355" y="4703385"/>
                <a:ext cx="19440" cy="16848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CDDE455D-EF1A-4E06-A2F4-A882FDAE7D58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088715" y="4685385"/>
                  <a:ext cx="55080" cy="204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715FBBF5-08D7-4A04-9ED6-DDCDC61A9279}"/>
                    </a:ext>
                  </a:extLst>
                </p14:cNvPr>
                <p14:cNvContentPartPr/>
                <p14:nvPr/>
              </p14:nvContentPartPr>
              <p14:xfrm>
                <a:off x="994755" y="4774305"/>
                <a:ext cx="474120" cy="11700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715FBBF5-08D7-4A04-9ED6-DDCDC61A9279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976755" y="4756665"/>
                  <a:ext cx="509760" cy="152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5C18F13-DDB2-4EF7-8CFB-F2A36E00C738}"/>
              </a:ext>
            </a:extLst>
          </p:cNvPr>
          <p:cNvGrpSpPr/>
          <p:nvPr/>
        </p:nvGrpSpPr>
        <p:grpSpPr>
          <a:xfrm>
            <a:off x="1674795" y="4646505"/>
            <a:ext cx="1156680" cy="255240"/>
            <a:chOff x="1674795" y="4646505"/>
            <a:chExt cx="1156680" cy="255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995D951B-C5D8-49F5-8BE3-439EAD4B7794}"/>
                    </a:ext>
                  </a:extLst>
                </p14:cNvPr>
                <p14:cNvContentPartPr/>
                <p14:nvPr/>
              </p14:nvContentPartPr>
              <p14:xfrm>
                <a:off x="1674795" y="4759905"/>
                <a:ext cx="109080" cy="11772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995D951B-C5D8-49F5-8BE3-439EAD4B7794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1657155" y="4742265"/>
                  <a:ext cx="144720" cy="15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078B5846-0F30-4480-BC1A-11799DCC49AF}"/>
                    </a:ext>
                  </a:extLst>
                </p14:cNvPr>
                <p14:cNvContentPartPr/>
                <p14:nvPr/>
              </p14:nvContentPartPr>
              <p14:xfrm>
                <a:off x="1844355" y="4739385"/>
                <a:ext cx="389520" cy="14796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078B5846-0F30-4480-BC1A-11799DCC49AF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1826355" y="4721385"/>
                  <a:ext cx="425160" cy="18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ADE5418B-8240-4EF3-8C9E-49115CD81FE7}"/>
                    </a:ext>
                  </a:extLst>
                </p14:cNvPr>
                <p14:cNvContentPartPr/>
                <p14:nvPr/>
              </p14:nvContentPartPr>
              <p14:xfrm>
                <a:off x="2260875" y="4742625"/>
                <a:ext cx="155880" cy="12276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ADE5418B-8240-4EF3-8C9E-49115CD81FE7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2243235" y="4724625"/>
                  <a:ext cx="191520" cy="15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249A9F6A-779D-4FD6-AAB1-005BCA67E4CA}"/>
                    </a:ext>
                  </a:extLst>
                </p14:cNvPr>
                <p14:cNvContentPartPr/>
                <p14:nvPr/>
              </p14:nvContentPartPr>
              <p14:xfrm>
                <a:off x="2520795" y="4656945"/>
                <a:ext cx="133560" cy="18036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249A9F6A-779D-4FD6-AAB1-005BCA67E4CA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2503155" y="4639305"/>
                  <a:ext cx="1692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1AC5BB16-5275-4427-8A11-2BF1C22EB7B3}"/>
                    </a:ext>
                  </a:extLst>
                </p14:cNvPr>
                <p14:cNvContentPartPr/>
                <p14:nvPr/>
              </p14:nvContentPartPr>
              <p14:xfrm>
                <a:off x="2754075" y="4646505"/>
                <a:ext cx="77400" cy="25524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1AC5BB16-5275-4427-8A11-2BF1C22EB7B3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2736435" y="4628865"/>
                  <a:ext cx="113040" cy="290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7434C20-1C3E-4A4B-9705-8D420688E426}"/>
              </a:ext>
            </a:extLst>
          </p:cNvPr>
          <p:cNvGrpSpPr/>
          <p:nvPr/>
        </p:nvGrpSpPr>
        <p:grpSpPr>
          <a:xfrm>
            <a:off x="178995" y="5030625"/>
            <a:ext cx="2890800" cy="300240"/>
            <a:chOff x="178995" y="5030625"/>
            <a:chExt cx="2890800" cy="300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765EAEBB-A0A7-43E3-B3C9-5EDF96F8C21F}"/>
                    </a:ext>
                  </a:extLst>
                </p14:cNvPr>
                <p14:cNvContentPartPr/>
                <p14:nvPr/>
              </p14:nvContentPartPr>
              <p14:xfrm>
                <a:off x="178995" y="5075625"/>
                <a:ext cx="166680" cy="21888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765EAEBB-A0A7-43E3-B3C9-5EDF96F8C21F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161355" y="5057985"/>
                  <a:ext cx="202320" cy="25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D61AE704-E8F0-4FC7-BEC5-35CCE90164CE}"/>
                    </a:ext>
                  </a:extLst>
                </p14:cNvPr>
                <p14:cNvContentPartPr/>
                <p14:nvPr/>
              </p14:nvContentPartPr>
              <p14:xfrm>
                <a:off x="419475" y="5150865"/>
                <a:ext cx="145800" cy="15228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D61AE704-E8F0-4FC7-BEC5-35CCE90164CE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401475" y="5133225"/>
                  <a:ext cx="181440" cy="18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8A1D71CD-AA8E-43F2-9D43-4F9D7AC1FB7B}"/>
                    </a:ext>
                  </a:extLst>
                </p14:cNvPr>
                <p14:cNvContentPartPr/>
                <p14:nvPr/>
              </p14:nvContentPartPr>
              <p14:xfrm>
                <a:off x="644835" y="5128905"/>
                <a:ext cx="241560" cy="20196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8A1D71CD-AA8E-43F2-9D43-4F9D7AC1FB7B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626835" y="5111265"/>
                  <a:ext cx="277200" cy="23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E9C83926-2BE6-4FBC-A4B8-8A45A5822A5B}"/>
                    </a:ext>
                  </a:extLst>
                </p14:cNvPr>
                <p14:cNvContentPartPr/>
                <p14:nvPr/>
              </p14:nvContentPartPr>
              <p14:xfrm>
                <a:off x="968115" y="5184345"/>
                <a:ext cx="59760" cy="10692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E9C83926-2BE6-4FBC-A4B8-8A45A5822A5B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950475" y="5166345"/>
                  <a:ext cx="95400" cy="14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B1DF064A-231F-41C1-9D5C-D3BCB9366DF9}"/>
                    </a:ext>
                  </a:extLst>
                </p14:cNvPr>
                <p14:cNvContentPartPr/>
                <p14:nvPr/>
              </p14:nvContentPartPr>
              <p14:xfrm>
                <a:off x="1024275" y="5173905"/>
                <a:ext cx="207720" cy="10728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B1DF064A-231F-41C1-9D5C-D3BCB9366DF9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1006275" y="5156265"/>
                  <a:ext cx="243360" cy="14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F8249358-E716-4EB9-BB0D-8E364DADCCB3}"/>
                    </a:ext>
                  </a:extLst>
                </p14:cNvPr>
                <p14:cNvContentPartPr/>
                <p14:nvPr/>
              </p14:nvContentPartPr>
              <p14:xfrm>
                <a:off x="1374555" y="5133585"/>
                <a:ext cx="422280" cy="15552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F8249358-E716-4EB9-BB0D-8E364DADCCB3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1356915" y="5115585"/>
                  <a:ext cx="457920" cy="19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B0319156-32DB-45A7-9AEA-F7DE4636B295}"/>
                    </a:ext>
                  </a:extLst>
                </p14:cNvPr>
                <p14:cNvContentPartPr/>
                <p14:nvPr/>
              </p14:nvContentPartPr>
              <p14:xfrm>
                <a:off x="1933635" y="5030625"/>
                <a:ext cx="108000" cy="24192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B0319156-32DB-45A7-9AEA-F7DE4636B295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1915635" y="5012625"/>
                  <a:ext cx="143640" cy="27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867CE8D9-F965-4A93-AB04-81FC3F43C15E}"/>
                    </a:ext>
                  </a:extLst>
                </p14:cNvPr>
                <p14:cNvContentPartPr/>
                <p14:nvPr/>
              </p14:nvContentPartPr>
              <p14:xfrm>
                <a:off x="1925715" y="5156625"/>
                <a:ext cx="425520" cy="11088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867CE8D9-F965-4A93-AB04-81FC3F43C15E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907715" y="5138625"/>
                  <a:ext cx="461160" cy="14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CED406D3-194C-4CE6-B62F-D2F38F9FFBDA}"/>
                    </a:ext>
                  </a:extLst>
                </p14:cNvPr>
                <p14:cNvContentPartPr/>
                <p14:nvPr/>
              </p14:nvContentPartPr>
              <p14:xfrm>
                <a:off x="2346555" y="5149425"/>
                <a:ext cx="225720" cy="9180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CED406D3-194C-4CE6-B62F-D2F38F9FFBDA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2328915" y="5131425"/>
                  <a:ext cx="261360" cy="127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C9079A34-1FA0-4420-8A74-5BB175BBF121}"/>
                    </a:ext>
                  </a:extLst>
                </p14:cNvPr>
                <p14:cNvContentPartPr/>
                <p14:nvPr/>
              </p14:nvContentPartPr>
              <p14:xfrm>
                <a:off x="2731395" y="5069145"/>
                <a:ext cx="33480" cy="22392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C9079A34-1FA0-4420-8A74-5BB175BBF121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2713395" y="5051145"/>
                  <a:ext cx="69120" cy="25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F37F70EA-7DCF-46BD-BC3C-969E67F5DBA4}"/>
                    </a:ext>
                  </a:extLst>
                </p14:cNvPr>
                <p14:cNvContentPartPr/>
                <p14:nvPr/>
              </p14:nvContentPartPr>
              <p14:xfrm>
                <a:off x="2661915" y="5161665"/>
                <a:ext cx="407880" cy="12348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F37F70EA-7DCF-46BD-BC3C-969E67F5DBA4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2644275" y="5144025"/>
                  <a:ext cx="443520" cy="1591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9ACDC86-8FFE-4681-B2A6-7503E53D0BDD}"/>
              </a:ext>
            </a:extLst>
          </p:cNvPr>
          <p:cNvGrpSpPr/>
          <p:nvPr/>
        </p:nvGrpSpPr>
        <p:grpSpPr>
          <a:xfrm>
            <a:off x="171795" y="5482785"/>
            <a:ext cx="799920" cy="235800"/>
            <a:chOff x="171795" y="5482785"/>
            <a:chExt cx="799920" cy="235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665DCB5F-5A90-4333-BDFE-A68B4729695C}"/>
                    </a:ext>
                  </a:extLst>
                </p14:cNvPr>
                <p14:cNvContentPartPr/>
                <p14:nvPr/>
              </p14:nvContentPartPr>
              <p14:xfrm>
                <a:off x="171795" y="5482785"/>
                <a:ext cx="154800" cy="22320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665DCB5F-5A90-4333-BDFE-A68B4729695C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154155" y="5465145"/>
                  <a:ext cx="190440" cy="25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193AFE04-527A-4C5D-B371-B3EEB5D4AD44}"/>
                    </a:ext>
                  </a:extLst>
                </p14:cNvPr>
                <p14:cNvContentPartPr/>
                <p14:nvPr/>
              </p14:nvContentPartPr>
              <p14:xfrm>
                <a:off x="434955" y="5524185"/>
                <a:ext cx="109800" cy="16740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193AFE04-527A-4C5D-B371-B3EEB5D4AD44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417315" y="5506185"/>
                  <a:ext cx="145440" cy="20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4DF5C401-CFF2-4240-B26B-9A44B081015D}"/>
                    </a:ext>
                  </a:extLst>
                </p14:cNvPr>
                <p14:cNvContentPartPr/>
                <p14:nvPr/>
              </p14:nvContentPartPr>
              <p14:xfrm>
                <a:off x="597315" y="5564505"/>
                <a:ext cx="176400" cy="15408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4DF5C401-CFF2-4240-B26B-9A44B081015D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579315" y="5546865"/>
                  <a:ext cx="212040" cy="18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DA9947B5-66E1-4A31-A5A9-540F1E2387EB}"/>
                    </a:ext>
                  </a:extLst>
                </p14:cNvPr>
                <p14:cNvContentPartPr/>
                <p14:nvPr/>
              </p14:nvContentPartPr>
              <p14:xfrm>
                <a:off x="833475" y="5560905"/>
                <a:ext cx="138240" cy="14868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DA9947B5-66E1-4A31-A5A9-540F1E2387EB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815835" y="5542905"/>
                  <a:ext cx="173880" cy="1843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63F8E55-64FE-4707-89D9-95F3A1FB57F8}"/>
              </a:ext>
            </a:extLst>
          </p:cNvPr>
          <p:cNvGrpSpPr/>
          <p:nvPr/>
        </p:nvGrpSpPr>
        <p:grpSpPr>
          <a:xfrm>
            <a:off x="1226235" y="5467305"/>
            <a:ext cx="664200" cy="203760"/>
            <a:chOff x="1226235" y="5467305"/>
            <a:chExt cx="664200" cy="203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8714C07C-3816-42C2-B5C9-AF609A915D0F}"/>
                    </a:ext>
                  </a:extLst>
                </p14:cNvPr>
                <p14:cNvContentPartPr/>
                <p14:nvPr/>
              </p14:nvContentPartPr>
              <p14:xfrm>
                <a:off x="1226235" y="5467305"/>
                <a:ext cx="273600" cy="19224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8714C07C-3816-42C2-B5C9-AF609A915D0F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1208235" y="5449305"/>
                  <a:ext cx="309240" cy="22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44EAD8F5-B453-45D5-ABDC-D6C2D0807EE7}"/>
                    </a:ext>
                  </a:extLst>
                </p14:cNvPr>
                <p14:cNvContentPartPr/>
                <p14:nvPr/>
              </p14:nvContentPartPr>
              <p14:xfrm>
                <a:off x="1541595" y="5515545"/>
                <a:ext cx="348840" cy="155520"/>
              </p14:xfrm>
            </p:contentPart>
          </mc:Choice>
          <mc:Fallback xmlns=""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44EAD8F5-B453-45D5-ABDC-D6C2D0807EE7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1523955" y="5497545"/>
                  <a:ext cx="384480" cy="19116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9756957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986F1A9-9B8E-4CF0-85F4-D3000C822A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FF920CFB-8402-4FD5-8F41-D91CB474193A}"/>
              </a:ext>
            </a:extLst>
          </p:cNvPr>
          <p:cNvGrpSpPr/>
          <p:nvPr/>
        </p:nvGrpSpPr>
        <p:grpSpPr>
          <a:xfrm>
            <a:off x="387075" y="6237345"/>
            <a:ext cx="794520" cy="217800"/>
            <a:chOff x="387075" y="6237345"/>
            <a:chExt cx="794520" cy="217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0522923D-C01F-4195-A962-A153A1F4CD17}"/>
                    </a:ext>
                  </a:extLst>
                </p14:cNvPr>
                <p14:cNvContentPartPr/>
                <p14:nvPr/>
              </p14:nvContentPartPr>
              <p14:xfrm>
                <a:off x="387075" y="6292425"/>
                <a:ext cx="127440" cy="16272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0522923D-C01F-4195-A962-A153A1F4CD17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369435" y="6274425"/>
                  <a:ext cx="163080" cy="198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C3BBCE99-03A7-4618-984A-29CEDFAE60F6}"/>
                    </a:ext>
                  </a:extLst>
                </p14:cNvPr>
                <p14:cNvContentPartPr/>
                <p14:nvPr/>
              </p14:nvContentPartPr>
              <p14:xfrm>
                <a:off x="537555" y="6271905"/>
                <a:ext cx="109800" cy="16560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C3BBCE99-03A7-4618-984A-29CEDFAE60F6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19555" y="6253905"/>
                  <a:ext cx="145440" cy="20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7D7B259D-64BA-4575-9A48-82C5EC976B60}"/>
                    </a:ext>
                  </a:extLst>
                </p14:cNvPr>
                <p14:cNvContentPartPr/>
                <p14:nvPr/>
              </p14:nvContentPartPr>
              <p14:xfrm>
                <a:off x="737715" y="6323745"/>
                <a:ext cx="146160" cy="11880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7D7B259D-64BA-4575-9A48-82C5EC976B60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719715" y="6305745"/>
                  <a:ext cx="181800" cy="15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5EC85809-363A-4C69-BBDC-0687A1F95069}"/>
                    </a:ext>
                  </a:extLst>
                </p14:cNvPr>
                <p14:cNvContentPartPr/>
                <p14:nvPr/>
              </p14:nvContentPartPr>
              <p14:xfrm>
                <a:off x="937155" y="6295665"/>
                <a:ext cx="108360" cy="13644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5EC85809-363A-4C69-BBDC-0687A1F95069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919155" y="6278025"/>
                  <a:ext cx="144000" cy="17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84DB00CB-2C34-4B21-B943-D34BC7BB8896}"/>
                    </a:ext>
                  </a:extLst>
                </p14:cNvPr>
                <p14:cNvContentPartPr/>
                <p14:nvPr/>
              </p14:nvContentPartPr>
              <p14:xfrm>
                <a:off x="1093035" y="6237345"/>
                <a:ext cx="88560" cy="19332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84DB00CB-2C34-4B21-B943-D34BC7BB8896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075395" y="6219705"/>
                  <a:ext cx="124200" cy="228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F0AB89A-F599-4600-A603-A89CD3999587}"/>
              </a:ext>
            </a:extLst>
          </p:cNvPr>
          <p:cNvGrpSpPr/>
          <p:nvPr/>
        </p:nvGrpSpPr>
        <p:grpSpPr>
          <a:xfrm>
            <a:off x="1411635" y="6285945"/>
            <a:ext cx="392760" cy="183600"/>
            <a:chOff x="1411635" y="6285945"/>
            <a:chExt cx="392760" cy="183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797F39E1-D18B-41BB-A749-673FD3562401}"/>
                    </a:ext>
                  </a:extLst>
                </p14:cNvPr>
                <p14:cNvContentPartPr/>
                <p14:nvPr/>
              </p14:nvContentPartPr>
              <p14:xfrm>
                <a:off x="1532595" y="6285945"/>
                <a:ext cx="12600" cy="17712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797F39E1-D18B-41BB-A749-673FD3562401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514595" y="6267945"/>
                  <a:ext cx="48240" cy="21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BB9D70F4-25DB-4D0E-AD24-392169BC9BD0}"/>
                    </a:ext>
                  </a:extLst>
                </p14:cNvPr>
                <p14:cNvContentPartPr/>
                <p14:nvPr/>
              </p14:nvContentPartPr>
              <p14:xfrm>
                <a:off x="1411635" y="6367665"/>
                <a:ext cx="392760" cy="10188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BB9D70F4-25DB-4D0E-AD24-392169BC9BD0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393635" y="6350025"/>
                  <a:ext cx="428400" cy="137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3A128DB-75F2-41A7-98ED-3B12AA878B53}"/>
              </a:ext>
            </a:extLst>
          </p:cNvPr>
          <p:cNvGrpSpPr/>
          <p:nvPr/>
        </p:nvGrpSpPr>
        <p:grpSpPr>
          <a:xfrm>
            <a:off x="2093475" y="6304665"/>
            <a:ext cx="424800" cy="176040"/>
            <a:chOff x="2093475" y="6304665"/>
            <a:chExt cx="424800" cy="1760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5C7D8FBA-1783-45F0-BB60-3063949D8C0F}"/>
                    </a:ext>
                  </a:extLst>
                </p14:cNvPr>
                <p14:cNvContentPartPr/>
                <p14:nvPr/>
              </p14:nvContentPartPr>
              <p14:xfrm>
                <a:off x="2093475" y="6335265"/>
                <a:ext cx="112680" cy="2556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5C7D8FBA-1783-45F0-BB60-3063949D8C0F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2075475" y="6317265"/>
                  <a:ext cx="148320" cy="6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321DC640-A9C1-4D60-8120-68F146ED2E7A}"/>
                    </a:ext>
                  </a:extLst>
                </p14:cNvPr>
                <p14:cNvContentPartPr/>
                <p14:nvPr/>
              </p14:nvContentPartPr>
              <p14:xfrm>
                <a:off x="2214075" y="6304665"/>
                <a:ext cx="103320" cy="17604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321DC640-A9C1-4D60-8120-68F146ED2E7A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2196435" y="6286665"/>
                  <a:ext cx="138960" cy="21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533353DC-213D-4723-A2E5-1C007A38C559}"/>
                    </a:ext>
                  </a:extLst>
                </p14:cNvPr>
                <p14:cNvContentPartPr/>
                <p14:nvPr/>
              </p14:nvContentPartPr>
              <p14:xfrm>
                <a:off x="2394075" y="6306465"/>
                <a:ext cx="124200" cy="12564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533353DC-213D-4723-A2E5-1C007A38C559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2376435" y="6288465"/>
                  <a:ext cx="159840" cy="161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EB7CA8A-7FA9-4D01-A58D-CB582A28FFFF}"/>
              </a:ext>
            </a:extLst>
          </p:cNvPr>
          <p:cNvGrpSpPr/>
          <p:nvPr/>
        </p:nvGrpSpPr>
        <p:grpSpPr>
          <a:xfrm>
            <a:off x="1092675" y="6595545"/>
            <a:ext cx="1042200" cy="214200"/>
            <a:chOff x="1092675" y="6595545"/>
            <a:chExt cx="1042200" cy="2142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5DB27B8A-EC92-4D38-8ADD-79991905F3F5}"/>
                    </a:ext>
                  </a:extLst>
                </p14:cNvPr>
                <p14:cNvContentPartPr/>
                <p14:nvPr/>
              </p14:nvContentPartPr>
              <p14:xfrm>
                <a:off x="1092675" y="6595545"/>
                <a:ext cx="138240" cy="16812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5DB27B8A-EC92-4D38-8ADD-79991905F3F5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74675" y="6577905"/>
                  <a:ext cx="173880" cy="203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E259B745-0FA2-4D2C-A660-BBBB500945EF}"/>
                    </a:ext>
                  </a:extLst>
                </p14:cNvPr>
                <p14:cNvContentPartPr/>
                <p14:nvPr/>
              </p14:nvContentPartPr>
              <p14:xfrm>
                <a:off x="1314075" y="6622905"/>
                <a:ext cx="119520" cy="12852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E259B745-0FA2-4D2C-A660-BBBB500945EF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296075" y="6605265"/>
                  <a:ext cx="155160" cy="16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575B5714-2690-439F-81B1-6527FAD710F1}"/>
                    </a:ext>
                  </a:extLst>
                </p14:cNvPr>
                <p14:cNvContentPartPr/>
                <p14:nvPr/>
              </p14:nvContentPartPr>
              <p14:xfrm>
                <a:off x="1475715" y="6680145"/>
                <a:ext cx="57960" cy="6120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575B5714-2690-439F-81B1-6527FAD710F1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457715" y="6662145"/>
                  <a:ext cx="93600" cy="9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0FA488DE-91C3-4F87-A48D-7B4058596031}"/>
                    </a:ext>
                  </a:extLst>
                </p14:cNvPr>
                <p14:cNvContentPartPr/>
                <p14:nvPr/>
              </p14:nvContentPartPr>
              <p14:xfrm>
                <a:off x="1559955" y="6696705"/>
                <a:ext cx="107640" cy="6048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0FA488DE-91C3-4F87-A48D-7B4058596031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541955" y="6679065"/>
                  <a:ext cx="143280" cy="9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DC469F2A-E259-4221-B984-BB67A913E8BE}"/>
                    </a:ext>
                  </a:extLst>
                </p14:cNvPr>
                <p14:cNvContentPartPr/>
                <p14:nvPr/>
              </p14:nvContentPartPr>
              <p14:xfrm>
                <a:off x="1778835" y="6602025"/>
                <a:ext cx="114480" cy="20772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DC469F2A-E259-4221-B984-BB67A913E8BE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760835" y="6584025"/>
                  <a:ext cx="150120" cy="24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34E3EB59-F2CA-4476-BD6B-62760EAFE74A}"/>
                    </a:ext>
                  </a:extLst>
                </p14:cNvPr>
                <p14:cNvContentPartPr/>
                <p14:nvPr/>
              </p14:nvContentPartPr>
              <p14:xfrm>
                <a:off x="1946595" y="6614985"/>
                <a:ext cx="40680" cy="14688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34E3EB59-F2CA-4476-BD6B-62760EAFE74A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928595" y="6597345"/>
                  <a:ext cx="76320" cy="18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50AE04F1-3B83-410D-A7D0-7B8BF3554493}"/>
                    </a:ext>
                  </a:extLst>
                </p14:cNvPr>
                <p14:cNvContentPartPr/>
                <p14:nvPr/>
              </p14:nvContentPartPr>
              <p14:xfrm>
                <a:off x="2041635" y="6651705"/>
                <a:ext cx="93240" cy="12924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50AE04F1-3B83-410D-A7D0-7B8BF3554493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2023635" y="6633705"/>
                  <a:ext cx="128880" cy="1648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5708222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CAB8C72-7CF3-45A8-AF1B-191EE1C3FF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4FB0E0B3-95D1-422E-8BBF-798256D7F8C8}"/>
              </a:ext>
            </a:extLst>
          </p:cNvPr>
          <p:cNvGrpSpPr/>
          <p:nvPr/>
        </p:nvGrpSpPr>
        <p:grpSpPr>
          <a:xfrm>
            <a:off x="8478795" y="2167185"/>
            <a:ext cx="2494800" cy="299880"/>
            <a:chOff x="8478795" y="2167185"/>
            <a:chExt cx="2494800" cy="2998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F1105B5E-38DA-4901-85AD-779688488EE0}"/>
                    </a:ext>
                  </a:extLst>
                </p14:cNvPr>
                <p14:cNvContentPartPr/>
                <p14:nvPr/>
              </p14:nvContentPartPr>
              <p14:xfrm>
                <a:off x="8478795" y="2222985"/>
                <a:ext cx="186120" cy="3348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F1105B5E-38DA-4901-85AD-779688488EE0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460795" y="2205345"/>
                  <a:ext cx="22176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7C4F282A-ED76-491B-806E-1B2FA8624CB2}"/>
                    </a:ext>
                  </a:extLst>
                </p14:cNvPr>
                <p14:cNvContentPartPr/>
                <p14:nvPr/>
              </p14:nvContentPartPr>
              <p14:xfrm>
                <a:off x="8497515" y="2334585"/>
                <a:ext cx="142920" cy="5220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7C4F282A-ED76-491B-806E-1B2FA8624CB2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479515" y="2316945"/>
                  <a:ext cx="178560" cy="8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6EA71CC0-0C45-4B07-B163-5E7ED1C5806B}"/>
                    </a:ext>
                  </a:extLst>
                </p14:cNvPr>
                <p14:cNvContentPartPr/>
                <p14:nvPr/>
              </p14:nvContentPartPr>
              <p14:xfrm>
                <a:off x="8825115" y="2167185"/>
                <a:ext cx="144720" cy="27576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6EA71CC0-0C45-4B07-B163-5E7ED1C5806B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8807475" y="2149545"/>
                  <a:ext cx="180360" cy="31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6971AB85-1680-4280-A304-F0C46408D395}"/>
                    </a:ext>
                  </a:extLst>
                </p14:cNvPr>
                <p14:cNvContentPartPr/>
                <p14:nvPr/>
              </p14:nvContentPartPr>
              <p14:xfrm>
                <a:off x="9029595" y="2203185"/>
                <a:ext cx="339120" cy="19512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6971AB85-1680-4280-A304-F0C46408D395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9011595" y="2185545"/>
                  <a:ext cx="374760" cy="23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E91C8CBF-7203-4222-9ACD-5F281ACF7604}"/>
                    </a:ext>
                  </a:extLst>
                </p14:cNvPr>
                <p14:cNvContentPartPr/>
                <p14:nvPr/>
              </p14:nvContentPartPr>
              <p14:xfrm>
                <a:off x="9425595" y="2188785"/>
                <a:ext cx="480600" cy="22284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E91C8CBF-7203-4222-9ACD-5F281ACF7604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9407595" y="2171145"/>
                  <a:ext cx="516240" cy="25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B337C9DF-6CA9-4EB7-9D56-624EE230DD17}"/>
                    </a:ext>
                  </a:extLst>
                </p14:cNvPr>
                <p14:cNvContentPartPr/>
                <p14:nvPr/>
              </p14:nvContentPartPr>
              <p14:xfrm>
                <a:off x="10091955" y="2241345"/>
                <a:ext cx="110160" cy="20844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B337C9DF-6CA9-4EB7-9D56-624EE230DD17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0073955" y="2223345"/>
                  <a:ext cx="145800" cy="24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4BA5B79E-C535-4DC8-9FBC-3F74E941ED67}"/>
                    </a:ext>
                  </a:extLst>
                </p14:cNvPr>
                <p14:cNvContentPartPr/>
                <p14:nvPr/>
              </p14:nvContentPartPr>
              <p14:xfrm>
                <a:off x="10310835" y="2196345"/>
                <a:ext cx="662760" cy="27072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4BA5B79E-C535-4DC8-9FBC-3F74E941ED67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0292835" y="2178705"/>
                  <a:ext cx="698400" cy="306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AAA8785-7607-4204-9768-0FB607F917A7}"/>
              </a:ext>
            </a:extLst>
          </p:cNvPr>
          <p:cNvGrpSpPr/>
          <p:nvPr/>
        </p:nvGrpSpPr>
        <p:grpSpPr>
          <a:xfrm>
            <a:off x="8917995" y="4076265"/>
            <a:ext cx="834480" cy="343440"/>
            <a:chOff x="8917995" y="4076265"/>
            <a:chExt cx="834480" cy="343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35393E55-B466-4450-B9ED-D277C6557EEB}"/>
                    </a:ext>
                  </a:extLst>
                </p14:cNvPr>
                <p14:cNvContentPartPr/>
                <p14:nvPr/>
              </p14:nvContentPartPr>
              <p14:xfrm>
                <a:off x="8917995" y="4076265"/>
                <a:ext cx="650520" cy="34344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35393E55-B466-4450-B9ED-D277C6557EEB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8900355" y="4058625"/>
                  <a:ext cx="686160" cy="37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38E6468E-FE67-4B29-802B-88E6A8A66DA9}"/>
                    </a:ext>
                  </a:extLst>
                </p14:cNvPr>
                <p14:cNvContentPartPr/>
                <p14:nvPr/>
              </p14:nvContentPartPr>
              <p14:xfrm>
                <a:off x="9632955" y="4173105"/>
                <a:ext cx="119520" cy="12060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38E6468E-FE67-4B29-802B-88E6A8A66DA9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9614955" y="4155465"/>
                  <a:ext cx="155160" cy="1562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6954710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836AB1A-89F4-4804-A6DF-76E0BB3E8A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22455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045F7B2-A96D-4710-A17C-63371680DF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8C5E4B8-4BEA-47FC-83BD-36B28C719BAE}"/>
              </a:ext>
            </a:extLst>
          </p:cNvPr>
          <p:cNvGrpSpPr/>
          <p:nvPr/>
        </p:nvGrpSpPr>
        <p:grpSpPr>
          <a:xfrm>
            <a:off x="7277835" y="1949745"/>
            <a:ext cx="1303560" cy="829800"/>
            <a:chOff x="7277835" y="1949745"/>
            <a:chExt cx="1303560" cy="829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F726FF00-AC71-4A22-8504-10E84709F21E}"/>
                    </a:ext>
                  </a:extLst>
                </p14:cNvPr>
                <p14:cNvContentPartPr/>
                <p14:nvPr/>
              </p14:nvContentPartPr>
              <p14:xfrm>
                <a:off x="7459995" y="2415585"/>
                <a:ext cx="25200" cy="36396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F726FF00-AC71-4A22-8504-10E84709F21E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441995" y="2397945"/>
                  <a:ext cx="60840" cy="39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424E0AD7-0C1A-4821-9D1B-4D70D0E15300}"/>
                    </a:ext>
                  </a:extLst>
                </p14:cNvPr>
                <p14:cNvContentPartPr/>
                <p14:nvPr/>
              </p14:nvContentPartPr>
              <p14:xfrm>
                <a:off x="7311675" y="2676225"/>
                <a:ext cx="281160" cy="10008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424E0AD7-0C1A-4821-9D1B-4D70D0E15300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294035" y="2658225"/>
                  <a:ext cx="316800" cy="13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E73981EB-B139-4E81-8F50-DF09EF33B8DE}"/>
                    </a:ext>
                  </a:extLst>
                </p14:cNvPr>
                <p14:cNvContentPartPr/>
                <p14:nvPr/>
              </p14:nvContentPartPr>
              <p14:xfrm>
                <a:off x="7463955" y="2064585"/>
                <a:ext cx="40320" cy="24408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E73981EB-B139-4E81-8F50-DF09EF33B8DE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7445955" y="2046585"/>
                  <a:ext cx="75960" cy="27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031DF69E-4314-4E78-9492-12E68563C889}"/>
                    </a:ext>
                  </a:extLst>
                </p14:cNvPr>
                <p14:cNvContentPartPr/>
                <p14:nvPr/>
              </p14:nvContentPartPr>
              <p14:xfrm>
                <a:off x="7277835" y="2111745"/>
                <a:ext cx="521640" cy="14220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031DF69E-4314-4E78-9492-12E68563C889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260195" y="2094105"/>
                  <a:ext cx="557280" cy="17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9A07F0EA-9B01-4D1C-B8A7-792C42174401}"/>
                    </a:ext>
                  </a:extLst>
                </p14:cNvPr>
                <p14:cNvContentPartPr/>
                <p14:nvPr/>
              </p14:nvContentPartPr>
              <p14:xfrm>
                <a:off x="7839795" y="2089065"/>
                <a:ext cx="157320" cy="10944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9A07F0EA-9B01-4D1C-B8A7-792C42174401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7822155" y="2071065"/>
                  <a:ext cx="192960" cy="14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25E607BB-2EB1-4E30-B8E1-ADBD145F1547}"/>
                    </a:ext>
                  </a:extLst>
                </p14:cNvPr>
                <p14:cNvContentPartPr/>
                <p14:nvPr/>
              </p14:nvContentPartPr>
              <p14:xfrm>
                <a:off x="8187915" y="1949745"/>
                <a:ext cx="18360" cy="23508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25E607BB-2EB1-4E30-B8E1-ADBD145F1547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8169915" y="1931745"/>
                  <a:ext cx="54000" cy="27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C4CCFA65-F0BE-4E4B-BA81-4CCCD50F275A}"/>
                    </a:ext>
                  </a:extLst>
                </p14:cNvPr>
                <p14:cNvContentPartPr/>
                <p14:nvPr/>
              </p14:nvContentPartPr>
              <p14:xfrm>
                <a:off x="8079195" y="2032545"/>
                <a:ext cx="502200" cy="14436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C4CCFA65-F0BE-4E4B-BA81-4CCCD50F275A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8061195" y="2014905"/>
                  <a:ext cx="537840" cy="180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EBF00D-DE1F-4A7F-B13B-635BBA4535F4}"/>
              </a:ext>
            </a:extLst>
          </p:cNvPr>
          <p:cNvGrpSpPr/>
          <p:nvPr/>
        </p:nvGrpSpPr>
        <p:grpSpPr>
          <a:xfrm>
            <a:off x="8856795" y="1837065"/>
            <a:ext cx="838440" cy="360000"/>
            <a:chOff x="8856795" y="1837065"/>
            <a:chExt cx="838440" cy="360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FB399A93-9FC0-4568-BBB3-DC88E5D3630C}"/>
                    </a:ext>
                  </a:extLst>
                </p14:cNvPr>
                <p14:cNvContentPartPr/>
                <p14:nvPr/>
              </p14:nvContentPartPr>
              <p14:xfrm>
                <a:off x="9370155" y="1837065"/>
                <a:ext cx="22680" cy="4500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FB399A93-9FC0-4568-BBB3-DC88E5D3630C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352155" y="1819065"/>
                  <a:ext cx="5832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59FDDB79-3467-420C-9F1E-284523162E11}"/>
                    </a:ext>
                  </a:extLst>
                </p14:cNvPr>
                <p14:cNvContentPartPr/>
                <p14:nvPr/>
              </p14:nvContentPartPr>
              <p14:xfrm>
                <a:off x="8856795" y="1961265"/>
                <a:ext cx="367920" cy="17388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59FDDB79-3467-420C-9F1E-284523162E11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8839155" y="1943625"/>
                  <a:ext cx="403560" cy="209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EA6F204C-E029-4734-BB81-0E87EC69C186}"/>
                    </a:ext>
                  </a:extLst>
                </p14:cNvPr>
                <p14:cNvContentPartPr/>
                <p14:nvPr/>
              </p14:nvContentPartPr>
              <p14:xfrm>
                <a:off x="9258555" y="1963785"/>
                <a:ext cx="208800" cy="23328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EA6F204C-E029-4734-BB81-0E87EC69C186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9240555" y="1946145"/>
                  <a:ext cx="244440" cy="26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E5A2BF8D-1F03-4EE5-9F04-B4F4CE686F9C}"/>
                    </a:ext>
                  </a:extLst>
                </p14:cNvPr>
                <p14:cNvContentPartPr/>
                <p14:nvPr/>
              </p14:nvContentPartPr>
              <p14:xfrm>
                <a:off x="9508395" y="1991145"/>
                <a:ext cx="27720" cy="9576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E5A2BF8D-1F03-4EE5-9F04-B4F4CE686F9C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9490395" y="1973505"/>
                  <a:ext cx="63360" cy="13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B2BFA344-B4B1-4CB6-B9BC-15024E51E16D}"/>
                    </a:ext>
                  </a:extLst>
                </p14:cNvPr>
                <p14:cNvContentPartPr/>
                <p14:nvPr/>
              </p14:nvContentPartPr>
              <p14:xfrm>
                <a:off x="9491115" y="1884225"/>
                <a:ext cx="15480" cy="3672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B2BFA344-B4B1-4CB6-B9BC-15024E51E16D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9473115" y="1866585"/>
                  <a:ext cx="51120" cy="7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EF38D62E-3578-47D4-96ED-548CC133CB2C}"/>
                    </a:ext>
                  </a:extLst>
                </p14:cNvPr>
                <p14:cNvContentPartPr/>
                <p14:nvPr/>
              </p14:nvContentPartPr>
              <p14:xfrm>
                <a:off x="9578955" y="1947225"/>
                <a:ext cx="116280" cy="13500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EF38D62E-3578-47D4-96ED-548CC133CB2C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9560955" y="1929225"/>
                  <a:ext cx="151920" cy="170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04FE8F1-1CCD-4252-967C-A095C9C254A0}"/>
              </a:ext>
            </a:extLst>
          </p:cNvPr>
          <p:cNvGrpSpPr/>
          <p:nvPr/>
        </p:nvGrpSpPr>
        <p:grpSpPr>
          <a:xfrm>
            <a:off x="8425155" y="4544625"/>
            <a:ext cx="780120" cy="232200"/>
            <a:chOff x="8425155" y="4544625"/>
            <a:chExt cx="780120" cy="2322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F3A29AE5-F330-4565-B6B3-F6A16309FA2D}"/>
                    </a:ext>
                  </a:extLst>
                </p14:cNvPr>
                <p14:cNvContentPartPr/>
                <p14:nvPr/>
              </p14:nvContentPartPr>
              <p14:xfrm>
                <a:off x="8426235" y="4544625"/>
                <a:ext cx="3960" cy="1476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F3A29AE5-F330-4565-B6B3-F6A16309FA2D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8408235" y="4526985"/>
                  <a:ext cx="39600" cy="5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1CC30275-EFCA-43E2-833F-5020956A66A6}"/>
                    </a:ext>
                  </a:extLst>
                </p14:cNvPr>
                <p14:cNvContentPartPr/>
                <p14:nvPr/>
              </p14:nvContentPartPr>
              <p14:xfrm>
                <a:off x="8425155" y="4551105"/>
                <a:ext cx="780120" cy="22572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1CC30275-EFCA-43E2-833F-5020956A66A6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8407155" y="4533465"/>
                  <a:ext cx="815760" cy="261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3B623E2-DB92-4E85-9C2A-F3287A6D7C3F}"/>
              </a:ext>
            </a:extLst>
          </p:cNvPr>
          <p:cNvGrpSpPr/>
          <p:nvPr/>
        </p:nvGrpSpPr>
        <p:grpSpPr>
          <a:xfrm>
            <a:off x="7874715" y="4910745"/>
            <a:ext cx="4215600" cy="493920"/>
            <a:chOff x="7874715" y="4910745"/>
            <a:chExt cx="4215600" cy="493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A7DC6837-4497-49EA-A9E9-59EF5FB64A2B}"/>
                    </a:ext>
                  </a:extLst>
                </p14:cNvPr>
                <p14:cNvContentPartPr/>
                <p14:nvPr/>
              </p14:nvContentPartPr>
              <p14:xfrm>
                <a:off x="7874715" y="5062305"/>
                <a:ext cx="167400" cy="28080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A7DC6837-4497-49EA-A9E9-59EF5FB64A2B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7857075" y="5044305"/>
                  <a:ext cx="203040" cy="31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AF6225DE-76BA-4308-BEAD-B28C1EF1E1D1}"/>
                    </a:ext>
                  </a:extLst>
                </p14:cNvPr>
                <p14:cNvContentPartPr/>
                <p14:nvPr/>
              </p14:nvContentPartPr>
              <p14:xfrm>
                <a:off x="8048955" y="5106585"/>
                <a:ext cx="74520" cy="4392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AF6225DE-76BA-4308-BEAD-B28C1EF1E1D1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8030955" y="5088585"/>
                  <a:ext cx="110160" cy="7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085EAEAE-9367-4836-962A-369C0FB90616}"/>
                    </a:ext>
                  </a:extLst>
                </p14:cNvPr>
                <p14:cNvContentPartPr/>
                <p14:nvPr/>
              </p14:nvContentPartPr>
              <p14:xfrm>
                <a:off x="8305275" y="5156985"/>
                <a:ext cx="109800" cy="24768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085EAEAE-9367-4836-962A-369C0FB90616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8287275" y="5139345"/>
                  <a:ext cx="145440" cy="28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D55BD78A-52D7-4BE7-821C-9C55DE429E93}"/>
                    </a:ext>
                  </a:extLst>
                </p14:cNvPr>
                <p14:cNvContentPartPr/>
                <p14:nvPr/>
              </p14:nvContentPartPr>
              <p14:xfrm>
                <a:off x="8424075" y="5162745"/>
                <a:ext cx="271440" cy="16848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D55BD78A-52D7-4BE7-821C-9C55DE429E93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8406075" y="5145105"/>
                  <a:ext cx="307080" cy="204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878A9B5C-531C-4890-8D2B-6E6950674D03}"/>
                    </a:ext>
                  </a:extLst>
                </p14:cNvPr>
                <p14:cNvContentPartPr/>
                <p14:nvPr/>
              </p14:nvContentPartPr>
              <p14:xfrm>
                <a:off x="8763915" y="5054025"/>
                <a:ext cx="441000" cy="25596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878A9B5C-531C-4890-8D2B-6E6950674D03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8745915" y="5036025"/>
                  <a:ext cx="476640" cy="291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5AAF07A6-7208-4167-8499-0C290F3C591A}"/>
                    </a:ext>
                  </a:extLst>
                </p14:cNvPr>
                <p14:cNvContentPartPr/>
                <p14:nvPr/>
              </p14:nvContentPartPr>
              <p14:xfrm>
                <a:off x="9427755" y="5052945"/>
                <a:ext cx="181800" cy="19872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5AAF07A6-7208-4167-8499-0C290F3C591A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9409755" y="5034945"/>
                  <a:ext cx="217440" cy="23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74879871-3B94-4F0A-8F43-5334B683BB4D}"/>
                    </a:ext>
                  </a:extLst>
                </p14:cNvPr>
                <p14:cNvContentPartPr/>
                <p14:nvPr/>
              </p14:nvContentPartPr>
              <p14:xfrm>
                <a:off x="9794235" y="5101905"/>
                <a:ext cx="445320" cy="14652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74879871-3B94-4F0A-8F43-5334B683BB4D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9776235" y="5084265"/>
                  <a:ext cx="480960" cy="18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117E7A07-6677-455B-9CD4-8A42DDF8606B}"/>
                    </a:ext>
                  </a:extLst>
                </p14:cNvPr>
                <p14:cNvContentPartPr/>
                <p14:nvPr/>
              </p14:nvContentPartPr>
              <p14:xfrm>
                <a:off x="10292475" y="5063025"/>
                <a:ext cx="212040" cy="16236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117E7A07-6677-455B-9CD4-8A42DDF8606B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0274475" y="5045385"/>
                  <a:ext cx="247680" cy="19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810D8A3F-71BE-47BB-AE56-B85FD3A99804}"/>
                    </a:ext>
                  </a:extLst>
                </p14:cNvPr>
                <p14:cNvContentPartPr/>
                <p14:nvPr/>
              </p14:nvContentPartPr>
              <p14:xfrm>
                <a:off x="10640955" y="5020545"/>
                <a:ext cx="57240" cy="19944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810D8A3F-71BE-47BB-AE56-B85FD3A99804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10622955" y="5002545"/>
                  <a:ext cx="92880" cy="23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98220719-AE61-4646-A08A-C38C2999B032}"/>
                    </a:ext>
                  </a:extLst>
                </p14:cNvPr>
                <p14:cNvContentPartPr/>
                <p14:nvPr/>
              </p14:nvContentPartPr>
              <p14:xfrm>
                <a:off x="10790715" y="5009385"/>
                <a:ext cx="673560" cy="22572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98220719-AE61-4646-A08A-C38C2999B032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10772715" y="4991745"/>
                  <a:ext cx="709200" cy="26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5B378A43-F6D8-4952-831E-0C13B868A564}"/>
                    </a:ext>
                  </a:extLst>
                </p14:cNvPr>
                <p14:cNvContentPartPr/>
                <p14:nvPr/>
              </p14:nvContentPartPr>
              <p14:xfrm>
                <a:off x="11637075" y="4910745"/>
                <a:ext cx="34920" cy="17460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5B378A43-F6D8-4952-831E-0C13B868A564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11619435" y="4893105"/>
                  <a:ext cx="70560" cy="21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621971A3-1B5C-4690-8D2C-D71A0D6752AD}"/>
                    </a:ext>
                  </a:extLst>
                </p14:cNvPr>
                <p14:cNvContentPartPr/>
                <p14:nvPr/>
              </p14:nvContentPartPr>
              <p14:xfrm>
                <a:off x="11590995" y="5003985"/>
                <a:ext cx="334440" cy="8172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621971A3-1B5C-4690-8D2C-D71A0D6752AD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11573355" y="4986345"/>
                  <a:ext cx="370080" cy="11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81C06E4F-FACA-416A-8A8F-059B8FC21B1B}"/>
                    </a:ext>
                  </a:extLst>
                </p14:cNvPr>
                <p14:cNvContentPartPr/>
                <p14:nvPr/>
              </p14:nvContentPartPr>
              <p14:xfrm>
                <a:off x="11953875" y="5010825"/>
                <a:ext cx="136440" cy="5220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81C06E4F-FACA-416A-8A8F-059B8FC21B1B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11936235" y="4992825"/>
                  <a:ext cx="172080" cy="87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6F17EDA-5749-442A-8D09-3A7C52F378CE}"/>
              </a:ext>
            </a:extLst>
          </p:cNvPr>
          <p:cNvGrpSpPr/>
          <p:nvPr/>
        </p:nvGrpSpPr>
        <p:grpSpPr>
          <a:xfrm>
            <a:off x="8228955" y="5518065"/>
            <a:ext cx="535320" cy="230400"/>
            <a:chOff x="8228955" y="5518065"/>
            <a:chExt cx="535320" cy="230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AC384106-4C0B-466F-8ED1-5EE444EB4C05}"/>
                    </a:ext>
                  </a:extLst>
                </p14:cNvPr>
                <p14:cNvContentPartPr/>
                <p14:nvPr/>
              </p14:nvContentPartPr>
              <p14:xfrm>
                <a:off x="8340555" y="5518065"/>
                <a:ext cx="45000" cy="23040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AC384106-4C0B-466F-8ED1-5EE444EB4C05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8322915" y="5500065"/>
                  <a:ext cx="80640" cy="26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0092988C-B207-41E9-A0EF-83B392C2DEF1}"/>
                    </a:ext>
                  </a:extLst>
                </p14:cNvPr>
                <p14:cNvContentPartPr/>
                <p14:nvPr/>
              </p14:nvContentPartPr>
              <p14:xfrm>
                <a:off x="8228955" y="5631465"/>
                <a:ext cx="535320" cy="11592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0092988C-B207-41E9-A0EF-83B392C2DEF1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8210955" y="5613465"/>
                  <a:ext cx="570960" cy="151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B4077BA-CF9F-490E-BBA7-F9BCD66A4618}"/>
              </a:ext>
            </a:extLst>
          </p:cNvPr>
          <p:cNvGrpSpPr/>
          <p:nvPr/>
        </p:nvGrpSpPr>
        <p:grpSpPr>
          <a:xfrm>
            <a:off x="9091875" y="5568825"/>
            <a:ext cx="517680" cy="198360"/>
            <a:chOff x="9091875" y="5568825"/>
            <a:chExt cx="517680" cy="198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F01FE2BA-3089-41ED-9023-C6C6294B7F5C}"/>
                    </a:ext>
                  </a:extLst>
                </p14:cNvPr>
                <p14:cNvContentPartPr/>
                <p14:nvPr/>
              </p14:nvContentPartPr>
              <p14:xfrm>
                <a:off x="9091875" y="5678625"/>
                <a:ext cx="156960" cy="2088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F01FE2BA-3089-41ED-9023-C6C6294B7F5C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9074235" y="5660985"/>
                  <a:ext cx="19260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A95BF835-BE03-43DA-91B8-029F65A106B7}"/>
                    </a:ext>
                  </a:extLst>
                </p14:cNvPr>
                <p14:cNvContentPartPr/>
                <p14:nvPr/>
              </p14:nvContentPartPr>
              <p14:xfrm>
                <a:off x="9151635" y="5599065"/>
                <a:ext cx="50400" cy="16812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A95BF835-BE03-43DA-91B8-029F65A106B7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9133635" y="5581065"/>
                  <a:ext cx="86040" cy="203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380A9159-D332-4F4C-97A5-E7193DBF9247}"/>
                    </a:ext>
                  </a:extLst>
                </p14:cNvPr>
                <p14:cNvContentPartPr/>
                <p14:nvPr/>
              </p14:nvContentPartPr>
              <p14:xfrm>
                <a:off x="9305355" y="5568825"/>
                <a:ext cx="304200" cy="16560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380A9159-D332-4F4C-97A5-E7193DBF9247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9287355" y="5551185"/>
                  <a:ext cx="339840" cy="2012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9552838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2B6964C-9A78-4362-8CD4-E4EF792006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467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2B6964C-9A78-4362-8CD4-E4EF79200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A0F5E6E-C74F-4ED5-9FC8-EE62E56AF3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4371C95C-CF83-458A-AF0D-A56D8B01AB06}"/>
              </a:ext>
            </a:extLst>
          </p:cNvPr>
          <p:cNvGrpSpPr/>
          <p:nvPr/>
        </p:nvGrpSpPr>
        <p:grpSpPr>
          <a:xfrm>
            <a:off x="5911995" y="928065"/>
            <a:ext cx="6154560" cy="690840"/>
            <a:chOff x="5911995" y="928065"/>
            <a:chExt cx="6154560" cy="6908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8F744C68-986F-4FBB-8C6F-7A52B257D2BE}"/>
                    </a:ext>
                  </a:extLst>
                </p14:cNvPr>
                <p14:cNvContentPartPr/>
                <p14:nvPr/>
              </p14:nvContentPartPr>
              <p14:xfrm>
                <a:off x="5999115" y="1057305"/>
                <a:ext cx="13320" cy="16200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8F744C68-986F-4FBB-8C6F-7A52B257D2BE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981475" y="1039305"/>
                  <a:ext cx="48960" cy="19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FCA0D663-D0F6-4652-BBC6-7C3FE4F3F5BD}"/>
                    </a:ext>
                  </a:extLst>
                </p14:cNvPr>
                <p14:cNvContentPartPr/>
                <p14:nvPr/>
              </p14:nvContentPartPr>
              <p14:xfrm>
                <a:off x="5911995" y="959025"/>
                <a:ext cx="30600" cy="4176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FCA0D663-D0F6-4652-BBC6-7C3FE4F3F5BD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5894355" y="941385"/>
                  <a:ext cx="66240" cy="7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B35745C9-2628-48A1-A0FE-7B5E0BB96650}"/>
                    </a:ext>
                  </a:extLst>
                </p14:cNvPr>
                <p14:cNvContentPartPr/>
                <p14:nvPr/>
              </p14:nvContentPartPr>
              <p14:xfrm>
                <a:off x="6096315" y="1017345"/>
                <a:ext cx="153720" cy="20376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B35745C9-2628-48A1-A0FE-7B5E0BB96650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6078315" y="999345"/>
                  <a:ext cx="189360" cy="23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755C026C-20C4-470D-988F-D0D872CAB6FC}"/>
                    </a:ext>
                  </a:extLst>
                </p14:cNvPr>
                <p14:cNvContentPartPr/>
                <p14:nvPr/>
              </p14:nvContentPartPr>
              <p14:xfrm>
                <a:off x="6327435" y="1049025"/>
                <a:ext cx="65160" cy="19836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755C026C-20C4-470D-988F-D0D872CAB6FC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6309795" y="1031385"/>
                  <a:ext cx="100800" cy="23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F3E39561-C94E-4179-BBD8-AA4B40E3FB71}"/>
                    </a:ext>
                  </a:extLst>
                </p14:cNvPr>
                <p14:cNvContentPartPr/>
                <p14:nvPr/>
              </p14:nvContentPartPr>
              <p14:xfrm>
                <a:off x="6310155" y="1086465"/>
                <a:ext cx="432360" cy="13572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F3E39561-C94E-4179-BBD8-AA4B40E3FB71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6292515" y="1068825"/>
                  <a:ext cx="468000" cy="17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F9140F92-94DB-4A90-933C-3B271B6FB97A}"/>
                    </a:ext>
                  </a:extLst>
                </p14:cNvPr>
                <p14:cNvContentPartPr/>
                <p14:nvPr/>
              </p14:nvContentPartPr>
              <p14:xfrm>
                <a:off x="6903075" y="1123905"/>
                <a:ext cx="228240" cy="11880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F9140F92-94DB-4A90-933C-3B271B6FB97A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6885075" y="1105905"/>
                  <a:ext cx="263880" cy="15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F422BF3D-3365-4B8D-B1DE-8F1689B2BBF5}"/>
                    </a:ext>
                  </a:extLst>
                </p14:cNvPr>
                <p14:cNvContentPartPr/>
                <p14:nvPr/>
              </p14:nvContentPartPr>
              <p14:xfrm>
                <a:off x="7153275" y="1037505"/>
                <a:ext cx="435960" cy="17604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F422BF3D-3365-4B8D-B1DE-8F1689B2BBF5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7135275" y="1019505"/>
                  <a:ext cx="471600" cy="21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A67067AB-30F7-42DF-9B6B-151C89A55B70}"/>
                    </a:ext>
                  </a:extLst>
                </p14:cNvPr>
                <p14:cNvContentPartPr/>
                <p14:nvPr/>
              </p14:nvContentPartPr>
              <p14:xfrm>
                <a:off x="7534875" y="1095105"/>
                <a:ext cx="24120" cy="4104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A67067AB-30F7-42DF-9B6B-151C89A55B70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7516875" y="1077105"/>
                  <a:ext cx="59760" cy="76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4181FE51-968A-4FDB-8AAF-3D2FF428F30F}"/>
                    </a:ext>
                  </a:extLst>
                </p14:cNvPr>
                <p14:cNvContentPartPr/>
                <p14:nvPr/>
              </p14:nvContentPartPr>
              <p14:xfrm>
                <a:off x="7711275" y="1012665"/>
                <a:ext cx="18720" cy="21420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4181FE51-968A-4FDB-8AAF-3D2FF428F30F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7693635" y="995025"/>
                  <a:ext cx="54360" cy="24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66FCF883-8C4A-4BD5-B70D-22AE5052DE9A}"/>
                    </a:ext>
                  </a:extLst>
                </p14:cNvPr>
                <p14:cNvContentPartPr/>
                <p14:nvPr/>
              </p14:nvContentPartPr>
              <p14:xfrm>
                <a:off x="7670595" y="1131465"/>
                <a:ext cx="154080" cy="9216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66FCF883-8C4A-4BD5-B70D-22AE5052DE9A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7652955" y="1113825"/>
                  <a:ext cx="189720" cy="127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322D409D-F1DB-46C0-A519-7F82BC27BCB7}"/>
                    </a:ext>
                  </a:extLst>
                </p14:cNvPr>
                <p14:cNvContentPartPr/>
                <p14:nvPr/>
              </p14:nvContentPartPr>
              <p14:xfrm>
                <a:off x="7755915" y="1054785"/>
                <a:ext cx="217800" cy="14580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322D409D-F1DB-46C0-A519-7F82BC27BCB7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7738275" y="1036785"/>
                  <a:ext cx="253440" cy="18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AA1FDEE1-8538-4860-85BB-C7BC9CB7D0B0}"/>
                    </a:ext>
                  </a:extLst>
                </p14:cNvPr>
                <p14:cNvContentPartPr/>
                <p14:nvPr/>
              </p14:nvContentPartPr>
              <p14:xfrm>
                <a:off x="7966875" y="1092945"/>
                <a:ext cx="147960" cy="9828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AA1FDEE1-8538-4860-85BB-C7BC9CB7D0B0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7948875" y="1075305"/>
                  <a:ext cx="183600" cy="133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B3A8858A-3A53-4716-91D6-EAE276351C90}"/>
                    </a:ext>
                  </a:extLst>
                </p14:cNvPr>
                <p14:cNvContentPartPr/>
                <p14:nvPr/>
              </p14:nvContentPartPr>
              <p14:xfrm>
                <a:off x="8251275" y="1108785"/>
                <a:ext cx="11880" cy="10908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B3A8858A-3A53-4716-91D6-EAE276351C90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8233635" y="1090785"/>
                  <a:ext cx="47520" cy="14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4F5ACBE3-F4F7-4D47-BB53-B4380C382A18}"/>
                    </a:ext>
                  </a:extLst>
                </p14:cNvPr>
                <p14:cNvContentPartPr/>
                <p14:nvPr/>
              </p14:nvContentPartPr>
              <p14:xfrm>
                <a:off x="8182155" y="1038225"/>
                <a:ext cx="21240" cy="3744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4F5ACBE3-F4F7-4D47-BB53-B4380C382A18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8164155" y="1020225"/>
                  <a:ext cx="5688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74E1634B-027B-44A6-8110-5F37C54888A9}"/>
                    </a:ext>
                  </a:extLst>
                </p14:cNvPr>
                <p14:cNvContentPartPr/>
                <p14:nvPr/>
              </p14:nvContentPartPr>
              <p14:xfrm>
                <a:off x="8353515" y="1045065"/>
                <a:ext cx="100080" cy="16776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74E1634B-027B-44A6-8110-5F37C54888A9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8335515" y="1027425"/>
                  <a:ext cx="135720" cy="20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E085DF99-0AAE-4EDC-8283-63FF33473957}"/>
                    </a:ext>
                  </a:extLst>
                </p14:cNvPr>
                <p14:cNvContentPartPr/>
                <p14:nvPr/>
              </p14:nvContentPartPr>
              <p14:xfrm>
                <a:off x="8593995" y="1095825"/>
                <a:ext cx="347760" cy="11016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E085DF99-0AAE-4EDC-8283-63FF33473957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8576355" y="1077825"/>
                  <a:ext cx="383400" cy="14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A5EB5D57-2D2A-48BB-85AB-B85E5AE6B791}"/>
                    </a:ext>
                  </a:extLst>
                </p14:cNvPr>
                <p14:cNvContentPartPr/>
                <p14:nvPr/>
              </p14:nvContentPartPr>
              <p14:xfrm>
                <a:off x="8977755" y="1007625"/>
                <a:ext cx="82440" cy="17856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A5EB5D57-2D2A-48BB-85AB-B85E5AE6B791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8959755" y="989625"/>
                  <a:ext cx="118080" cy="21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B621DE0F-CEEF-4DB4-B991-82F64C99ED64}"/>
                    </a:ext>
                  </a:extLst>
                </p14:cNvPr>
                <p14:cNvContentPartPr/>
                <p14:nvPr/>
              </p14:nvContentPartPr>
              <p14:xfrm>
                <a:off x="8978475" y="1131465"/>
                <a:ext cx="122040" cy="2808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B621DE0F-CEEF-4DB4-B991-82F64C99ED64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8960475" y="1113465"/>
                  <a:ext cx="157680" cy="6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36336E63-7D3A-46AD-8191-7CAE409CEE1B}"/>
                    </a:ext>
                  </a:extLst>
                </p14:cNvPr>
                <p14:cNvContentPartPr/>
                <p14:nvPr/>
              </p14:nvContentPartPr>
              <p14:xfrm>
                <a:off x="9225795" y="1036065"/>
                <a:ext cx="124560" cy="20952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36336E63-7D3A-46AD-8191-7CAE409CEE1B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9208155" y="1018425"/>
                  <a:ext cx="160200" cy="245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74285A31-54D4-4E79-8E40-3545A1CFFE66}"/>
                    </a:ext>
                  </a:extLst>
                </p14:cNvPr>
                <p14:cNvContentPartPr/>
                <p14:nvPr/>
              </p14:nvContentPartPr>
              <p14:xfrm>
                <a:off x="9397515" y="1027785"/>
                <a:ext cx="149760" cy="20196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74285A31-54D4-4E79-8E40-3545A1CFFE66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9379515" y="1009785"/>
                  <a:ext cx="185400" cy="23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C4E7C352-4308-434E-91CC-F1653339A3E9}"/>
                    </a:ext>
                  </a:extLst>
                </p14:cNvPr>
                <p14:cNvContentPartPr/>
                <p14:nvPr/>
              </p14:nvContentPartPr>
              <p14:xfrm>
                <a:off x="9523515" y="1079625"/>
                <a:ext cx="197280" cy="14040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C4E7C352-4308-434E-91CC-F1653339A3E9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9505515" y="1061625"/>
                  <a:ext cx="232920" cy="17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A2E44ABE-85C5-48C8-A07A-78586B2770D6}"/>
                    </a:ext>
                  </a:extLst>
                </p14:cNvPr>
                <p14:cNvContentPartPr/>
                <p14:nvPr/>
              </p14:nvContentPartPr>
              <p14:xfrm>
                <a:off x="9790275" y="935625"/>
                <a:ext cx="84960" cy="25524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A2E44ABE-85C5-48C8-A07A-78586B2770D6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9772275" y="917625"/>
                  <a:ext cx="120600" cy="29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6E922D91-F256-4CC8-90FE-6A537A863436}"/>
                    </a:ext>
                  </a:extLst>
                </p14:cNvPr>
                <p14:cNvContentPartPr/>
                <p14:nvPr/>
              </p14:nvContentPartPr>
              <p14:xfrm>
                <a:off x="9827355" y="1041465"/>
                <a:ext cx="155160" cy="17136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6E922D91-F256-4CC8-90FE-6A537A863436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9809715" y="1023825"/>
                  <a:ext cx="190800" cy="20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ECEABEEA-D65E-4C9D-BAE1-E2D95D51992F}"/>
                    </a:ext>
                  </a:extLst>
                </p14:cNvPr>
                <p14:cNvContentPartPr/>
                <p14:nvPr/>
              </p14:nvContentPartPr>
              <p14:xfrm>
                <a:off x="9994755" y="992145"/>
                <a:ext cx="313920" cy="16668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ECEABEEA-D65E-4C9D-BAE1-E2D95D51992F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9976755" y="974505"/>
                  <a:ext cx="349560" cy="20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A5783120-32BA-4D8F-AE07-C48126042908}"/>
                    </a:ext>
                  </a:extLst>
                </p14:cNvPr>
                <p14:cNvContentPartPr/>
                <p14:nvPr/>
              </p14:nvContentPartPr>
              <p14:xfrm>
                <a:off x="10348635" y="1041825"/>
                <a:ext cx="185040" cy="12168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A5783120-32BA-4D8F-AE07-C48126042908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10330995" y="1023825"/>
                  <a:ext cx="220680" cy="15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FB726D22-E568-465F-975B-B0768EFEC10E}"/>
                    </a:ext>
                  </a:extLst>
                </p14:cNvPr>
                <p14:cNvContentPartPr/>
                <p14:nvPr/>
              </p14:nvContentPartPr>
              <p14:xfrm>
                <a:off x="10582635" y="958665"/>
                <a:ext cx="258120" cy="14040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FB726D22-E568-465F-975B-B0768EFEC10E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10564635" y="941025"/>
                  <a:ext cx="293760" cy="17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616A2711-F558-49C1-A8E6-2438E69005EA}"/>
                    </a:ext>
                  </a:extLst>
                </p14:cNvPr>
                <p14:cNvContentPartPr/>
                <p14:nvPr/>
              </p14:nvContentPartPr>
              <p14:xfrm>
                <a:off x="10811595" y="943545"/>
                <a:ext cx="38880" cy="6624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616A2711-F558-49C1-A8E6-2438E69005EA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10793955" y="925905"/>
                  <a:ext cx="74520" cy="10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3C97E011-D92B-4310-BA7B-545600B155D8}"/>
                    </a:ext>
                  </a:extLst>
                </p14:cNvPr>
                <p14:cNvContentPartPr/>
                <p14:nvPr/>
              </p14:nvContentPartPr>
              <p14:xfrm>
                <a:off x="10912035" y="966225"/>
                <a:ext cx="238680" cy="13320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3C97E011-D92B-4310-BA7B-545600B155D8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10894395" y="948225"/>
                  <a:ext cx="274320" cy="16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5DD3F54F-F226-4C02-8D89-23CA253CAB33}"/>
                    </a:ext>
                  </a:extLst>
                </p14:cNvPr>
                <p14:cNvContentPartPr/>
                <p14:nvPr/>
              </p14:nvContentPartPr>
              <p14:xfrm>
                <a:off x="11351235" y="928065"/>
                <a:ext cx="715320" cy="15300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5DD3F54F-F226-4C02-8D89-23CA253CAB33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11333595" y="910065"/>
                  <a:ext cx="750960" cy="18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13DB69ED-6D09-4753-BA0A-A7D510D47684}"/>
                    </a:ext>
                  </a:extLst>
                </p14:cNvPr>
                <p14:cNvContentPartPr/>
                <p14:nvPr/>
              </p14:nvContentPartPr>
              <p14:xfrm>
                <a:off x="8856795" y="1468785"/>
                <a:ext cx="72720" cy="3924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13DB69ED-6D09-4753-BA0A-A7D510D47684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8839155" y="1451145"/>
                  <a:ext cx="10836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D227D392-DE33-4430-8C61-F77B17581F89}"/>
                    </a:ext>
                  </a:extLst>
                </p14:cNvPr>
                <p14:cNvContentPartPr/>
                <p14:nvPr/>
              </p14:nvContentPartPr>
              <p14:xfrm>
                <a:off x="8825835" y="1463025"/>
                <a:ext cx="165600" cy="3960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D227D392-DE33-4430-8C61-F77B17581F89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8808195" y="1445385"/>
                  <a:ext cx="201240" cy="7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33B23842-BAB8-4C40-99E9-5058C682B53F}"/>
                    </a:ext>
                  </a:extLst>
                </p14:cNvPr>
                <p14:cNvContentPartPr/>
                <p14:nvPr/>
              </p14:nvContentPartPr>
              <p14:xfrm>
                <a:off x="9073515" y="1464465"/>
                <a:ext cx="119880" cy="15444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33B23842-BAB8-4C40-99E9-5058C682B53F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9055515" y="1446465"/>
                  <a:ext cx="155520" cy="19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45BB101A-4ED7-4B41-A66F-24A49DDE02CD}"/>
                    </a:ext>
                  </a:extLst>
                </p14:cNvPr>
                <p14:cNvContentPartPr/>
                <p14:nvPr/>
              </p14:nvContentPartPr>
              <p14:xfrm>
                <a:off x="9284475" y="1458705"/>
                <a:ext cx="60120" cy="9432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45BB101A-4ED7-4B41-A66F-24A49DDE02CD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9266835" y="1440705"/>
                  <a:ext cx="95760" cy="12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EF6ECD79-3918-4B3F-ABD6-69BD762ABBDF}"/>
                    </a:ext>
                  </a:extLst>
                </p14:cNvPr>
                <p14:cNvContentPartPr/>
                <p14:nvPr/>
              </p14:nvContentPartPr>
              <p14:xfrm>
                <a:off x="9478155" y="1364745"/>
                <a:ext cx="81000" cy="18000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EF6ECD79-3918-4B3F-ABD6-69BD762ABBDF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9460155" y="1346745"/>
                  <a:ext cx="116640" cy="215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45A90853-A720-4F83-A1B9-311EB5026234}"/>
                    </a:ext>
                  </a:extLst>
                </p14:cNvPr>
                <p14:cNvContentPartPr/>
                <p14:nvPr/>
              </p14:nvContentPartPr>
              <p14:xfrm>
                <a:off x="9635475" y="1397145"/>
                <a:ext cx="77760" cy="16380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45A90853-A720-4F83-A1B9-311EB5026234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9617835" y="1379145"/>
                  <a:ext cx="113400" cy="199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028A5F26-8488-4CA4-AFAA-4244F7C986FB}"/>
                    </a:ext>
                  </a:extLst>
                </p14:cNvPr>
                <p14:cNvContentPartPr/>
                <p14:nvPr/>
              </p14:nvContentPartPr>
              <p14:xfrm>
                <a:off x="9904035" y="1377345"/>
                <a:ext cx="347760" cy="16776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028A5F26-8488-4CA4-AFAA-4244F7C986FB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9886395" y="1359345"/>
                  <a:ext cx="383400" cy="20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E634C7B4-4D53-43C1-95CE-C56330C3BB90}"/>
                    </a:ext>
                  </a:extLst>
                </p14:cNvPr>
                <p14:cNvContentPartPr/>
                <p14:nvPr/>
              </p14:nvContentPartPr>
              <p14:xfrm>
                <a:off x="10269435" y="1364745"/>
                <a:ext cx="77760" cy="15120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E634C7B4-4D53-43C1-95CE-C56330C3BB90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10251435" y="1346745"/>
                  <a:ext cx="113400" cy="18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D770A047-2BCD-4576-9174-027A6CF763AD}"/>
                    </a:ext>
                  </a:extLst>
                </p14:cNvPr>
                <p14:cNvContentPartPr/>
                <p14:nvPr/>
              </p14:nvContentPartPr>
              <p14:xfrm>
                <a:off x="10307595" y="1447905"/>
                <a:ext cx="119160" cy="50040"/>
              </p14:xfrm>
            </p:contentPart>
          </mc:Choice>
          <mc:Fallback xmlns=""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D770A047-2BCD-4576-9174-027A6CF763AD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10289595" y="1429905"/>
                  <a:ext cx="154800" cy="8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88C8B184-03CA-4413-A773-00859A58704B}"/>
                    </a:ext>
                  </a:extLst>
                </p14:cNvPr>
                <p14:cNvContentPartPr/>
                <p14:nvPr/>
              </p14:nvContentPartPr>
              <p14:xfrm>
                <a:off x="10594875" y="1371225"/>
                <a:ext cx="104400" cy="164880"/>
              </p14:xfrm>
            </p:contentPart>
          </mc:Choice>
          <mc:Fallback xmlns=""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88C8B184-03CA-4413-A773-00859A58704B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10576875" y="1353225"/>
                  <a:ext cx="140040" cy="20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5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02062E25-F40F-4A58-ADD4-77CFE232884D}"/>
                    </a:ext>
                  </a:extLst>
                </p14:cNvPr>
                <p14:cNvContentPartPr/>
                <p14:nvPr/>
              </p14:nvContentPartPr>
              <p14:xfrm>
                <a:off x="10715115" y="1308585"/>
                <a:ext cx="345600" cy="262440"/>
              </p14:xfrm>
            </p:contentPart>
          </mc:Choice>
          <mc:Fallback xmlns=""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02062E25-F40F-4A58-ADD4-77CFE232884D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10697115" y="1290945"/>
                  <a:ext cx="381240" cy="29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063C5DAE-C5C9-4ADA-9554-0A6B9E3D26F5}"/>
                    </a:ext>
                  </a:extLst>
                </p14:cNvPr>
                <p14:cNvContentPartPr/>
                <p14:nvPr/>
              </p14:nvContentPartPr>
              <p14:xfrm>
                <a:off x="11004555" y="1286625"/>
                <a:ext cx="181080" cy="266760"/>
              </p14:xfrm>
            </p:contentPart>
          </mc:Choice>
          <mc:Fallback xmlns=""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063C5DAE-C5C9-4ADA-9554-0A6B9E3D26F5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10986555" y="1268985"/>
                  <a:ext cx="216720" cy="30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61" name="Ink 60">
                  <a:extLst>
                    <a:ext uri="{FF2B5EF4-FFF2-40B4-BE49-F238E27FC236}">
                      <a16:creationId xmlns:a16="http://schemas.microsoft.com/office/drawing/2014/main" id="{93539C44-6B16-47C2-A3A9-776B395F07A5}"/>
                    </a:ext>
                  </a:extLst>
                </p14:cNvPr>
                <p14:cNvContentPartPr/>
                <p14:nvPr/>
              </p14:nvContentPartPr>
              <p14:xfrm>
                <a:off x="11119755" y="1405425"/>
                <a:ext cx="154440" cy="60840"/>
              </p14:xfrm>
            </p:contentPart>
          </mc:Choice>
          <mc:Fallback xmlns="">
            <p:pic>
              <p:nvPicPr>
                <p:cNvPr id="61" name="Ink 60">
                  <a:extLst>
                    <a:ext uri="{FF2B5EF4-FFF2-40B4-BE49-F238E27FC236}">
                      <a16:creationId xmlns:a16="http://schemas.microsoft.com/office/drawing/2014/main" id="{93539C44-6B16-47C2-A3A9-776B395F07A5}"/>
                    </a:ext>
                  </a:extLst>
                </p:cNvPr>
                <p:cNvPicPr/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11101755" y="1387785"/>
                  <a:ext cx="190080" cy="964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91">
            <p14:nvContentPartPr>
              <p14:cNvPr id="65" name="Ink 64">
                <a:extLst>
                  <a:ext uri="{FF2B5EF4-FFF2-40B4-BE49-F238E27FC236}">
                    <a16:creationId xmlns:a16="http://schemas.microsoft.com/office/drawing/2014/main" id="{013A430C-6213-4FED-A946-E8315C262D7E}"/>
                  </a:ext>
                </a:extLst>
              </p14:cNvPr>
              <p14:cNvContentPartPr/>
              <p14:nvPr/>
            </p14:nvContentPartPr>
            <p14:xfrm>
              <a:off x="11525115" y="1279065"/>
              <a:ext cx="673560" cy="308520"/>
            </p14:xfrm>
          </p:contentPart>
        </mc:Choice>
        <mc:Fallback xmlns="">
          <p:pic>
            <p:nvPicPr>
              <p:cNvPr id="65" name="Ink 64">
                <a:extLst>
                  <a:ext uri="{FF2B5EF4-FFF2-40B4-BE49-F238E27FC236}">
                    <a16:creationId xmlns:a16="http://schemas.microsoft.com/office/drawing/2014/main" id="{013A430C-6213-4FED-A946-E8315C262D7E}"/>
                  </a:ext>
                </a:extLst>
              </p:cNvPr>
              <p:cNvPicPr/>
              <p:nvPr/>
            </p:nvPicPr>
            <p:blipFill>
              <a:blip r:embed="rId92"/>
              <a:stretch>
                <a:fillRect/>
              </a:stretch>
            </p:blipFill>
            <p:spPr>
              <a:xfrm>
                <a:off x="11507115" y="1261425"/>
                <a:ext cx="709200" cy="344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3">
            <p14:nvContentPartPr>
              <p14:cNvPr id="88" name="Ink 87">
                <a:extLst>
                  <a:ext uri="{FF2B5EF4-FFF2-40B4-BE49-F238E27FC236}">
                    <a16:creationId xmlns:a16="http://schemas.microsoft.com/office/drawing/2014/main" id="{B37DD94B-26C0-4B21-B0D2-AF7231C02351}"/>
                  </a:ext>
                </a:extLst>
              </p14:cNvPr>
              <p14:cNvContentPartPr/>
              <p14:nvPr/>
            </p14:nvContentPartPr>
            <p14:xfrm>
              <a:off x="10962075" y="3763425"/>
              <a:ext cx="190080" cy="219240"/>
            </p14:xfrm>
          </p:contentPart>
        </mc:Choice>
        <mc:Fallback xmlns="">
          <p:pic>
            <p:nvPicPr>
              <p:cNvPr id="88" name="Ink 87">
                <a:extLst>
                  <a:ext uri="{FF2B5EF4-FFF2-40B4-BE49-F238E27FC236}">
                    <a16:creationId xmlns:a16="http://schemas.microsoft.com/office/drawing/2014/main" id="{B37DD94B-26C0-4B21-B0D2-AF7231C02351}"/>
                  </a:ext>
                </a:extLst>
              </p:cNvPr>
              <p:cNvPicPr/>
              <p:nvPr/>
            </p:nvPicPr>
            <p:blipFill>
              <a:blip r:embed="rId94"/>
              <a:stretch>
                <a:fillRect/>
              </a:stretch>
            </p:blipFill>
            <p:spPr>
              <a:xfrm>
                <a:off x="10944435" y="3745785"/>
                <a:ext cx="225720" cy="254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5">
            <p14:nvContentPartPr>
              <p14:cNvPr id="89" name="Ink 88">
                <a:extLst>
                  <a:ext uri="{FF2B5EF4-FFF2-40B4-BE49-F238E27FC236}">
                    <a16:creationId xmlns:a16="http://schemas.microsoft.com/office/drawing/2014/main" id="{CD1CEB5B-4541-4B76-ACDF-BA25EFBF42BC}"/>
                  </a:ext>
                </a:extLst>
              </p14:cNvPr>
              <p14:cNvContentPartPr/>
              <p14:nvPr/>
            </p14:nvContentPartPr>
            <p14:xfrm>
              <a:off x="11135595" y="3814905"/>
              <a:ext cx="250200" cy="138600"/>
            </p14:xfrm>
          </p:contentPart>
        </mc:Choice>
        <mc:Fallback xmlns="">
          <p:pic>
            <p:nvPicPr>
              <p:cNvPr id="89" name="Ink 88">
                <a:extLst>
                  <a:ext uri="{FF2B5EF4-FFF2-40B4-BE49-F238E27FC236}">
                    <a16:creationId xmlns:a16="http://schemas.microsoft.com/office/drawing/2014/main" id="{CD1CEB5B-4541-4B76-ACDF-BA25EFBF42BC}"/>
                  </a:ext>
                </a:extLst>
              </p:cNvPr>
              <p:cNvPicPr/>
              <p:nvPr/>
            </p:nvPicPr>
            <p:blipFill>
              <a:blip r:embed="rId96"/>
              <a:stretch>
                <a:fillRect/>
              </a:stretch>
            </p:blipFill>
            <p:spPr>
              <a:xfrm>
                <a:off x="11117595" y="3796905"/>
                <a:ext cx="285840" cy="174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7">
            <p14:nvContentPartPr>
              <p14:cNvPr id="90" name="Ink 89">
                <a:extLst>
                  <a:ext uri="{FF2B5EF4-FFF2-40B4-BE49-F238E27FC236}">
                    <a16:creationId xmlns:a16="http://schemas.microsoft.com/office/drawing/2014/main" id="{F037151C-0854-4AEE-8C36-D86E4631B6D4}"/>
                  </a:ext>
                </a:extLst>
              </p14:cNvPr>
              <p14:cNvContentPartPr/>
              <p14:nvPr/>
            </p14:nvContentPartPr>
            <p14:xfrm>
              <a:off x="11423955" y="3757305"/>
              <a:ext cx="359640" cy="235800"/>
            </p14:xfrm>
          </p:contentPart>
        </mc:Choice>
        <mc:Fallback xmlns="">
          <p:pic>
            <p:nvPicPr>
              <p:cNvPr id="90" name="Ink 89">
                <a:extLst>
                  <a:ext uri="{FF2B5EF4-FFF2-40B4-BE49-F238E27FC236}">
                    <a16:creationId xmlns:a16="http://schemas.microsoft.com/office/drawing/2014/main" id="{F037151C-0854-4AEE-8C36-D86E4631B6D4}"/>
                  </a:ext>
                </a:extLst>
              </p:cNvPr>
              <p:cNvPicPr/>
              <p:nvPr/>
            </p:nvPicPr>
            <p:blipFill>
              <a:blip r:embed="rId98"/>
              <a:stretch>
                <a:fillRect/>
              </a:stretch>
            </p:blipFill>
            <p:spPr>
              <a:xfrm>
                <a:off x="11406315" y="3739305"/>
                <a:ext cx="395280" cy="271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9">
            <p14:nvContentPartPr>
              <p14:cNvPr id="91" name="Ink 90">
                <a:extLst>
                  <a:ext uri="{FF2B5EF4-FFF2-40B4-BE49-F238E27FC236}">
                    <a16:creationId xmlns:a16="http://schemas.microsoft.com/office/drawing/2014/main" id="{7D338EAF-0ED4-407F-A569-343AC7E1D845}"/>
                  </a:ext>
                </a:extLst>
              </p14:cNvPr>
              <p14:cNvContentPartPr/>
              <p14:nvPr/>
            </p14:nvContentPartPr>
            <p14:xfrm>
              <a:off x="11940195" y="3851985"/>
              <a:ext cx="62280" cy="13320"/>
            </p14:xfrm>
          </p:contentPart>
        </mc:Choice>
        <mc:Fallback xmlns="">
          <p:pic>
            <p:nvPicPr>
              <p:cNvPr id="91" name="Ink 90">
                <a:extLst>
                  <a:ext uri="{FF2B5EF4-FFF2-40B4-BE49-F238E27FC236}">
                    <a16:creationId xmlns:a16="http://schemas.microsoft.com/office/drawing/2014/main" id="{7D338EAF-0ED4-407F-A569-343AC7E1D845}"/>
                  </a:ext>
                </a:extLst>
              </p:cNvPr>
              <p:cNvPicPr/>
              <p:nvPr/>
            </p:nvPicPr>
            <p:blipFill>
              <a:blip r:embed="rId100"/>
              <a:stretch>
                <a:fillRect/>
              </a:stretch>
            </p:blipFill>
            <p:spPr>
              <a:xfrm>
                <a:off x="11922555" y="3834345"/>
                <a:ext cx="97920" cy="48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1">
            <p14:nvContentPartPr>
              <p14:cNvPr id="92" name="Ink 91">
                <a:extLst>
                  <a:ext uri="{FF2B5EF4-FFF2-40B4-BE49-F238E27FC236}">
                    <a16:creationId xmlns:a16="http://schemas.microsoft.com/office/drawing/2014/main" id="{F7AF16D0-84A9-4623-9E59-8FF2298AB8E1}"/>
                  </a:ext>
                </a:extLst>
              </p14:cNvPr>
              <p14:cNvContentPartPr/>
              <p14:nvPr/>
            </p14:nvContentPartPr>
            <p14:xfrm>
              <a:off x="12090675" y="3759105"/>
              <a:ext cx="856440" cy="151560"/>
            </p14:xfrm>
          </p:contentPart>
        </mc:Choice>
        <mc:Fallback xmlns="">
          <p:pic>
            <p:nvPicPr>
              <p:cNvPr id="92" name="Ink 91">
                <a:extLst>
                  <a:ext uri="{FF2B5EF4-FFF2-40B4-BE49-F238E27FC236}">
                    <a16:creationId xmlns:a16="http://schemas.microsoft.com/office/drawing/2014/main" id="{F7AF16D0-84A9-4623-9E59-8FF2298AB8E1}"/>
                  </a:ext>
                </a:extLst>
              </p:cNvPr>
              <p:cNvPicPr/>
              <p:nvPr/>
            </p:nvPicPr>
            <p:blipFill>
              <a:blip r:embed="rId102"/>
              <a:stretch>
                <a:fillRect/>
              </a:stretch>
            </p:blipFill>
            <p:spPr>
              <a:xfrm>
                <a:off x="12073035" y="3741105"/>
                <a:ext cx="892080" cy="187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3">
            <p14:nvContentPartPr>
              <p14:cNvPr id="93" name="Ink 92">
                <a:extLst>
                  <a:ext uri="{FF2B5EF4-FFF2-40B4-BE49-F238E27FC236}">
                    <a16:creationId xmlns:a16="http://schemas.microsoft.com/office/drawing/2014/main" id="{9BE0FA45-A45C-42C1-B1D7-1B453082FBE6}"/>
                  </a:ext>
                </a:extLst>
              </p14:cNvPr>
              <p14:cNvContentPartPr/>
              <p14:nvPr/>
            </p14:nvContentPartPr>
            <p14:xfrm>
              <a:off x="12858195" y="3676665"/>
              <a:ext cx="30600" cy="63360"/>
            </p14:xfrm>
          </p:contentPart>
        </mc:Choice>
        <mc:Fallback xmlns="">
          <p:pic>
            <p:nvPicPr>
              <p:cNvPr id="93" name="Ink 92">
                <a:extLst>
                  <a:ext uri="{FF2B5EF4-FFF2-40B4-BE49-F238E27FC236}">
                    <a16:creationId xmlns:a16="http://schemas.microsoft.com/office/drawing/2014/main" id="{9BE0FA45-A45C-42C1-B1D7-1B453082FBE6}"/>
                  </a:ext>
                </a:extLst>
              </p:cNvPr>
              <p:cNvPicPr/>
              <p:nvPr/>
            </p:nvPicPr>
            <p:blipFill>
              <a:blip r:embed="rId104"/>
              <a:stretch>
                <a:fillRect/>
              </a:stretch>
            </p:blipFill>
            <p:spPr>
              <a:xfrm>
                <a:off x="12840555" y="3658665"/>
                <a:ext cx="66240" cy="9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5">
            <p14:nvContentPartPr>
              <p14:cNvPr id="94" name="Ink 93">
                <a:extLst>
                  <a:ext uri="{FF2B5EF4-FFF2-40B4-BE49-F238E27FC236}">
                    <a16:creationId xmlns:a16="http://schemas.microsoft.com/office/drawing/2014/main" id="{176B3613-9E2E-4B65-ADFD-A493439DAF19}"/>
                  </a:ext>
                </a:extLst>
              </p14:cNvPr>
              <p14:cNvContentPartPr/>
              <p14:nvPr/>
            </p14:nvContentPartPr>
            <p14:xfrm>
              <a:off x="12948915" y="3651825"/>
              <a:ext cx="291240" cy="174960"/>
            </p14:xfrm>
          </p:contentPart>
        </mc:Choice>
        <mc:Fallback xmlns="">
          <p:pic>
            <p:nvPicPr>
              <p:cNvPr id="94" name="Ink 93">
                <a:extLst>
                  <a:ext uri="{FF2B5EF4-FFF2-40B4-BE49-F238E27FC236}">
                    <a16:creationId xmlns:a16="http://schemas.microsoft.com/office/drawing/2014/main" id="{176B3613-9E2E-4B65-ADFD-A493439DAF19}"/>
                  </a:ext>
                </a:extLst>
              </p:cNvPr>
              <p:cNvPicPr/>
              <p:nvPr/>
            </p:nvPicPr>
            <p:blipFill>
              <a:blip r:embed="rId106"/>
              <a:stretch>
                <a:fillRect/>
              </a:stretch>
            </p:blipFill>
            <p:spPr>
              <a:xfrm>
                <a:off x="12931275" y="3633825"/>
                <a:ext cx="326880" cy="210600"/>
              </a:xfrm>
              <a:prstGeom prst="rect">
                <a:avLst/>
              </a:prstGeom>
            </p:spPr>
          </p:pic>
        </mc:Fallback>
      </mc:AlternateContent>
      <p:grpSp>
        <p:nvGrpSpPr>
          <p:cNvPr id="113" name="Group 112">
            <a:extLst>
              <a:ext uri="{FF2B5EF4-FFF2-40B4-BE49-F238E27FC236}">
                <a16:creationId xmlns:a16="http://schemas.microsoft.com/office/drawing/2014/main" id="{9783E223-10C2-4D17-9A69-1BF53825670F}"/>
              </a:ext>
            </a:extLst>
          </p:cNvPr>
          <p:cNvGrpSpPr/>
          <p:nvPr/>
        </p:nvGrpSpPr>
        <p:grpSpPr>
          <a:xfrm>
            <a:off x="10698195" y="4127025"/>
            <a:ext cx="2499840" cy="599400"/>
            <a:chOff x="10698195" y="4127025"/>
            <a:chExt cx="2499840" cy="599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07">
              <p14:nvContentPartPr>
                <p14:cNvPr id="96" name="Ink 95">
                  <a:extLst>
                    <a:ext uri="{FF2B5EF4-FFF2-40B4-BE49-F238E27FC236}">
                      <a16:creationId xmlns:a16="http://schemas.microsoft.com/office/drawing/2014/main" id="{D05CD45A-4399-4B76-A902-CC59F6578CBB}"/>
                    </a:ext>
                  </a:extLst>
                </p14:cNvPr>
                <p14:cNvContentPartPr/>
                <p14:nvPr/>
              </p14:nvContentPartPr>
              <p14:xfrm>
                <a:off x="10897635" y="4133865"/>
                <a:ext cx="56520" cy="290160"/>
              </p14:xfrm>
            </p:contentPart>
          </mc:Choice>
          <mc:Fallback xmlns="">
            <p:pic>
              <p:nvPicPr>
                <p:cNvPr id="96" name="Ink 95">
                  <a:extLst>
                    <a:ext uri="{FF2B5EF4-FFF2-40B4-BE49-F238E27FC236}">
                      <a16:creationId xmlns:a16="http://schemas.microsoft.com/office/drawing/2014/main" id="{D05CD45A-4399-4B76-A902-CC59F6578CBB}"/>
                    </a:ext>
                  </a:extLst>
                </p:cNvPr>
                <p:cNvPicPr/>
                <p:nvPr/>
              </p:nvPicPr>
              <p:blipFill>
                <a:blip r:embed="rId108"/>
                <a:stretch>
                  <a:fillRect/>
                </a:stretch>
              </p:blipFill>
              <p:spPr>
                <a:xfrm>
                  <a:off x="10879995" y="4116225"/>
                  <a:ext cx="92160" cy="32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9">
              <p14:nvContentPartPr>
                <p14:cNvPr id="97" name="Ink 96">
                  <a:extLst>
                    <a:ext uri="{FF2B5EF4-FFF2-40B4-BE49-F238E27FC236}">
                      <a16:creationId xmlns:a16="http://schemas.microsoft.com/office/drawing/2014/main" id="{3CB681C8-68C1-4521-BA15-D3087BE33435}"/>
                    </a:ext>
                  </a:extLst>
                </p14:cNvPr>
                <p14:cNvContentPartPr/>
                <p14:nvPr/>
              </p14:nvContentPartPr>
              <p14:xfrm>
                <a:off x="10698195" y="4232865"/>
                <a:ext cx="393120" cy="114120"/>
              </p14:xfrm>
            </p:contentPart>
          </mc:Choice>
          <mc:Fallback xmlns="">
            <p:pic>
              <p:nvPicPr>
                <p:cNvPr id="97" name="Ink 96">
                  <a:extLst>
                    <a:ext uri="{FF2B5EF4-FFF2-40B4-BE49-F238E27FC236}">
                      <a16:creationId xmlns:a16="http://schemas.microsoft.com/office/drawing/2014/main" id="{3CB681C8-68C1-4521-BA15-D3087BE33435}"/>
                    </a:ext>
                  </a:extLst>
                </p:cNvPr>
                <p:cNvPicPr/>
                <p:nvPr/>
              </p:nvPicPr>
              <p:blipFill>
                <a:blip r:embed="rId110"/>
                <a:stretch>
                  <a:fillRect/>
                </a:stretch>
              </p:blipFill>
              <p:spPr>
                <a:xfrm>
                  <a:off x="10680195" y="4215225"/>
                  <a:ext cx="428760" cy="14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1">
              <p14:nvContentPartPr>
                <p14:cNvPr id="98" name="Ink 97">
                  <a:extLst>
                    <a:ext uri="{FF2B5EF4-FFF2-40B4-BE49-F238E27FC236}">
                      <a16:creationId xmlns:a16="http://schemas.microsoft.com/office/drawing/2014/main" id="{E7FFD4A4-E9DD-4366-AD49-8EBF7741E7A9}"/>
                    </a:ext>
                  </a:extLst>
                </p14:cNvPr>
                <p14:cNvContentPartPr/>
                <p14:nvPr/>
              </p14:nvContentPartPr>
              <p14:xfrm>
                <a:off x="11038395" y="4177425"/>
                <a:ext cx="24840" cy="39960"/>
              </p14:xfrm>
            </p:contentPart>
          </mc:Choice>
          <mc:Fallback xmlns="">
            <p:pic>
              <p:nvPicPr>
                <p:cNvPr id="98" name="Ink 97">
                  <a:extLst>
                    <a:ext uri="{FF2B5EF4-FFF2-40B4-BE49-F238E27FC236}">
                      <a16:creationId xmlns:a16="http://schemas.microsoft.com/office/drawing/2014/main" id="{E7FFD4A4-E9DD-4366-AD49-8EBF7741E7A9}"/>
                    </a:ext>
                  </a:extLst>
                </p:cNvPr>
                <p:cNvPicPr/>
                <p:nvPr/>
              </p:nvPicPr>
              <p:blipFill>
                <a:blip r:embed="rId112"/>
                <a:stretch>
                  <a:fillRect/>
                </a:stretch>
              </p:blipFill>
              <p:spPr>
                <a:xfrm>
                  <a:off x="11020395" y="4159425"/>
                  <a:ext cx="60480" cy="7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3">
              <p14:nvContentPartPr>
                <p14:cNvPr id="99" name="Ink 98">
                  <a:extLst>
                    <a:ext uri="{FF2B5EF4-FFF2-40B4-BE49-F238E27FC236}">
                      <a16:creationId xmlns:a16="http://schemas.microsoft.com/office/drawing/2014/main" id="{5F3F6B73-68D2-4CF2-975A-D9D095C47B73}"/>
                    </a:ext>
                  </a:extLst>
                </p14:cNvPr>
                <p14:cNvContentPartPr/>
                <p14:nvPr/>
              </p14:nvContentPartPr>
              <p14:xfrm>
                <a:off x="11133075" y="4202625"/>
                <a:ext cx="103320" cy="194400"/>
              </p14:xfrm>
            </p:contentPart>
          </mc:Choice>
          <mc:Fallback xmlns="">
            <p:pic>
              <p:nvPicPr>
                <p:cNvPr id="99" name="Ink 98">
                  <a:extLst>
                    <a:ext uri="{FF2B5EF4-FFF2-40B4-BE49-F238E27FC236}">
                      <a16:creationId xmlns:a16="http://schemas.microsoft.com/office/drawing/2014/main" id="{5F3F6B73-68D2-4CF2-975A-D9D095C47B73}"/>
                    </a:ext>
                  </a:extLst>
                </p:cNvPr>
                <p:cNvPicPr/>
                <p:nvPr/>
              </p:nvPicPr>
              <p:blipFill>
                <a:blip r:embed="rId114"/>
                <a:stretch>
                  <a:fillRect/>
                </a:stretch>
              </p:blipFill>
              <p:spPr>
                <a:xfrm>
                  <a:off x="11115435" y="4184625"/>
                  <a:ext cx="138960" cy="23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5">
              <p14:nvContentPartPr>
                <p14:cNvPr id="100" name="Ink 99">
                  <a:extLst>
                    <a:ext uri="{FF2B5EF4-FFF2-40B4-BE49-F238E27FC236}">
                      <a16:creationId xmlns:a16="http://schemas.microsoft.com/office/drawing/2014/main" id="{EFA4C576-9043-4BCD-98C9-4D6E077D69B4}"/>
                    </a:ext>
                  </a:extLst>
                </p14:cNvPr>
                <p14:cNvContentPartPr/>
                <p14:nvPr/>
              </p14:nvContentPartPr>
              <p14:xfrm>
                <a:off x="11306235" y="4192545"/>
                <a:ext cx="359280" cy="170640"/>
              </p14:xfrm>
            </p:contentPart>
          </mc:Choice>
          <mc:Fallback xmlns="">
            <p:pic>
              <p:nvPicPr>
                <p:cNvPr id="100" name="Ink 99">
                  <a:extLst>
                    <a:ext uri="{FF2B5EF4-FFF2-40B4-BE49-F238E27FC236}">
                      <a16:creationId xmlns:a16="http://schemas.microsoft.com/office/drawing/2014/main" id="{EFA4C576-9043-4BCD-98C9-4D6E077D69B4}"/>
                    </a:ext>
                  </a:extLst>
                </p:cNvPr>
                <p:cNvPicPr/>
                <p:nvPr/>
              </p:nvPicPr>
              <p:blipFill>
                <a:blip r:embed="rId116"/>
                <a:stretch>
                  <a:fillRect/>
                </a:stretch>
              </p:blipFill>
              <p:spPr>
                <a:xfrm>
                  <a:off x="11288235" y="4174545"/>
                  <a:ext cx="39492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7">
              <p14:nvContentPartPr>
                <p14:cNvPr id="101" name="Ink 100">
                  <a:extLst>
                    <a:ext uri="{FF2B5EF4-FFF2-40B4-BE49-F238E27FC236}">
                      <a16:creationId xmlns:a16="http://schemas.microsoft.com/office/drawing/2014/main" id="{EE53ADBB-DB3B-4905-9E1D-B62781B275F0}"/>
                    </a:ext>
                  </a:extLst>
                </p14:cNvPr>
                <p14:cNvContentPartPr/>
                <p14:nvPr/>
              </p14:nvContentPartPr>
              <p14:xfrm>
                <a:off x="11837595" y="4195065"/>
                <a:ext cx="367200" cy="101160"/>
              </p14:xfrm>
            </p:contentPart>
          </mc:Choice>
          <mc:Fallback xmlns="">
            <p:pic>
              <p:nvPicPr>
                <p:cNvPr id="101" name="Ink 100">
                  <a:extLst>
                    <a:ext uri="{FF2B5EF4-FFF2-40B4-BE49-F238E27FC236}">
                      <a16:creationId xmlns:a16="http://schemas.microsoft.com/office/drawing/2014/main" id="{EE53ADBB-DB3B-4905-9E1D-B62781B275F0}"/>
                    </a:ext>
                  </a:extLst>
                </p:cNvPr>
                <p:cNvPicPr/>
                <p:nvPr/>
              </p:nvPicPr>
              <p:blipFill>
                <a:blip r:embed="rId118"/>
                <a:stretch>
                  <a:fillRect/>
                </a:stretch>
              </p:blipFill>
              <p:spPr>
                <a:xfrm>
                  <a:off x="11819955" y="4177065"/>
                  <a:ext cx="402840" cy="13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9">
              <p14:nvContentPartPr>
                <p14:cNvPr id="102" name="Ink 101">
                  <a:extLst>
                    <a:ext uri="{FF2B5EF4-FFF2-40B4-BE49-F238E27FC236}">
                      <a16:creationId xmlns:a16="http://schemas.microsoft.com/office/drawing/2014/main" id="{3734B2D6-1F9A-49C8-9200-764B05AFDF5C}"/>
                    </a:ext>
                  </a:extLst>
                </p14:cNvPr>
                <p14:cNvContentPartPr/>
                <p14:nvPr/>
              </p14:nvContentPartPr>
              <p14:xfrm>
                <a:off x="12394155" y="4127025"/>
                <a:ext cx="380520" cy="165960"/>
              </p14:xfrm>
            </p:contentPart>
          </mc:Choice>
          <mc:Fallback xmlns="">
            <p:pic>
              <p:nvPicPr>
                <p:cNvPr id="102" name="Ink 101">
                  <a:extLst>
                    <a:ext uri="{FF2B5EF4-FFF2-40B4-BE49-F238E27FC236}">
                      <a16:creationId xmlns:a16="http://schemas.microsoft.com/office/drawing/2014/main" id="{3734B2D6-1F9A-49C8-9200-764B05AFDF5C}"/>
                    </a:ext>
                  </a:extLst>
                </p:cNvPr>
                <p:cNvPicPr/>
                <p:nvPr/>
              </p:nvPicPr>
              <p:blipFill>
                <a:blip r:embed="rId120"/>
                <a:stretch>
                  <a:fillRect/>
                </a:stretch>
              </p:blipFill>
              <p:spPr>
                <a:xfrm>
                  <a:off x="12376155" y="4109025"/>
                  <a:ext cx="416160" cy="201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1">
              <p14:nvContentPartPr>
                <p14:cNvPr id="103" name="Ink 102">
                  <a:extLst>
                    <a:ext uri="{FF2B5EF4-FFF2-40B4-BE49-F238E27FC236}">
                      <a16:creationId xmlns:a16="http://schemas.microsoft.com/office/drawing/2014/main" id="{1906C3EB-BA8C-44A0-9090-3ACAA54114CA}"/>
                    </a:ext>
                  </a:extLst>
                </p14:cNvPr>
                <p14:cNvContentPartPr/>
                <p14:nvPr/>
              </p14:nvContentPartPr>
              <p14:xfrm>
                <a:off x="12845955" y="4139265"/>
                <a:ext cx="246600" cy="133560"/>
              </p14:xfrm>
            </p:contentPart>
          </mc:Choice>
          <mc:Fallback xmlns="">
            <p:pic>
              <p:nvPicPr>
                <p:cNvPr id="103" name="Ink 102">
                  <a:extLst>
                    <a:ext uri="{FF2B5EF4-FFF2-40B4-BE49-F238E27FC236}">
                      <a16:creationId xmlns:a16="http://schemas.microsoft.com/office/drawing/2014/main" id="{1906C3EB-BA8C-44A0-9090-3ACAA54114CA}"/>
                    </a:ext>
                  </a:extLst>
                </p:cNvPr>
                <p:cNvPicPr/>
                <p:nvPr/>
              </p:nvPicPr>
              <p:blipFill>
                <a:blip r:embed="rId122"/>
                <a:stretch>
                  <a:fillRect/>
                </a:stretch>
              </p:blipFill>
              <p:spPr>
                <a:xfrm>
                  <a:off x="12828315" y="4121265"/>
                  <a:ext cx="282240" cy="16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3">
              <p14:nvContentPartPr>
                <p14:cNvPr id="104" name="Ink 103">
                  <a:extLst>
                    <a:ext uri="{FF2B5EF4-FFF2-40B4-BE49-F238E27FC236}">
                      <a16:creationId xmlns:a16="http://schemas.microsoft.com/office/drawing/2014/main" id="{DC789B73-1B49-4FC0-B789-55FD51D986E9}"/>
                    </a:ext>
                  </a:extLst>
                </p14:cNvPr>
                <p14:cNvContentPartPr/>
                <p14:nvPr/>
              </p14:nvContentPartPr>
              <p14:xfrm>
                <a:off x="11620515" y="4594665"/>
                <a:ext cx="34920" cy="131760"/>
              </p14:xfrm>
            </p:contentPart>
          </mc:Choice>
          <mc:Fallback xmlns="">
            <p:pic>
              <p:nvPicPr>
                <p:cNvPr id="104" name="Ink 103">
                  <a:extLst>
                    <a:ext uri="{FF2B5EF4-FFF2-40B4-BE49-F238E27FC236}">
                      <a16:creationId xmlns:a16="http://schemas.microsoft.com/office/drawing/2014/main" id="{DC789B73-1B49-4FC0-B789-55FD51D986E9}"/>
                    </a:ext>
                  </a:extLst>
                </p:cNvPr>
                <p:cNvPicPr/>
                <p:nvPr/>
              </p:nvPicPr>
              <p:blipFill>
                <a:blip r:embed="rId124"/>
                <a:stretch>
                  <a:fillRect/>
                </a:stretch>
              </p:blipFill>
              <p:spPr>
                <a:xfrm>
                  <a:off x="11602875" y="4577025"/>
                  <a:ext cx="70560" cy="16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5">
              <p14:nvContentPartPr>
                <p14:cNvPr id="105" name="Ink 104">
                  <a:extLst>
                    <a:ext uri="{FF2B5EF4-FFF2-40B4-BE49-F238E27FC236}">
                      <a16:creationId xmlns:a16="http://schemas.microsoft.com/office/drawing/2014/main" id="{B12B3643-0EB0-43EF-B027-8F71A9EF77F0}"/>
                    </a:ext>
                  </a:extLst>
                </p14:cNvPr>
                <p14:cNvContentPartPr/>
                <p14:nvPr/>
              </p14:nvContentPartPr>
              <p14:xfrm>
                <a:off x="11606835" y="4544625"/>
                <a:ext cx="255240" cy="154080"/>
              </p14:xfrm>
            </p:contentPart>
          </mc:Choice>
          <mc:Fallback xmlns="">
            <p:pic>
              <p:nvPicPr>
                <p:cNvPr id="105" name="Ink 104">
                  <a:extLst>
                    <a:ext uri="{FF2B5EF4-FFF2-40B4-BE49-F238E27FC236}">
                      <a16:creationId xmlns:a16="http://schemas.microsoft.com/office/drawing/2014/main" id="{B12B3643-0EB0-43EF-B027-8F71A9EF77F0}"/>
                    </a:ext>
                  </a:extLst>
                </p:cNvPr>
                <p:cNvPicPr/>
                <p:nvPr/>
              </p:nvPicPr>
              <p:blipFill>
                <a:blip r:embed="rId126"/>
                <a:stretch>
                  <a:fillRect/>
                </a:stretch>
              </p:blipFill>
              <p:spPr>
                <a:xfrm>
                  <a:off x="11589195" y="4526625"/>
                  <a:ext cx="290880" cy="18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7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32087CDD-57B3-4671-A3DF-51288E6F76CE}"/>
                    </a:ext>
                  </a:extLst>
                </p14:cNvPr>
                <p14:cNvContentPartPr/>
                <p14:nvPr/>
              </p14:nvContentPartPr>
              <p14:xfrm>
                <a:off x="11986995" y="4538145"/>
                <a:ext cx="55080" cy="126720"/>
              </p14:xfrm>
            </p:contentPart>
          </mc:Choice>
          <mc:Fallback xmlns=""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32087CDD-57B3-4671-A3DF-51288E6F76CE}"/>
                    </a:ext>
                  </a:extLst>
                </p:cNvPr>
                <p:cNvPicPr/>
                <p:nvPr/>
              </p:nvPicPr>
              <p:blipFill>
                <a:blip r:embed="rId128"/>
                <a:stretch>
                  <a:fillRect/>
                </a:stretch>
              </p:blipFill>
              <p:spPr>
                <a:xfrm>
                  <a:off x="11969355" y="4520505"/>
                  <a:ext cx="90720" cy="16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9">
              <p14:nvContentPartPr>
                <p14:cNvPr id="107" name="Ink 106">
                  <a:extLst>
                    <a:ext uri="{FF2B5EF4-FFF2-40B4-BE49-F238E27FC236}">
                      <a16:creationId xmlns:a16="http://schemas.microsoft.com/office/drawing/2014/main" id="{914D552B-E3C8-410F-9BFB-885A01AD8F05}"/>
                    </a:ext>
                  </a:extLst>
                </p14:cNvPr>
                <p14:cNvContentPartPr/>
                <p14:nvPr/>
              </p14:nvContentPartPr>
              <p14:xfrm>
                <a:off x="11933715" y="4598265"/>
                <a:ext cx="409680" cy="78840"/>
              </p14:xfrm>
            </p:contentPart>
          </mc:Choice>
          <mc:Fallback xmlns="">
            <p:pic>
              <p:nvPicPr>
                <p:cNvPr id="107" name="Ink 106">
                  <a:extLst>
                    <a:ext uri="{FF2B5EF4-FFF2-40B4-BE49-F238E27FC236}">
                      <a16:creationId xmlns:a16="http://schemas.microsoft.com/office/drawing/2014/main" id="{914D552B-E3C8-410F-9BFB-885A01AD8F05}"/>
                    </a:ext>
                  </a:extLst>
                </p:cNvPr>
                <p:cNvPicPr/>
                <p:nvPr/>
              </p:nvPicPr>
              <p:blipFill>
                <a:blip r:embed="rId130"/>
                <a:stretch>
                  <a:fillRect/>
                </a:stretch>
              </p:blipFill>
              <p:spPr>
                <a:xfrm>
                  <a:off x="11915715" y="4580625"/>
                  <a:ext cx="445320" cy="114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1">
              <p14:nvContentPartPr>
                <p14:cNvPr id="108" name="Ink 107">
                  <a:extLst>
                    <a:ext uri="{FF2B5EF4-FFF2-40B4-BE49-F238E27FC236}">
                      <a16:creationId xmlns:a16="http://schemas.microsoft.com/office/drawing/2014/main" id="{DC809DAA-746B-4355-9997-0F70A395C282}"/>
                    </a:ext>
                  </a:extLst>
                </p14:cNvPr>
                <p14:cNvContentPartPr/>
                <p14:nvPr/>
              </p14:nvContentPartPr>
              <p14:xfrm>
                <a:off x="12463635" y="4524465"/>
                <a:ext cx="78120" cy="118080"/>
              </p14:xfrm>
            </p:contentPart>
          </mc:Choice>
          <mc:Fallback xmlns="">
            <p:pic>
              <p:nvPicPr>
                <p:cNvPr id="108" name="Ink 107">
                  <a:extLst>
                    <a:ext uri="{FF2B5EF4-FFF2-40B4-BE49-F238E27FC236}">
                      <a16:creationId xmlns:a16="http://schemas.microsoft.com/office/drawing/2014/main" id="{DC809DAA-746B-4355-9997-0F70A395C282}"/>
                    </a:ext>
                  </a:extLst>
                </p:cNvPr>
                <p:cNvPicPr/>
                <p:nvPr/>
              </p:nvPicPr>
              <p:blipFill>
                <a:blip r:embed="rId132"/>
                <a:stretch>
                  <a:fillRect/>
                </a:stretch>
              </p:blipFill>
              <p:spPr>
                <a:xfrm>
                  <a:off x="12445995" y="4506825"/>
                  <a:ext cx="113760" cy="15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3">
              <p14:nvContentPartPr>
                <p14:cNvPr id="109" name="Ink 108">
                  <a:extLst>
                    <a:ext uri="{FF2B5EF4-FFF2-40B4-BE49-F238E27FC236}">
                      <a16:creationId xmlns:a16="http://schemas.microsoft.com/office/drawing/2014/main" id="{870AB869-7C37-499F-B6F5-F5A5EC53DCB7}"/>
                    </a:ext>
                  </a:extLst>
                </p14:cNvPr>
                <p14:cNvContentPartPr/>
                <p14:nvPr/>
              </p14:nvContentPartPr>
              <p14:xfrm>
                <a:off x="12600435" y="4481625"/>
                <a:ext cx="175320" cy="208440"/>
              </p14:xfrm>
            </p:contentPart>
          </mc:Choice>
          <mc:Fallback xmlns="">
            <p:pic>
              <p:nvPicPr>
                <p:cNvPr id="109" name="Ink 108">
                  <a:extLst>
                    <a:ext uri="{FF2B5EF4-FFF2-40B4-BE49-F238E27FC236}">
                      <a16:creationId xmlns:a16="http://schemas.microsoft.com/office/drawing/2014/main" id="{870AB869-7C37-499F-B6F5-F5A5EC53DCB7}"/>
                    </a:ext>
                  </a:extLst>
                </p:cNvPr>
                <p:cNvPicPr/>
                <p:nvPr/>
              </p:nvPicPr>
              <p:blipFill>
                <a:blip r:embed="rId134"/>
                <a:stretch>
                  <a:fillRect/>
                </a:stretch>
              </p:blipFill>
              <p:spPr>
                <a:xfrm>
                  <a:off x="12582795" y="4463625"/>
                  <a:ext cx="210960" cy="24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5">
              <p14:nvContentPartPr>
                <p14:cNvPr id="110" name="Ink 109">
                  <a:extLst>
                    <a:ext uri="{FF2B5EF4-FFF2-40B4-BE49-F238E27FC236}">
                      <a16:creationId xmlns:a16="http://schemas.microsoft.com/office/drawing/2014/main" id="{6FA6C3B5-C4A5-4223-8A2B-9CA386B7D6D2}"/>
                    </a:ext>
                  </a:extLst>
                </p14:cNvPr>
                <p14:cNvContentPartPr/>
                <p14:nvPr/>
              </p14:nvContentPartPr>
              <p14:xfrm>
                <a:off x="12804555" y="4534545"/>
                <a:ext cx="105120" cy="102960"/>
              </p14:xfrm>
            </p:contentPart>
          </mc:Choice>
          <mc:Fallback xmlns="">
            <p:pic>
              <p:nvPicPr>
                <p:cNvPr id="110" name="Ink 109">
                  <a:extLst>
                    <a:ext uri="{FF2B5EF4-FFF2-40B4-BE49-F238E27FC236}">
                      <a16:creationId xmlns:a16="http://schemas.microsoft.com/office/drawing/2014/main" id="{6FA6C3B5-C4A5-4223-8A2B-9CA386B7D6D2}"/>
                    </a:ext>
                  </a:extLst>
                </p:cNvPr>
                <p:cNvPicPr/>
                <p:nvPr/>
              </p:nvPicPr>
              <p:blipFill>
                <a:blip r:embed="rId136"/>
                <a:stretch>
                  <a:fillRect/>
                </a:stretch>
              </p:blipFill>
              <p:spPr>
                <a:xfrm>
                  <a:off x="12786555" y="4516905"/>
                  <a:ext cx="140760" cy="13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7">
              <p14:nvContentPartPr>
                <p14:cNvPr id="111" name="Ink 110">
                  <a:extLst>
                    <a:ext uri="{FF2B5EF4-FFF2-40B4-BE49-F238E27FC236}">
                      <a16:creationId xmlns:a16="http://schemas.microsoft.com/office/drawing/2014/main" id="{3C5C8218-4353-4579-BED9-23299CA12F9A}"/>
                    </a:ext>
                  </a:extLst>
                </p14:cNvPr>
                <p14:cNvContentPartPr/>
                <p14:nvPr/>
              </p14:nvContentPartPr>
              <p14:xfrm>
                <a:off x="12931995" y="4506825"/>
                <a:ext cx="266040" cy="135360"/>
              </p14:xfrm>
            </p:contentPart>
          </mc:Choice>
          <mc:Fallback xmlns="">
            <p:pic>
              <p:nvPicPr>
                <p:cNvPr id="111" name="Ink 110">
                  <a:extLst>
                    <a:ext uri="{FF2B5EF4-FFF2-40B4-BE49-F238E27FC236}">
                      <a16:creationId xmlns:a16="http://schemas.microsoft.com/office/drawing/2014/main" id="{3C5C8218-4353-4579-BED9-23299CA12F9A}"/>
                    </a:ext>
                  </a:extLst>
                </p:cNvPr>
                <p:cNvPicPr/>
                <p:nvPr/>
              </p:nvPicPr>
              <p:blipFill>
                <a:blip r:embed="rId138"/>
                <a:stretch>
                  <a:fillRect/>
                </a:stretch>
              </p:blipFill>
              <p:spPr>
                <a:xfrm>
                  <a:off x="12913995" y="4489185"/>
                  <a:ext cx="301680" cy="171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D928FD5B-D1D5-4C2F-BCDA-2E7C652CDD52}"/>
              </a:ext>
            </a:extLst>
          </p:cNvPr>
          <p:cNvGrpSpPr/>
          <p:nvPr/>
        </p:nvGrpSpPr>
        <p:grpSpPr>
          <a:xfrm>
            <a:off x="9216075" y="1906185"/>
            <a:ext cx="2610720" cy="1684440"/>
            <a:chOff x="9216075" y="1906185"/>
            <a:chExt cx="2610720" cy="1684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39">
              <p14:nvContentPartPr>
                <p14:cNvPr id="66" name="Ink 65">
                  <a:extLst>
                    <a:ext uri="{FF2B5EF4-FFF2-40B4-BE49-F238E27FC236}">
                      <a16:creationId xmlns:a16="http://schemas.microsoft.com/office/drawing/2014/main" id="{3A8F168A-280C-405D-A991-EE47027F8987}"/>
                    </a:ext>
                  </a:extLst>
                </p14:cNvPr>
                <p14:cNvContentPartPr/>
                <p14:nvPr/>
              </p14:nvContentPartPr>
              <p14:xfrm>
                <a:off x="9216075" y="2845785"/>
                <a:ext cx="1809000" cy="96840"/>
              </p14:xfrm>
            </p:contentPart>
          </mc:Choice>
          <mc:Fallback xmlns="">
            <p:pic>
              <p:nvPicPr>
                <p:cNvPr id="66" name="Ink 65">
                  <a:extLst>
                    <a:ext uri="{FF2B5EF4-FFF2-40B4-BE49-F238E27FC236}">
                      <a16:creationId xmlns:a16="http://schemas.microsoft.com/office/drawing/2014/main" id="{3A8F168A-280C-405D-A991-EE47027F8987}"/>
                    </a:ext>
                  </a:extLst>
                </p:cNvPr>
                <p:cNvPicPr/>
                <p:nvPr/>
              </p:nvPicPr>
              <p:blipFill>
                <a:blip r:embed="rId140"/>
                <a:stretch>
                  <a:fillRect/>
                </a:stretch>
              </p:blipFill>
              <p:spPr>
                <a:xfrm>
                  <a:off x="9198075" y="2828145"/>
                  <a:ext cx="1844640" cy="13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1">
              <p14:nvContentPartPr>
                <p14:cNvPr id="67" name="Ink 66">
                  <a:extLst>
                    <a:ext uri="{FF2B5EF4-FFF2-40B4-BE49-F238E27FC236}">
                      <a16:creationId xmlns:a16="http://schemas.microsoft.com/office/drawing/2014/main" id="{4BEE4A06-B244-4247-9A5C-26455C652478}"/>
                    </a:ext>
                  </a:extLst>
                </p14:cNvPr>
                <p14:cNvContentPartPr/>
                <p14:nvPr/>
              </p14:nvContentPartPr>
              <p14:xfrm>
                <a:off x="9897915" y="3021825"/>
                <a:ext cx="8280" cy="179640"/>
              </p14:xfrm>
            </p:contentPart>
          </mc:Choice>
          <mc:Fallback xmlns="">
            <p:pic>
              <p:nvPicPr>
                <p:cNvPr id="67" name="Ink 66">
                  <a:extLst>
                    <a:ext uri="{FF2B5EF4-FFF2-40B4-BE49-F238E27FC236}">
                      <a16:creationId xmlns:a16="http://schemas.microsoft.com/office/drawing/2014/main" id="{4BEE4A06-B244-4247-9A5C-26455C652478}"/>
                    </a:ext>
                  </a:extLst>
                </p:cNvPr>
                <p:cNvPicPr/>
                <p:nvPr/>
              </p:nvPicPr>
              <p:blipFill>
                <a:blip r:embed="rId142"/>
                <a:stretch>
                  <a:fillRect/>
                </a:stretch>
              </p:blipFill>
              <p:spPr>
                <a:xfrm>
                  <a:off x="9879915" y="3004185"/>
                  <a:ext cx="43920" cy="21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3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269FA8F2-D5B3-4EBB-94DF-F93680410AD0}"/>
                    </a:ext>
                  </a:extLst>
                </p14:cNvPr>
                <p14:cNvContentPartPr/>
                <p14:nvPr/>
              </p14:nvContentPartPr>
              <p14:xfrm>
                <a:off x="9808275" y="3136305"/>
                <a:ext cx="195120" cy="103680"/>
              </p14:xfrm>
            </p:contentPart>
          </mc:Choice>
          <mc:Fallback xmlns=""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269FA8F2-D5B3-4EBB-94DF-F93680410AD0}"/>
                    </a:ext>
                  </a:extLst>
                </p:cNvPr>
                <p:cNvPicPr/>
                <p:nvPr/>
              </p:nvPicPr>
              <p:blipFill>
                <a:blip r:embed="rId144"/>
                <a:stretch>
                  <a:fillRect/>
                </a:stretch>
              </p:blipFill>
              <p:spPr>
                <a:xfrm>
                  <a:off x="9790275" y="3118305"/>
                  <a:ext cx="230760" cy="13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5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88CE3704-39E1-4B30-BDF1-0C746270ECD5}"/>
                    </a:ext>
                  </a:extLst>
                </p14:cNvPr>
                <p14:cNvContentPartPr/>
                <p14:nvPr/>
              </p14:nvContentPartPr>
              <p14:xfrm>
                <a:off x="9567075" y="3341865"/>
                <a:ext cx="30960" cy="19908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88CE3704-39E1-4B30-BDF1-0C746270ECD5}"/>
                    </a:ext>
                  </a:extLst>
                </p:cNvPr>
                <p:cNvPicPr/>
                <p:nvPr/>
              </p:nvPicPr>
              <p:blipFill>
                <a:blip r:embed="rId146"/>
                <a:stretch>
                  <a:fillRect/>
                </a:stretch>
              </p:blipFill>
              <p:spPr>
                <a:xfrm>
                  <a:off x="9549435" y="3323865"/>
                  <a:ext cx="66600" cy="23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7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8920E68E-64D5-43CF-9C5F-AF1FF0A8979D}"/>
                    </a:ext>
                  </a:extLst>
                </p14:cNvPr>
                <p14:cNvContentPartPr/>
                <p14:nvPr/>
              </p14:nvContentPartPr>
              <p14:xfrm>
                <a:off x="9367995" y="3327465"/>
                <a:ext cx="474120" cy="213840"/>
              </p14:xfrm>
            </p:contentPart>
          </mc:Choice>
          <mc:Fallback xmlns=""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8920E68E-64D5-43CF-9C5F-AF1FF0A8979D}"/>
                    </a:ext>
                  </a:extLst>
                </p:cNvPr>
                <p:cNvPicPr/>
                <p:nvPr/>
              </p:nvPicPr>
              <p:blipFill>
                <a:blip r:embed="rId148"/>
                <a:stretch>
                  <a:fillRect/>
                </a:stretch>
              </p:blipFill>
              <p:spPr>
                <a:xfrm>
                  <a:off x="9349995" y="3309465"/>
                  <a:ext cx="509760" cy="24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9">
              <p14:nvContentPartPr>
                <p14:cNvPr id="71" name="Ink 70">
                  <a:extLst>
                    <a:ext uri="{FF2B5EF4-FFF2-40B4-BE49-F238E27FC236}">
                      <a16:creationId xmlns:a16="http://schemas.microsoft.com/office/drawing/2014/main" id="{A941736F-0903-4516-A37F-2A001F77C3BC}"/>
                    </a:ext>
                  </a:extLst>
                </p14:cNvPr>
                <p14:cNvContentPartPr/>
                <p14:nvPr/>
              </p14:nvContentPartPr>
              <p14:xfrm>
                <a:off x="9851115" y="3407025"/>
                <a:ext cx="34200" cy="122040"/>
              </p14:xfrm>
            </p:contentPart>
          </mc:Choice>
          <mc:Fallback xmlns="">
            <p:pic>
              <p:nvPicPr>
                <p:cNvPr id="71" name="Ink 70">
                  <a:extLst>
                    <a:ext uri="{FF2B5EF4-FFF2-40B4-BE49-F238E27FC236}">
                      <a16:creationId xmlns:a16="http://schemas.microsoft.com/office/drawing/2014/main" id="{A941736F-0903-4516-A37F-2A001F77C3BC}"/>
                    </a:ext>
                  </a:extLst>
                </p:cNvPr>
                <p:cNvPicPr/>
                <p:nvPr/>
              </p:nvPicPr>
              <p:blipFill>
                <a:blip r:embed="rId150"/>
                <a:stretch>
                  <a:fillRect/>
                </a:stretch>
              </p:blipFill>
              <p:spPr>
                <a:xfrm>
                  <a:off x="9833115" y="3389025"/>
                  <a:ext cx="69840" cy="15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1">
              <p14:nvContentPartPr>
                <p14:cNvPr id="72" name="Ink 71">
                  <a:extLst>
                    <a:ext uri="{FF2B5EF4-FFF2-40B4-BE49-F238E27FC236}">
                      <a16:creationId xmlns:a16="http://schemas.microsoft.com/office/drawing/2014/main" id="{E349875A-0275-4532-A8AC-7D218DB7FCA2}"/>
                    </a:ext>
                  </a:extLst>
                </p14:cNvPr>
                <p14:cNvContentPartPr/>
                <p14:nvPr/>
              </p14:nvContentPartPr>
              <p14:xfrm>
                <a:off x="9966315" y="3416745"/>
                <a:ext cx="73800" cy="122400"/>
              </p14:xfrm>
            </p:contentPart>
          </mc:Choice>
          <mc:Fallback xmlns="">
            <p:pic>
              <p:nvPicPr>
                <p:cNvPr id="72" name="Ink 71">
                  <a:extLst>
                    <a:ext uri="{FF2B5EF4-FFF2-40B4-BE49-F238E27FC236}">
                      <a16:creationId xmlns:a16="http://schemas.microsoft.com/office/drawing/2014/main" id="{E349875A-0275-4532-A8AC-7D218DB7FCA2}"/>
                    </a:ext>
                  </a:extLst>
                </p:cNvPr>
                <p:cNvPicPr/>
                <p:nvPr/>
              </p:nvPicPr>
              <p:blipFill>
                <a:blip r:embed="rId152"/>
                <a:stretch>
                  <a:fillRect/>
                </a:stretch>
              </p:blipFill>
              <p:spPr>
                <a:xfrm>
                  <a:off x="9948315" y="3398745"/>
                  <a:ext cx="109440" cy="15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3">
              <p14:nvContentPartPr>
                <p14:cNvPr id="73" name="Ink 72">
                  <a:extLst>
                    <a:ext uri="{FF2B5EF4-FFF2-40B4-BE49-F238E27FC236}">
                      <a16:creationId xmlns:a16="http://schemas.microsoft.com/office/drawing/2014/main" id="{5110B297-526A-4BA1-ACC6-BA6456B1A0D6}"/>
                    </a:ext>
                  </a:extLst>
                </p14:cNvPr>
                <p14:cNvContentPartPr/>
                <p14:nvPr/>
              </p14:nvContentPartPr>
              <p14:xfrm>
                <a:off x="9949035" y="3474345"/>
                <a:ext cx="29160" cy="40680"/>
              </p14:xfrm>
            </p:contentPart>
          </mc:Choice>
          <mc:Fallback xmlns="">
            <p:pic>
              <p:nvPicPr>
                <p:cNvPr id="73" name="Ink 72">
                  <a:extLst>
                    <a:ext uri="{FF2B5EF4-FFF2-40B4-BE49-F238E27FC236}">
                      <a16:creationId xmlns:a16="http://schemas.microsoft.com/office/drawing/2014/main" id="{5110B297-526A-4BA1-ACC6-BA6456B1A0D6}"/>
                    </a:ext>
                  </a:extLst>
                </p:cNvPr>
                <p:cNvPicPr/>
                <p:nvPr/>
              </p:nvPicPr>
              <p:blipFill>
                <a:blip r:embed="rId154"/>
                <a:stretch>
                  <a:fillRect/>
                </a:stretch>
              </p:blipFill>
              <p:spPr>
                <a:xfrm>
                  <a:off x="9931035" y="3456705"/>
                  <a:ext cx="64800" cy="7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5">
              <p14:nvContentPartPr>
                <p14:cNvPr id="74" name="Ink 73">
                  <a:extLst>
                    <a:ext uri="{FF2B5EF4-FFF2-40B4-BE49-F238E27FC236}">
                      <a16:creationId xmlns:a16="http://schemas.microsoft.com/office/drawing/2014/main" id="{743CDA07-24D9-4E99-9FC9-844F8E7749FF}"/>
                    </a:ext>
                  </a:extLst>
                </p14:cNvPr>
                <p14:cNvContentPartPr/>
                <p14:nvPr/>
              </p14:nvContentPartPr>
              <p14:xfrm>
                <a:off x="10201035" y="3392985"/>
                <a:ext cx="30240" cy="193320"/>
              </p14:xfrm>
            </p:contentPart>
          </mc:Choice>
          <mc:Fallback xmlns="">
            <p:pic>
              <p:nvPicPr>
                <p:cNvPr id="74" name="Ink 73">
                  <a:extLst>
                    <a:ext uri="{FF2B5EF4-FFF2-40B4-BE49-F238E27FC236}">
                      <a16:creationId xmlns:a16="http://schemas.microsoft.com/office/drawing/2014/main" id="{743CDA07-24D9-4E99-9FC9-844F8E7749FF}"/>
                    </a:ext>
                  </a:extLst>
                </p:cNvPr>
                <p:cNvPicPr/>
                <p:nvPr/>
              </p:nvPicPr>
              <p:blipFill>
                <a:blip r:embed="rId156"/>
                <a:stretch>
                  <a:fillRect/>
                </a:stretch>
              </p:blipFill>
              <p:spPr>
                <a:xfrm>
                  <a:off x="10183395" y="3374985"/>
                  <a:ext cx="65880" cy="22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7">
              <p14:nvContentPartPr>
                <p14:cNvPr id="75" name="Ink 74">
                  <a:extLst>
                    <a:ext uri="{FF2B5EF4-FFF2-40B4-BE49-F238E27FC236}">
                      <a16:creationId xmlns:a16="http://schemas.microsoft.com/office/drawing/2014/main" id="{BAF5F7FD-81C4-4E87-ADAE-E603468683C9}"/>
                    </a:ext>
                  </a:extLst>
                </p14:cNvPr>
                <p14:cNvContentPartPr/>
                <p14:nvPr/>
              </p14:nvContentPartPr>
              <p14:xfrm>
                <a:off x="10296795" y="3471825"/>
                <a:ext cx="101520" cy="88200"/>
              </p14:xfrm>
            </p:contentPart>
          </mc:Choice>
          <mc:Fallback xmlns="">
            <p:pic>
              <p:nvPicPr>
                <p:cNvPr id="75" name="Ink 74">
                  <a:extLst>
                    <a:ext uri="{FF2B5EF4-FFF2-40B4-BE49-F238E27FC236}">
                      <a16:creationId xmlns:a16="http://schemas.microsoft.com/office/drawing/2014/main" id="{BAF5F7FD-81C4-4E87-ADAE-E603468683C9}"/>
                    </a:ext>
                  </a:extLst>
                </p:cNvPr>
                <p:cNvPicPr/>
                <p:nvPr/>
              </p:nvPicPr>
              <p:blipFill>
                <a:blip r:embed="rId158"/>
                <a:stretch>
                  <a:fillRect/>
                </a:stretch>
              </p:blipFill>
              <p:spPr>
                <a:xfrm>
                  <a:off x="10278795" y="3453825"/>
                  <a:ext cx="137160" cy="12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9">
              <p14:nvContentPartPr>
                <p14:cNvPr id="76" name="Ink 75">
                  <a:extLst>
                    <a:ext uri="{FF2B5EF4-FFF2-40B4-BE49-F238E27FC236}">
                      <a16:creationId xmlns:a16="http://schemas.microsoft.com/office/drawing/2014/main" id="{4B6AD909-B865-4DA8-B0A4-BF465899C07A}"/>
                    </a:ext>
                  </a:extLst>
                </p14:cNvPr>
                <p14:cNvContentPartPr/>
                <p14:nvPr/>
              </p14:nvContentPartPr>
              <p14:xfrm>
                <a:off x="10438275" y="3447705"/>
                <a:ext cx="83520" cy="115920"/>
              </p14:xfrm>
            </p:contentPart>
          </mc:Choice>
          <mc:Fallback xmlns="">
            <p:pic>
              <p:nvPicPr>
                <p:cNvPr id="76" name="Ink 75">
                  <a:extLst>
                    <a:ext uri="{FF2B5EF4-FFF2-40B4-BE49-F238E27FC236}">
                      <a16:creationId xmlns:a16="http://schemas.microsoft.com/office/drawing/2014/main" id="{4B6AD909-B865-4DA8-B0A4-BF465899C07A}"/>
                    </a:ext>
                  </a:extLst>
                </p:cNvPr>
                <p:cNvPicPr/>
                <p:nvPr/>
              </p:nvPicPr>
              <p:blipFill>
                <a:blip r:embed="rId160"/>
                <a:stretch>
                  <a:fillRect/>
                </a:stretch>
              </p:blipFill>
              <p:spPr>
                <a:xfrm>
                  <a:off x="10420275" y="3429705"/>
                  <a:ext cx="119160" cy="15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1">
              <p14:nvContentPartPr>
                <p14:cNvPr id="77" name="Ink 76">
                  <a:extLst>
                    <a:ext uri="{FF2B5EF4-FFF2-40B4-BE49-F238E27FC236}">
                      <a16:creationId xmlns:a16="http://schemas.microsoft.com/office/drawing/2014/main" id="{6FFAEB9F-775B-4299-B946-8A6974F7E166}"/>
                    </a:ext>
                  </a:extLst>
                </p14:cNvPr>
                <p14:cNvContentPartPr/>
                <p14:nvPr/>
              </p14:nvContentPartPr>
              <p14:xfrm>
                <a:off x="10526835" y="3466425"/>
                <a:ext cx="107280" cy="124200"/>
              </p14:xfrm>
            </p:contentPart>
          </mc:Choice>
          <mc:Fallback xmlns="">
            <p:pic>
              <p:nvPicPr>
                <p:cNvPr id="77" name="Ink 76">
                  <a:extLst>
                    <a:ext uri="{FF2B5EF4-FFF2-40B4-BE49-F238E27FC236}">
                      <a16:creationId xmlns:a16="http://schemas.microsoft.com/office/drawing/2014/main" id="{6FFAEB9F-775B-4299-B946-8A6974F7E166}"/>
                    </a:ext>
                  </a:extLst>
                </p:cNvPr>
                <p:cNvPicPr/>
                <p:nvPr/>
              </p:nvPicPr>
              <p:blipFill>
                <a:blip r:embed="rId162"/>
                <a:stretch>
                  <a:fillRect/>
                </a:stretch>
              </p:blipFill>
              <p:spPr>
                <a:xfrm>
                  <a:off x="10508835" y="3448785"/>
                  <a:ext cx="142920" cy="15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3">
              <p14:nvContentPartPr>
                <p14:cNvPr id="78" name="Ink 77">
                  <a:extLst>
                    <a:ext uri="{FF2B5EF4-FFF2-40B4-BE49-F238E27FC236}">
                      <a16:creationId xmlns:a16="http://schemas.microsoft.com/office/drawing/2014/main" id="{4B0856EB-1A74-4A68-A769-A7F526B772A2}"/>
                    </a:ext>
                  </a:extLst>
                </p14:cNvPr>
                <p14:cNvContentPartPr/>
                <p14:nvPr/>
              </p14:nvContentPartPr>
              <p14:xfrm>
                <a:off x="10789995" y="3467145"/>
                <a:ext cx="15120" cy="99000"/>
              </p14:xfrm>
            </p:contentPart>
          </mc:Choice>
          <mc:Fallback xmlns="">
            <p:pic>
              <p:nvPicPr>
                <p:cNvPr id="78" name="Ink 77">
                  <a:extLst>
                    <a:ext uri="{FF2B5EF4-FFF2-40B4-BE49-F238E27FC236}">
                      <a16:creationId xmlns:a16="http://schemas.microsoft.com/office/drawing/2014/main" id="{4B0856EB-1A74-4A68-A769-A7F526B772A2}"/>
                    </a:ext>
                  </a:extLst>
                </p:cNvPr>
                <p:cNvPicPr/>
                <p:nvPr/>
              </p:nvPicPr>
              <p:blipFill>
                <a:blip r:embed="rId164"/>
                <a:stretch>
                  <a:fillRect/>
                </a:stretch>
              </p:blipFill>
              <p:spPr>
                <a:xfrm>
                  <a:off x="10771995" y="3449145"/>
                  <a:ext cx="50760" cy="13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5">
              <p14:nvContentPartPr>
                <p14:cNvPr id="79" name="Ink 78">
                  <a:extLst>
                    <a:ext uri="{FF2B5EF4-FFF2-40B4-BE49-F238E27FC236}">
                      <a16:creationId xmlns:a16="http://schemas.microsoft.com/office/drawing/2014/main" id="{BD2995D6-E780-4271-8091-9C48C0A5D3FA}"/>
                    </a:ext>
                  </a:extLst>
                </p14:cNvPr>
                <p14:cNvContentPartPr/>
                <p14:nvPr/>
              </p14:nvContentPartPr>
              <p14:xfrm>
                <a:off x="10779915" y="3368145"/>
                <a:ext cx="7560" cy="25560"/>
              </p14:xfrm>
            </p:contentPart>
          </mc:Choice>
          <mc:Fallback xmlns="">
            <p:pic>
              <p:nvPicPr>
                <p:cNvPr id="79" name="Ink 78">
                  <a:extLst>
                    <a:ext uri="{FF2B5EF4-FFF2-40B4-BE49-F238E27FC236}">
                      <a16:creationId xmlns:a16="http://schemas.microsoft.com/office/drawing/2014/main" id="{BD2995D6-E780-4271-8091-9C48C0A5D3FA}"/>
                    </a:ext>
                  </a:extLst>
                </p:cNvPr>
                <p:cNvPicPr/>
                <p:nvPr/>
              </p:nvPicPr>
              <p:blipFill>
                <a:blip r:embed="rId166"/>
                <a:stretch>
                  <a:fillRect/>
                </a:stretch>
              </p:blipFill>
              <p:spPr>
                <a:xfrm>
                  <a:off x="10761915" y="3350145"/>
                  <a:ext cx="43200" cy="6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7">
              <p14:nvContentPartPr>
                <p14:cNvPr id="80" name="Ink 79">
                  <a:extLst>
                    <a:ext uri="{FF2B5EF4-FFF2-40B4-BE49-F238E27FC236}">
                      <a16:creationId xmlns:a16="http://schemas.microsoft.com/office/drawing/2014/main" id="{EAD72C2B-2695-4BB3-BE02-FB5619CDB88B}"/>
                    </a:ext>
                  </a:extLst>
                </p14:cNvPr>
                <p14:cNvContentPartPr/>
                <p14:nvPr/>
              </p14:nvContentPartPr>
              <p14:xfrm>
                <a:off x="10901595" y="3398025"/>
                <a:ext cx="91440" cy="150480"/>
              </p14:xfrm>
            </p:contentPart>
          </mc:Choice>
          <mc:Fallback xmlns="">
            <p:pic>
              <p:nvPicPr>
                <p:cNvPr id="80" name="Ink 79">
                  <a:extLst>
                    <a:ext uri="{FF2B5EF4-FFF2-40B4-BE49-F238E27FC236}">
                      <a16:creationId xmlns:a16="http://schemas.microsoft.com/office/drawing/2014/main" id="{EAD72C2B-2695-4BB3-BE02-FB5619CDB88B}"/>
                    </a:ext>
                  </a:extLst>
                </p:cNvPr>
                <p:cNvPicPr/>
                <p:nvPr/>
              </p:nvPicPr>
              <p:blipFill>
                <a:blip r:embed="rId168"/>
                <a:stretch>
                  <a:fillRect/>
                </a:stretch>
              </p:blipFill>
              <p:spPr>
                <a:xfrm>
                  <a:off x="10883595" y="3380385"/>
                  <a:ext cx="127080" cy="18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9">
              <p14:nvContentPartPr>
                <p14:cNvPr id="85" name="Ink 84">
                  <a:extLst>
                    <a:ext uri="{FF2B5EF4-FFF2-40B4-BE49-F238E27FC236}">
                      <a16:creationId xmlns:a16="http://schemas.microsoft.com/office/drawing/2014/main" id="{CF31EFC7-EF10-48A0-BEA9-3D0D481A1B39}"/>
                    </a:ext>
                  </a:extLst>
                </p14:cNvPr>
                <p14:cNvContentPartPr/>
                <p14:nvPr/>
              </p14:nvContentPartPr>
              <p14:xfrm>
                <a:off x="11299035" y="3352665"/>
                <a:ext cx="62280" cy="225720"/>
              </p14:xfrm>
            </p:contentPart>
          </mc:Choice>
          <mc:Fallback xmlns="">
            <p:pic>
              <p:nvPicPr>
                <p:cNvPr id="85" name="Ink 84">
                  <a:extLst>
                    <a:ext uri="{FF2B5EF4-FFF2-40B4-BE49-F238E27FC236}">
                      <a16:creationId xmlns:a16="http://schemas.microsoft.com/office/drawing/2014/main" id="{CF31EFC7-EF10-48A0-BEA9-3D0D481A1B39}"/>
                    </a:ext>
                  </a:extLst>
                </p:cNvPr>
                <p:cNvPicPr/>
                <p:nvPr/>
              </p:nvPicPr>
              <p:blipFill>
                <a:blip r:embed="rId170"/>
                <a:stretch>
                  <a:fillRect/>
                </a:stretch>
              </p:blipFill>
              <p:spPr>
                <a:xfrm>
                  <a:off x="11281035" y="3334665"/>
                  <a:ext cx="97920" cy="26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1">
              <p14:nvContentPartPr>
                <p14:cNvPr id="86" name="Ink 85">
                  <a:extLst>
                    <a:ext uri="{FF2B5EF4-FFF2-40B4-BE49-F238E27FC236}">
                      <a16:creationId xmlns:a16="http://schemas.microsoft.com/office/drawing/2014/main" id="{B0027E76-1B3D-4C5C-B2E0-D52D00017EF1}"/>
                    </a:ext>
                  </a:extLst>
                </p14:cNvPr>
                <p14:cNvContentPartPr/>
                <p14:nvPr/>
              </p14:nvContentPartPr>
              <p14:xfrm>
                <a:off x="11240355" y="3453825"/>
                <a:ext cx="239760" cy="88200"/>
              </p14:xfrm>
            </p:contentPart>
          </mc:Choice>
          <mc:Fallback xmlns="">
            <p:pic>
              <p:nvPicPr>
                <p:cNvPr id="86" name="Ink 85">
                  <a:extLst>
                    <a:ext uri="{FF2B5EF4-FFF2-40B4-BE49-F238E27FC236}">
                      <a16:creationId xmlns:a16="http://schemas.microsoft.com/office/drawing/2014/main" id="{B0027E76-1B3D-4C5C-B2E0-D52D00017EF1}"/>
                    </a:ext>
                  </a:extLst>
                </p:cNvPr>
                <p:cNvPicPr/>
                <p:nvPr/>
              </p:nvPicPr>
              <p:blipFill>
                <a:blip r:embed="rId172"/>
                <a:stretch>
                  <a:fillRect/>
                </a:stretch>
              </p:blipFill>
              <p:spPr>
                <a:xfrm>
                  <a:off x="11222355" y="3436185"/>
                  <a:ext cx="275400" cy="12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3">
              <p14:nvContentPartPr>
                <p14:cNvPr id="87" name="Ink 86">
                  <a:extLst>
                    <a:ext uri="{FF2B5EF4-FFF2-40B4-BE49-F238E27FC236}">
                      <a16:creationId xmlns:a16="http://schemas.microsoft.com/office/drawing/2014/main" id="{93EE5F2E-F14E-4E66-B210-F8FEC745B797}"/>
                    </a:ext>
                  </a:extLst>
                </p14:cNvPr>
                <p14:cNvContentPartPr/>
                <p14:nvPr/>
              </p14:nvContentPartPr>
              <p14:xfrm>
                <a:off x="11620515" y="3404505"/>
                <a:ext cx="206280" cy="163800"/>
              </p14:xfrm>
            </p:contentPart>
          </mc:Choice>
          <mc:Fallback xmlns="">
            <p:pic>
              <p:nvPicPr>
                <p:cNvPr id="87" name="Ink 86">
                  <a:extLst>
                    <a:ext uri="{FF2B5EF4-FFF2-40B4-BE49-F238E27FC236}">
                      <a16:creationId xmlns:a16="http://schemas.microsoft.com/office/drawing/2014/main" id="{93EE5F2E-F14E-4E66-B210-F8FEC745B797}"/>
                    </a:ext>
                  </a:extLst>
                </p:cNvPr>
                <p:cNvPicPr/>
                <p:nvPr/>
              </p:nvPicPr>
              <p:blipFill>
                <a:blip r:embed="rId174"/>
                <a:stretch>
                  <a:fillRect/>
                </a:stretch>
              </p:blipFill>
              <p:spPr>
                <a:xfrm>
                  <a:off x="11602875" y="3386505"/>
                  <a:ext cx="241920" cy="199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5">
              <p14:nvContentPartPr>
                <p14:cNvPr id="114" name="Ink 113">
                  <a:extLst>
                    <a:ext uri="{FF2B5EF4-FFF2-40B4-BE49-F238E27FC236}">
                      <a16:creationId xmlns:a16="http://schemas.microsoft.com/office/drawing/2014/main" id="{19D9C52F-233A-4709-83C0-CA1C103FEF7A}"/>
                    </a:ext>
                  </a:extLst>
                </p14:cNvPr>
                <p14:cNvContentPartPr/>
                <p14:nvPr/>
              </p14:nvContentPartPr>
              <p14:xfrm>
                <a:off x="9430995" y="2438265"/>
                <a:ext cx="52200" cy="364680"/>
              </p14:xfrm>
            </p:contentPart>
          </mc:Choice>
          <mc:Fallback xmlns="">
            <p:pic>
              <p:nvPicPr>
                <p:cNvPr id="114" name="Ink 113">
                  <a:extLst>
                    <a:ext uri="{FF2B5EF4-FFF2-40B4-BE49-F238E27FC236}">
                      <a16:creationId xmlns:a16="http://schemas.microsoft.com/office/drawing/2014/main" id="{19D9C52F-233A-4709-83C0-CA1C103FEF7A}"/>
                    </a:ext>
                  </a:extLst>
                </p:cNvPr>
                <p:cNvPicPr/>
                <p:nvPr/>
              </p:nvPicPr>
              <p:blipFill>
                <a:blip r:embed="rId176"/>
                <a:stretch>
                  <a:fillRect/>
                </a:stretch>
              </p:blipFill>
              <p:spPr>
                <a:xfrm>
                  <a:off x="9413355" y="2420625"/>
                  <a:ext cx="87840" cy="40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7">
              <p14:nvContentPartPr>
                <p14:cNvPr id="115" name="Ink 114">
                  <a:extLst>
                    <a:ext uri="{FF2B5EF4-FFF2-40B4-BE49-F238E27FC236}">
                      <a16:creationId xmlns:a16="http://schemas.microsoft.com/office/drawing/2014/main" id="{2D31B38C-E2A4-4B94-B79B-5739CF97627F}"/>
                    </a:ext>
                  </a:extLst>
                </p14:cNvPr>
                <p14:cNvContentPartPr/>
                <p14:nvPr/>
              </p14:nvContentPartPr>
              <p14:xfrm>
                <a:off x="9369435" y="2375265"/>
                <a:ext cx="504360" cy="565200"/>
              </p14:xfrm>
            </p:contentPart>
          </mc:Choice>
          <mc:Fallback xmlns="">
            <p:pic>
              <p:nvPicPr>
                <p:cNvPr id="115" name="Ink 114">
                  <a:extLst>
                    <a:ext uri="{FF2B5EF4-FFF2-40B4-BE49-F238E27FC236}">
                      <a16:creationId xmlns:a16="http://schemas.microsoft.com/office/drawing/2014/main" id="{2D31B38C-E2A4-4B94-B79B-5739CF97627F}"/>
                    </a:ext>
                  </a:extLst>
                </p:cNvPr>
                <p:cNvPicPr/>
                <p:nvPr/>
              </p:nvPicPr>
              <p:blipFill>
                <a:blip r:embed="rId178"/>
                <a:stretch>
                  <a:fillRect/>
                </a:stretch>
              </p:blipFill>
              <p:spPr>
                <a:xfrm>
                  <a:off x="9351435" y="2357625"/>
                  <a:ext cx="540000" cy="60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9">
              <p14:nvContentPartPr>
                <p14:cNvPr id="116" name="Ink 115">
                  <a:extLst>
                    <a:ext uri="{FF2B5EF4-FFF2-40B4-BE49-F238E27FC236}">
                      <a16:creationId xmlns:a16="http://schemas.microsoft.com/office/drawing/2014/main" id="{2A7A92E4-8E0C-4E59-8065-916170D08B61}"/>
                    </a:ext>
                  </a:extLst>
                </p14:cNvPr>
                <p14:cNvContentPartPr/>
                <p14:nvPr/>
              </p14:nvContentPartPr>
              <p14:xfrm>
                <a:off x="9864795" y="2148465"/>
                <a:ext cx="818280" cy="284400"/>
              </p14:xfrm>
            </p:contentPart>
          </mc:Choice>
          <mc:Fallback xmlns="">
            <p:pic>
              <p:nvPicPr>
                <p:cNvPr id="116" name="Ink 115">
                  <a:extLst>
                    <a:ext uri="{FF2B5EF4-FFF2-40B4-BE49-F238E27FC236}">
                      <a16:creationId xmlns:a16="http://schemas.microsoft.com/office/drawing/2014/main" id="{2A7A92E4-8E0C-4E59-8065-916170D08B61}"/>
                    </a:ext>
                  </a:extLst>
                </p:cNvPr>
                <p:cNvPicPr/>
                <p:nvPr/>
              </p:nvPicPr>
              <p:blipFill>
                <a:blip r:embed="rId180"/>
                <a:stretch>
                  <a:fillRect/>
                </a:stretch>
              </p:blipFill>
              <p:spPr>
                <a:xfrm>
                  <a:off x="9846795" y="2130465"/>
                  <a:ext cx="853920" cy="32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1">
              <p14:nvContentPartPr>
                <p14:cNvPr id="119" name="Ink 118">
                  <a:extLst>
                    <a:ext uri="{FF2B5EF4-FFF2-40B4-BE49-F238E27FC236}">
                      <a16:creationId xmlns:a16="http://schemas.microsoft.com/office/drawing/2014/main" id="{D9CF69FB-B466-463F-B5EA-3B8BAA7200B5}"/>
                    </a:ext>
                  </a:extLst>
                </p14:cNvPr>
                <p14:cNvContentPartPr/>
                <p14:nvPr/>
              </p14:nvContentPartPr>
              <p14:xfrm>
                <a:off x="10873515" y="2037225"/>
                <a:ext cx="65160" cy="152280"/>
              </p14:xfrm>
            </p:contentPart>
          </mc:Choice>
          <mc:Fallback xmlns="">
            <p:pic>
              <p:nvPicPr>
                <p:cNvPr id="119" name="Ink 118">
                  <a:extLst>
                    <a:ext uri="{FF2B5EF4-FFF2-40B4-BE49-F238E27FC236}">
                      <a16:creationId xmlns:a16="http://schemas.microsoft.com/office/drawing/2014/main" id="{D9CF69FB-B466-463F-B5EA-3B8BAA7200B5}"/>
                    </a:ext>
                  </a:extLst>
                </p:cNvPr>
                <p:cNvPicPr/>
                <p:nvPr/>
              </p:nvPicPr>
              <p:blipFill>
                <a:blip r:embed="rId182"/>
                <a:stretch>
                  <a:fillRect/>
                </a:stretch>
              </p:blipFill>
              <p:spPr>
                <a:xfrm>
                  <a:off x="10855515" y="2019225"/>
                  <a:ext cx="100800" cy="18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3">
              <p14:nvContentPartPr>
                <p14:cNvPr id="120" name="Ink 119">
                  <a:extLst>
                    <a:ext uri="{FF2B5EF4-FFF2-40B4-BE49-F238E27FC236}">
                      <a16:creationId xmlns:a16="http://schemas.microsoft.com/office/drawing/2014/main" id="{F7068AA8-8A45-45A9-A7EB-87E3A15B90C2}"/>
                    </a:ext>
                  </a:extLst>
                </p14:cNvPr>
                <p14:cNvContentPartPr/>
                <p14:nvPr/>
              </p14:nvContentPartPr>
              <p14:xfrm>
                <a:off x="10975755" y="1906185"/>
                <a:ext cx="538200" cy="253800"/>
              </p14:xfrm>
            </p:contentPart>
          </mc:Choice>
          <mc:Fallback xmlns="">
            <p:pic>
              <p:nvPicPr>
                <p:cNvPr id="120" name="Ink 119">
                  <a:extLst>
                    <a:ext uri="{FF2B5EF4-FFF2-40B4-BE49-F238E27FC236}">
                      <a16:creationId xmlns:a16="http://schemas.microsoft.com/office/drawing/2014/main" id="{F7068AA8-8A45-45A9-A7EB-87E3A15B90C2}"/>
                    </a:ext>
                  </a:extLst>
                </p:cNvPr>
                <p:cNvPicPr/>
                <p:nvPr/>
              </p:nvPicPr>
              <p:blipFill>
                <a:blip r:embed="rId184"/>
                <a:stretch>
                  <a:fillRect/>
                </a:stretch>
              </p:blipFill>
              <p:spPr>
                <a:xfrm>
                  <a:off x="10957755" y="1888545"/>
                  <a:ext cx="573840" cy="289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5">
              <p14:nvContentPartPr>
                <p14:cNvPr id="121" name="Ink 120">
                  <a:extLst>
                    <a:ext uri="{FF2B5EF4-FFF2-40B4-BE49-F238E27FC236}">
                      <a16:creationId xmlns:a16="http://schemas.microsoft.com/office/drawing/2014/main" id="{BDDEA3BF-A04A-482B-9A8C-C5397165A300}"/>
                    </a:ext>
                  </a:extLst>
                </p14:cNvPr>
                <p14:cNvContentPartPr/>
                <p14:nvPr/>
              </p14:nvContentPartPr>
              <p14:xfrm>
                <a:off x="10950915" y="2094465"/>
                <a:ext cx="144720" cy="91440"/>
              </p14:xfrm>
            </p:contentPart>
          </mc:Choice>
          <mc:Fallback xmlns="">
            <p:pic>
              <p:nvPicPr>
                <p:cNvPr id="121" name="Ink 120">
                  <a:extLst>
                    <a:ext uri="{FF2B5EF4-FFF2-40B4-BE49-F238E27FC236}">
                      <a16:creationId xmlns:a16="http://schemas.microsoft.com/office/drawing/2014/main" id="{BDDEA3BF-A04A-482B-9A8C-C5397165A300}"/>
                    </a:ext>
                  </a:extLst>
                </p:cNvPr>
                <p:cNvPicPr/>
                <p:nvPr/>
              </p:nvPicPr>
              <p:blipFill>
                <a:blip r:embed="rId186"/>
                <a:stretch>
                  <a:fillRect/>
                </a:stretch>
              </p:blipFill>
              <p:spPr>
                <a:xfrm>
                  <a:off x="10932915" y="2076465"/>
                  <a:ext cx="180360" cy="127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6ED530D9-D982-4F89-BD4D-FBC42A5A44D0}"/>
              </a:ext>
            </a:extLst>
          </p:cNvPr>
          <p:cNvGrpSpPr/>
          <p:nvPr/>
        </p:nvGrpSpPr>
        <p:grpSpPr>
          <a:xfrm>
            <a:off x="10926795" y="2388225"/>
            <a:ext cx="1295280" cy="492480"/>
            <a:chOff x="10926795" y="2388225"/>
            <a:chExt cx="1295280" cy="4924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87">
              <p14:nvContentPartPr>
                <p14:cNvPr id="123" name="Ink 122">
                  <a:extLst>
                    <a:ext uri="{FF2B5EF4-FFF2-40B4-BE49-F238E27FC236}">
                      <a16:creationId xmlns:a16="http://schemas.microsoft.com/office/drawing/2014/main" id="{2FDBDB32-DBEA-4875-8CDB-9B6166CBBA49}"/>
                    </a:ext>
                  </a:extLst>
                </p14:cNvPr>
                <p14:cNvContentPartPr/>
                <p14:nvPr/>
              </p14:nvContentPartPr>
              <p14:xfrm>
                <a:off x="10953075" y="2508465"/>
                <a:ext cx="66600" cy="372240"/>
              </p14:xfrm>
            </p:contentPart>
          </mc:Choice>
          <mc:Fallback xmlns="">
            <p:pic>
              <p:nvPicPr>
                <p:cNvPr id="123" name="Ink 122">
                  <a:extLst>
                    <a:ext uri="{FF2B5EF4-FFF2-40B4-BE49-F238E27FC236}">
                      <a16:creationId xmlns:a16="http://schemas.microsoft.com/office/drawing/2014/main" id="{2FDBDB32-DBEA-4875-8CDB-9B6166CBBA49}"/>
                    </a:ext>
                  </a:extLst>
                </p:cNvPr>
                <p:cNvPicPr/>
                <p:nvPr/>
              </p:nvPicPr>
              <p:blipFill>
                <a:blip r:embed="rId188"/>
                <a:stretch>
                  <a:fillRect/>
                </a:stretch>
              </p:blipFill>
              <p:spPr>
                <a:xfrm>
                  <a:off x="10935435" y="2490465"/>
                  <a:ext cx="102240" cy="40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9">
              <p14:nvContentPartPr>
                <p14:cNvPr id="124" name="Ink 123">
                  <a:extLst>
                    <a:ext uri="{FF2B5EF4-FFF2-40B4-BE49-F238E27FC236}">
                      <a16:creationId xmlns:a16="http://schemas.microsoft.com/office/drawing/2014/main" id="{EE74A362-51B0-4977-8F37-299F2558C056}"/>
                    </a:ext>
                  </a:extLst>
                </p14:cNvPr>
                <p14:cNvContentPartPr/>
                <p14:nvPr/>
              </p14:nvContentPartPr>
              <p14:xfrm>
                <a:off x="10926795" y="2405865"/>
                <a:ext cx="653040" cy="464400"/>
              </p14:xfrm>
            </p:contentPart>
          </mc:Choice>
          <mc:Fallback xmlns="">
            <p:pic>
              <p:nvPicPr>
                <p:cNvPr id="124" name="Ink 123">
                  <a:extLst>
                    <a:ext uri="{FF2B5EF4-FFF2-40B4-BE49-F238E27FC236}">
                      <a16:creationId xmlns:a16="http://schemas.microsoft.com/office/drawing/2014/main" id="{EE74A362-51B0-4977-8F37-299F2558C056}"/>
                    </a:ext>
                  </a:extLst>
                </p:cNvPr>
                <p:cNvPicPr/>
                <p:nvPr/>
              </p:nvPicPr>
              <p:blipFill>
                <a:blip r:embed="rId190"/>
                <a:stretch>
                  <a:fillRect/>
                </a:stretch>
              </p:blipFill>
              <p:spPr>
                <a:xfrm>
                  <a:off x="10908795" y="2388225"/>
                  <a:ext cx="688680" cy="50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1">
              <p14:nvContentPartPr>
                <p14:cNvPr id="125" name="Ink 124">
                  <a:extLst>
                    <a:ext uri="{FF2B5EF4-FFF2-40B4-BE49-F238E27FC236}">
                      <a16:creationId xmlns:a16="http://schemas.microsoft.com/office/drawing/2014/main" id="{2D6EF52B-9390-45DF-BC20-9C5AF099C593}"/>
                    </a:ext>
                  </a:extLst>
                </p14:cNvPr>
                <p14:cNvContentPartPr/>
                <p14:nvPr/>
              </p14:nvContentPartPr>
              <p14:xfrm>
                <a:off x="11632395" y="2501265"/>
                <a:ext cx="114840" cy="29880"/>
              </p14:xfrm>
            </p:contentPart>
          </mc:Choice>
          <mc:Fallback xmlns="">
            <p:pic>
              <p:nvPicPr>
                <p:cNvPr id="125" name="Ink 124">
                  <a:extLst>
                    <a:ext uri="{FF2B5EF4-FFF2-40B4-BE49-F238E27FC236}">
                      <a16:creationId xmlns:a16="http://schemas.microsoft.com/office/drawing/2014/main" id="{2D6EF52B-9390-45DF-BC20-9C5AF099C593}"/>
                    </a:ext>
                  </a:extLst>
                </p:cNvPr>
                <p:cNvPicPr/>
                <p:nvPr/>
              </p:nvPicPr>
              <p:blipFill>
                <a:blip r:embed="rId192"/>
                <a:stretch>
                  <a:fillRect/>
                </a:stretch>
              </p:blipFill>
              <p:spPr>
                <a:xfrm>
                  <a:off x="11614755" y="2483625"/>
                  <a:ext cx="150480" cy="6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3">
              <p14:nvContentPartPr>
                <p14:cNvPr id="126" name="Ink 125">
                  <a:extLst>
                    <a:ext uri="{FF2B5EF4-FFF2-40B4-BE49-F238E27FC236}">
                      <a16:creationId xmlns:a16="http://schemas.microsoft.com/office/drawing/2014/main" id="{56B75BFB-1507-4F16-9B05-D162B5BB7FE7}"/>
                    </a:ext>
                  </a:extLst>
                </p14:cNvPr>
                <p14:cNvContentPartPr/>
                <p14:nvPr/>
              </p14:nvContentPartPr>
              <p14:xfrm>
                <a:off x="11787555" y="2431065"/>
                <a:ext cx="148680" cy="214920"/>
              </p14:xfrm>
            </p:contentPart>
          </mc:Choice>
          <mc:Fallback xmlns="">
            <p:pic>
              <p:nvPicPr>
                <p:cNvPr id="126" name="Ink 125">
                  <a:extLst>
                    <a:ext uri="{FF2B5EF4-FFF2-40B4-BE49-F238E27FC236}">
                      <a16:creationId xmlns:a16="http://schemas.microsoft.com/office/drawing/2014/main" id="{56B75BFB-1507-4F16-9B05-D162B5BB7FE7}"/>
                    </a:ext>
                  </a:extLst>
                </p:cNvPr>
                <p:cNvPicPr/>
                <p:nvPr/>
              </p:nvPicPr>
              <p:blipFill>
                <a:blip r:embed="rId194"/>
                <a:stretch>
                  <a:fillRect/>
                </a:stretch>
              </p:blipFill>
              <p:spPr>
                <a:xfrm>
                  <a:off x="11769915" y="2413425"/>
                  <a:ext cx="184320" cy="25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5">
              <p14:nvContentPartPr>
                <p14:cNvPr id="127" name="Ink 126">
                  <a:extLst>
                    <a:ext uri="{FF2B5EF4-FFF2-40B4-BE49-F238E27FC236}">
                      <a16:creationId xmlns:a16="http://schemas.microsoft.com/office/drawing/2014/main" id="{BF40DB94-D973-430A-AB20-F4468276B968}"/>
                    </a:ext>
                  </a:extLst>
                </p14:cNvPr>
                <p14:cNvContentPartPr/>
                <p14:nvPr/>
              </p14:nvContentPartPr>
              <p14:xfrm>
                <a:off x="11966115" y="2388225"/>
                <a:ext cx="70560" cy="230400"/>
              </p14:xfrm>
            </p:contentPart>
          </mc:Choice>
          <mc:Fallback xmlns="">
            <p:pic>
              <p:nvPicPr>
                <p:cNvPr id="127" name="Ink 126">
                  <a:extLst>
                    <a:ext uri="{FF2B5EF4-FFF2-40B4-BE49-F238E27FC236}">
                      <a16:creationId xmlns:a16="http://schemas.microsoft.com/office/drawing/2014/main" id="{BF40DB94-D973-430A-AB20-F4468276B968}"/>
                    </a:ext>
                  </a:extLst>
                </p:cNvPr>
                <p:cNvPicPr/>
                <p:nvPr/>
              </p:nvPicPr>
              <p:blipFill>
                <a:blip r:embed="rId196"/>
                <a:stretch>
                  <a:fillRect/>
                </a:stretch>
              </p:blipFill>
              <p:spPr>
                <a:xfrm>
                  <a:off x="11948475" y="2370585"/>
                  <a:ext cx="106200" cy="26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7">
              <p14:nvContentPartPr>
                <p14:cNvPr id="128" name="Ink 127">
                  <a:extLst>
                    <a:ext uri="{FF2B5EF4-FFF2-40B4-BE49-F238E27FC236}">
                      <a16:creationId xmlns:a16="http://schemas.microsoft.com/office/drawing/2014/main" id="{AC73F1F9-6539-4AE5-BAE1-6F3D7AD8449B}"/>
                    </a:ext>
                  </a:extLst>
                </p14:cNvPr>
                <p14:cNvContentPartPr/>
                <p14:nvPr/>
              </p14:nvContentPartPr>
              <p14:xfrm>
                <a:off x="12121275" y="2399025"/>
                <a:ext cx="100800" cy="203400"/>
              </p14:xfrm>
            </p:contentPart>
          </mc:Choice>
          <mc:Fallback xmlns="">
            <p:pic>
              <p:nvPicPr>
                <p:cNvPr id="128" name="Ink 127">
                  <a:extLst>
                    <a:ext uri="{FF2B5EF4-FFF2-40B4-BE49-F238E27FC236}">
                      <a16:creationId xmlns:a16="http://schemas.microsoft.com/office/drawing/2014/main" id="{AC73F1F9-6539-4AE5-BAE1-6F3D7AD8449B}"/>
                    </a:ext>
                  </a:extLst>
                </p:cNvPr>
                <p:cNvPicPr/>
                <p:nvPr/>
              </p:nvPicPr>
              <p:blipFill>
                <a:blip r:embed="rId198"/>
                <a:stretch>
                  <a:fillRect/>
                </a:stretch>
              </p:blipFill>
              <p:spPr>
                <a:xfrm>
                  <a:off x="12103635" y="2381385"/>
                  <a:ext cx="136440" cy="2390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1E71EAD6-31E1-4823-9915-9FBDDEAF1319}"/>
              </a:ext>
            </a:extLst>
          </p:cNvPr>
          <p:cNvGrpSpPr/>
          <p:nvPr/>
        </p:nvGrpSpPr>
        <p:grpSpPr>
          <a:xfrm>
            <a:off x="6876795" y="5951145"/>
            <a:ext cx="1896480" cy="416160"/>
            <a:chOff x="6876795" y="5951145"/>
            <a:chExt cx="1896480" cy="416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99">
              <p14:nvContentPartPr>
                <p14:cNvPr id="130" name="Ink 129">
                  <a:extLst>
                    <a:ext uri="{FF2B5EF4-FFF2-40B4-BE49-F238E27FC236}">
                      <a16:creationId xmlns:a16="http://schemas.microsoft.com/office/drawing/2014/main" id="{7BC9F624-0461-4C4B-8C37-DFB8407DB0EE}"/>
                    </a:ext>
                  </a:extLst>
                </p14:cNvPr>
                <p14:cNvContentPartPr/>
                <p14:nvPr/>
              </p14:nvContentPartPr>
              <p14:xfrm>
                <a:off x="6876795" y="6004785"/>
                <a:ext cx="206280" cy="358920"/>
              </p14:xfrm>
            </p:contentPart>
          </mc:Choice>
          <mc:Fallback xmlns="">
            <p:pic>
              <p:nvPicPr>
                <p:cNvPr id="130" name="Ink 129">
                  <a:extLst>
                    <a:ext uri="{FF2B5EF4-FFF2-40B4-BE49-F238E27FC236}">
                      <a16:creationId xmlns:a16="http://schemas.microsoft.com/office/drawing/2014/main" id="{7BC9F624-0461-4C4B-8C37-DFB8407DB0EE}"/>
                    </a:ext>
                  </a:extLst>
                </p:cNvPr>
                <p:cNvPicPr/>
                <p:nvPr/>
              </p:nvPicPr>
              <p:blipFill>
                <a:blip r:embed="rId200"/>
                <a:stretch>
                  <a:fillRect/>
                </a:stretch>
              </p:blipFill>
              <p:spPr>
                <a:xfrm>
                  <a:off x="6858795" y="5986785"/>
                  <a:ext cx="241920" cy="39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1">
              <p14:nvContentPartPr>
                <p14:cNvPr id="131" name="Ink 130">
                  <a:extLst>
                    <a:ext uri="{FF2B5EF4-FFF2-40B4-BE49-F238E27FC236}">
                      <a16:creationId xmlns:a16="http://schemas.microsoft.com/office/drawing/2014/main" id="{E061BE2F-6B82-40D6-BCFB-DB1F90B73E81}"/>
                    </a:ext>
                  </a:extLst>
                </p14:cNvPr>
                <p14:cNvContentPartPr/>
                <p14:nvPr/>
              </p14:nvContentPartPr>
              <p14:xfrm>
                <a:off x="7161555" y="5951145"/>
                <a:ext cx="167760" cy="72000"/>
              </p14:xfrm>
            </p:contentPart>
          </mc:Choice>
          <mc:Fallback xmlns="">
            <p:pic>
              <p:nvPicPr>
                <p:cNvPr id="131" name="Ink 130">
                  <a:extLst>
                    <a:ext uri="{FF2B5EF4-FFF2-40B4-BE49-F238E27FC236}">
                      <a16:creationId xmlns:a16="http://schemas.microsoft.com/office/drawing/2014/main" id="{E061BE2F-6B82-40D6-BCFB-DB1F90B73E81}"/>
                    </a:ext>
                  </a:extLst>
                </p:cNvPr>
                <p:cNvPicPr/>
                <p:nvPr/>
              </p:nvPicPr>
              <p:blipFill>
                <a:blip r:embed="rId202"/>
                <a:stretch>
                  <a:fillRect/>
                </a:stretch>
              </p:blipFill>
              <p:spPr>
                <a:xfrm>
                  <a:off x="7143555" y="5933505"/>
                  <a:ext cx="203400" cy="10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3">
              <p14:nvContentPartPr>
                <p14:cNvPr id="134" name="Ink 133">
                  <a:extLst>
                    <a:ext uri="{FF2B5EF4-FFF2-40B4-BE49-F238E27FC236}">
                      <a16:creationId xmlns:a16="http://schemas.microsoft.com/office/drawing/2014/main" id="{9E83EB62-450B-47ED-AD83-CA570F0B69D5}"/>
                    </a:ext>
                  </a:extLst>
                </p14:cNvPr>
                <p14:cNvContentPartPr/>
                <p14:nvPr/>
              </p14:nvContentPartPr>
              <p14:xfrm>
                <a:off x="7637115" y="6070305"/>
                <a:ext cx="18000" cy="239760"/>
              </p14:xfrm>
            </p:contentPart>
          </mc:Choice>
          <mc:Fallback xmlns="">
            <p:pic>
              <p:nvPicPr>
                <p:cNvPr id="134" name="Ink 133">
                  <a:extLst>
                    <a:ext uri="{FF2B5EF4-FFF2-40B4-BE49-F238E27FC236}">
                      <a16:creationId xmlns:a16="http://schemas.microsoft.com/office/drawing/2014/main" id="{9E83EB62-450B-47ED-AD83-CA570F0B69D5}"/>
                    </a:ext>
                  </a:extLst>
                </p:cNvPr>
                <p:cNvPicPr/>
                <p:nvPr/>
              </p:nvPicPr>
              <p:blipFill>
                <a:blip r:embed="rId204"/>
                <a:stretch>
                  <a:fillRect/>
                </a:stretch>
              </p:blipFill>
              <p:spPr>
                <a:xfrm>
                  <a:off x="7619115" y="6052305"/>
                  <a:ext cx="53640" cy="275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5">
              <p14:nvContentPartPr>
                <p14:cNvPr id="135" name="Ink 134">
                  <a:extLst>
                    <a:ext uri="{FF2B5EF4-FFF2-40B4-BE49-F238E27FC236}">
                      <a16:creationId xmlns:a16="http://schemas.microsoft.com/office/drawing/2014/main" id="{05087D04-0F7A-4735-AB0E-DBB458A67165}"/>
                    </a:ext>
                  </a:extLst>
                </p14:cNvPr>
                <p14:cNvContentPartPr/>
                <p14:nvPr/>
              </p14:nvContentPartPr>
              <p14:xfrm>
                <a:off x="7534875" y="6160305"/>
                <a:ext cx="304200" cy="96840"/>
              </p14:xfrm>
            </p:contentPart>
          </mc:Choice>
          <mc:Fallback xmlns="">
            <p:pic>
              <p:nvPicPr>
                <p:cNvPr id="135" name="Ink 134">
                  <a:extLst>
                    <a:ext uri="{FF2B5EF4-FFF2-40B4-BE49-F238E27FC236}">
                      <a16:creationId xmlns:a16="http://schemas.microsoft.com/office/drawing/2014/main" id="{05087D04-0F7A-4735-AB0E-DBB458A67165}"/>
                    </a:ext>
                  </a:extLst>
                </p:cNvPr>
                <p:cNvPicPr/>
                <p:nvPr/>
              </p:nvPicPr>
              <p:blipFill>
                <a:blip r:embed="rId206"/>
                <a:stretch>
                  <a:fillRect/>
                </a:stretch>
              </p:blipFill>
              <p:spPr>
                <a:xfrm>
                  <a:off x="7517235" y="6142305"/>
                  <a:ext cx="339840" cy="13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7">
              <p14:nvContentPartPr>
                <p14:cNvPr id="136" name="Ink 135">
                  <a:extLst>
                    <a:ext uri="{FF2B5EF4-FFF2-40B4-BE49-F238E27FC236}">
                      <a16:creationId xmlns:a16="http://schemas.microsoft.com/office/drawing/2014/main" id="{F3F64F1D-8AC6-49E2-A8F6-6664EA336DA1}"/>
                    </a:ext>
                  </a:extLst>
                </p14:cNvPr>
                <p14:cNvContentPartPr/>
                <p14:nvPr/>
              </p14:nvContentPartPr>
              <p14:xfrm>
                <a:off x="7776795" y="6058425"/>
                <a:ext cx="36360" cy="54000"/>
              </p14:xfrm>
            </p:contentPart>
          </mc:Choice>
          <mc:Fallback xmlns="">
            <p:pic>
              <p:nvPicPr>
                <p:cNvPr id="136" name="Ink 135">
                  <a:extLst>
                    <a:ext uri="{FF2B5EF4-FFF2-40B4-BE49-F238E27FC236}">
                      <a16:creationId xmlns:a16="http://schemas.microsoft.com/office/drawing/2014/main" id="{F3F64F1D-8AC6-49E2-A8F6-6664EA336DA1}"/>
                    </a:ext>
                  </a:extLst>
                </p:cNvPr>
                <p:cNvPicPr/>
                <p:nvPr/>
              </p:nvPicPr>
              <p:blipFill>
                <a:blip r:embed="rId208"/>
                <a:stretch>
                  <a:fillRect/>
                </a:stretch>
              </p:blipFill>
              <p:spPr>
                <a:xfrm>
                  <a:off x="7758795" y="6040785"/>
                  <a:ext cx="72000" cy="8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9">
              <p14:nvContentPartPr>
                <p14:cNvPr id="137" name="Ink 136">
                  <a:extLst>
                    <a:ext uri="{FF2B5EF4-FFF2-40B4-BE49-F238E27FC236}">
                      <a16:creationId xmlns:a16="http://schemas.microsoft.com/office/drawing/2014/main" id="{A827E1CB-EE8A-4F11-AF8B-F7A69C06A21A}"/>
                    </a:ext>
                  </a:extLst>
                </p14:cNvPr>
                <p14:cNvContentPartPr/>
                <p14:nvPr/>
              </p14:nvContentPartPr>
              <p14:xfrm>
                <a:off x="7929075" y="6128265"/>
                <a:ext cx="235800" cy="216000"/>
              </p14:xfrm>
            </p:contentPart>
          </mc:Choice>
          <mc:Fallback xmlns="">
            <p:pic>
              <p:nvPicPr>
                <p:cNvPr id="137" name="Ink 136">
                  <a:extLst>
                    <a:ext uri="{FF2B5EF4-FFF2-40B4-BE49-F238E27FC236}">
                      <a16:creationId xmlns:a16="http://schemas.microsoft.com/office/drawing/2014/main" id="{A827E1CB-EE8A-4F11-AF8B-F7A69C06A21A}"/>
                    </a:ext>
                  </a:extLst>
                </p:cNvPr>
                <p:cNvPicPr/>
                <p:nvPr/>
              </p:nvPicPr>
              <p:blipFill>
                <a:blip r:embed="rId210"/>
                <a:stretch>
                  <a:fillRect/>
                </a:stretch>
              </p:blipFill>
              <p:spPr>
                <a:xfrm>
                  <a:off x="7911075" y="6110625"/>
                  <a:ext cx="271440" cy="25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1">
              <p14:nvContentPartPr>
                <p14:cNvPr id="138" name="Ink 137">
                  <a:extLst>
                    <a:ext uri="{FF2B5EF4-FFF2-40B4-BE49-F238E27FC236}">
                      <a16:creationId xmlns:a16="http://schemas.microsoft.com/office/drawing/2014/main" id="{6F1AA76F-31A1-440F-8757-CDD4BB1B8F42}"/>
                    </a:ext>
                  </a:extLst>
                </p14:cNvPr>
                <p14:cNvContentPartPr/>
                <p14:nvPr/>
              </p14:nvContentPartPr>
              <p14:xfrm>
                <a:off x="8244075" y="6149865"/>
                <a:ext cx="163080" cy="100800"/>
              </p14:xfrm>
            </p:contentPart>
          </mc:Choice>
          <mc:Fallback xmlns="">
            <p:pic>
              <p:nvPicPr>
                <p:cNvPr id="138" name="Ink 137">
                  <a:extLst>
                    <a:ext uri="{FF2B5EF4-FFF2-40B4-BE49-F238E27FC236}">
                      <a16:creationId xmlns:a16="http://schemas.microsoft.com/office/drawing/2014/main" id="{6F1AA76F-31A1-440F-8757-CDD4BB1B8F42}"/>
                    </a:ext>
                  </a:extLst>
                </p:cNvPr>
                <p:cNvPicPr/>
                <p:nvPr/>
              </p:nvPicPr>
              <p:blipFill>
                <a:blip r:embed="rId212"/>
                <a:stretch>
                  <a:fillRect/>
                </a:stretch>
              </p:blipFill>
              <p:spPr>
                <a:xfrm>
                  <a:off x="8226075" y="6131865"/>
                  <a:ext cx="198720" cy="13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3">
              <p14:nvContentPartPr>
                <p14:cNvPr id="139" name="Ink 138">
                  <a:extLst>
                    <a:ext uri="{FF2B5EF4-FFF2-40B4-BE49-F238E27FC236}">
                      <a16:creationId xmlns:a16="http://schemas.microsoft.com/office/drawing/2014/main" id="{4B92FC00-6227-4F83-8628-8305044BF76B}"/>
                    </a:ext>
                  </a:extLst>
                </p14:cNvPr>
                <p14:cNvContentPartPr/>
                <p14:nvPr/>
              </p14:nvContentPartPr>
              <p14:xfrm>
                <a:off x="8640795" y="6120345"/>
                <a:ext cx="132480" cy="246960"/>
              </p14:xfrm>
            </p:contentPart>
          </mc:Choice>
          <mc:Fallback xmlns="">
            <p:pic>
              <p:nvPicPr>
                <p:cNvPr id="139" name="Ink 138">
                  <a:extLst>
                    <a:ext uri="{FF2B5EF4-FFF2-40B4-BE49-F238E27FC236}">
                      <a16:creationId xmlns:a16="http://schemas.microsoft.com/office/drawing/2014/main" id="{4B92FC00-6227-4F83-8628-8305044BF76B}"/>
                    </a:ext>
                  </a:extLst>
                </p:cNvPr>
                <p:cNvPicPr/>
                <p:nvPr/>
              </p:nvPicPr>
              <p:blipFill>
                <a:blip r:embed="rId214"/>
                <a:stretch>
                  <a:fillRect/>
                </a:stretch>
              </p:blipFill>
              <p:spPr>
                <a:xfrm>
                  <a:off x="8622795" y="6102705"/>
                  <a:ext cx="168120" cy="282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9376F3EB-7847-4408-B07E-695BB85B8AD4}"/>
              </a:ext>
            </a:extLst>
          </p:cNvPr>
          <p:cNvGrpSpPr/>
          <p:nvPr/>
        </p:nvGrpSpPr>
        <p:grpSpPr>
          <a:xfrm>
            <a:off x="9072075" y="5898225"/>
            <a:ext cx="2932920" cy="813600"/>
            <a:chOff x="9072075" y="5898225"/>
            <a:chExt cx="2932920" cy="813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15">
              <p14:nvContentPartPr>
                <p14:cNvPr id="140" name="Ink 139">
                  <a:extLst>
                    <a:ext uri="{FF2B5EF4-FFF2-40B4-BE49-F238E27FC236}">
                      <a16:creationId xmlns:a16="http://schemas.microsoft.com/office/drawing/2014/main" id="{8DD491F0-63B4-4F23-8F30-3028D6E9DC2C}"/>
                    </a:ext>
                  </a:extLst>
                </p14:cNvPr>
                <p14:cNvContentPartPr/>
                <p14:nvPr/>
              </p14:nvContentPartPr>
              <p14:xfrm>
                <a:off x="9072075" y="6009825"/>
                <a:ext cx="665280" cy="366840"/>
              </p14:xfrm>
            </p:contentPart>
          </mc:Choice>
          <mc:Fallback xmlns="">
            <p:pic>
              <p:nvPicPr>
                <p:cNvPr id="140" name="Ink 139">
                  <a:extLst>
                    <a:ext uri="{FF2B5EF4-FFF2-40B4-BE49-F238E27FC236}">
                      <a16:creationId xmlns:a16="http://schemas.microsoft.com/office/drawing/2014/main" id="{8DD491F0-63B4-4F23-8F30-3028D6E9DC2C}"/>
                    </a:ext>
                  </a:extLst>
                </p:cNvPr>
                <p:cNvPicPr/>
                <p:nvPr/>
              </p:nvPicPr>
              <p:blipFill>
                <a:blip r:embed="rId216"/>
                <a:stretch>
                  <a:fillRect/>
                </a:stretch>
              </p:blipFill>
              <p:spPr>
                <a:xfrm>
                  <a:off x="9054075" y="5991825"/>
                  <a:ext cx="700920" cy="40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7">
              <p14:nvContentPartPr>
                <p14:cNvPr id="141" name="Ink 140">
                  <a:extLst>
                    <a:ext uri="{FF2B5EF4-FFF2-40B4-BE49-F238E27FC236}">
                      <a16:creationId xmlns:a16="http://schemas.microsoft.com/office/drawing/2014/main" id="{2B5EAF25-1C0D-4379-80C2-0F53B42F05AC}"/>
                    </a:ext>
                  </a:extLst>
                </p14:cNvPr>
                <p14:cNvContentPartPr/>
                <p14:nvPr/>
              </p14:nvContentPartPr>
              <p14:xfrm>
                <a:off x="9844635" y="6003345"/>
                <a:ext cx="572040" cy="230040"/>
              </p14:xfrm>
            </p:contentPart>
          </mc:Choice>
          <mc:Fallback xmlns="">
            <p:pic>
              <p:nvPicPr>
                <p:cNvPr id="141" name="Ink 140">
                  <a:extLst>
                    <a:ext uri="{FF2B5EF4-FFF2-40B4-BE49-F238E27FC236}">
                      <a16:creationId xmlns:a16="http://schemas.microsoft.com/office/drawing/2014/main" id="{2B5EAF25-1C0D-4379-80C2-0F53B42F05AC}"/>
                    </a:ext>
                  </a:extLst>
                </p:cNvPr>
                <p:cNvPicPr/>
                <p:nvPr/>
              </p:nvPicPr>
              <p:blipFill>
                <a:blip r:embed="rId218"/>
                <a:stretch>
                  <a:fillRect/>
                </a:stretch>
              </p:blipFill>
              <p:spPr>
                <a:xfrm>
                  <a:off x="9826635" y="5985705"/>
                  <a:ext cx="607680" cy="26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9">
              <p14:nvContentPartPr>
                <p14:cNvPr id="142" name="Ink 141">
                  <a:extLst>
                    <a:ext uri="{FF2B5EF4-FFF2-40B4-BE49-F238E27FC236}">
                      <a16:creationId xmlns:a16="http://schemas.microsoft.com/office/drawing/2014/main" id="{78B45508-66C4-49D4-850F-81B7BCE8C7FA}"/>
                    </a:ext>
                  </a:extLst>
                </p14:cNvPr>
                <p14:cNvContentPartPr/>
                <p14:nvPr/>
              </p14:nvContentPartPr>
              <p14:xfrm>
                <a:off x="10371675" y="6110985"/>
                <a:ext cx="155160" cy="72360"/>
              </p14:xfrm>
            </p:contentPart>
          </mc:Choice>
          <mc:Fallback xmlns="">
            <p:pic>
              <p:nvPicPr>
                <p:cNvPr id="142" name="Ink 141">
                  <a:extLst>
                    <a:ext uri="{FF2B5EF4-FFF2-40B4-BE49-F238E27FC236}">
                      <a16:creationId xmlns:a16="http://schemas.microsoft.com/office/drawing/2014/main" id="{78B45508-66C4-49D4-850F-81B7BCE8C7FA}"/>
                    </a:ext>
                  </a:extLst>
                </p:cNvPr>
                <p:cNvPicPr/>
                <p:nvPr/>
              </p:nvPicPr>
              <p:blipFill>
                <a:blip r:embed="rId220"/>
                <a:stretch>
                  <a:fillRect/>
                </a:stretch>
              </p:blipFill>
              <p:spPr>
                <a:xfrm>
                  <a:off x="10353675" y="6092985"/>
                  <a:ext cx="190800" cy="10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1">
              <p14:nvContentPartPr>
                <p14:cNvPr id="143" name="Ink 142">
                  <a:extLst>
                    <a:ext uri="{FF2B5EF4-FFF2-40B4-BE49-F238E27FC236}">
                      <a16:creationId xmlns:a16="http://schemas.microsoft.com/office/drawing/2014/main" id="{E72EBEF1-0F2C-4F46-A9E4-1271C1E23E3B}"/>
                    </a:ext>
                  </a:extLst>
                </p14:cNvPr>
                <p14:cNvContentPartPr/>
                <p14:nvPr/>
              </p14:nvContentPartPr>
              <p14:xfrm>
                <a:off x="9890715" y="6038985"/>
                <a:ext cx="10440" cy="129960"/>
              </p14:xfrm>
            </p:contentPart>
          </mc:Choice>
          <mc:Fallback xmlns="">
            <p:pic>
              <p:nvPicPr>
                <p:cNvPr id="143" name="Ink 142">
                  <a:extLst>
                    <a:ext uri="{FF2B5EF4-FFF2-40B4-BE49-F238E27FC236}">
                      <a16:creationId xmlns:a16="http://schemas.microsoft.com/office/drawing/2014/main" id="{E72EBEF1-0F2C-4F46-A9E4-1271C1E23E3B}"/>
                    </a:ext>
                  </a:extLst>
                </p:cNvPr>
                <p:cNvPicPr/>
                <p:nvPr/>
              </p:nvPicPr>
              <p:blipFill>
                <a:blip r:embed="rId222"/>
                <a:stretch>
                  <a:fillRect/>
                </a:stretch>
              </p:blipFill>
              <p:spPr>
                <a:xfrm>
                  <a:off x="9873075" y="6020985"/>
                  <a:ext cx="46080" cy="16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3">
              <p14:nvContentPartPr>
                <p14:cNvPr id="144" name="Ink 143">
                  <a:extLst>
                    <a:ext uri="{FF2B5EF4-FFF2-40B4-BE49-F238E27FC236}">
                      <a16:creationId xmlns:a16="http://schemas.microsoft.com/office/drawing/2014/main" id="{421C0E86-9E9C-4C05-9A0A-030C90F358F4}"/>
                    </a:ext>
                  </a:extLst>
                </p14:cNvPr>
                <p14:cNvContentPartPr/>
                <p14:nvPr/>
              </p14:nvContentPartPr>
              <p14:xfrm>
                <a:off x="10711155" y="6023145"/>
                <a:ext cx="403920" cy="140040"/>
              </p14:xfrm>
            </p:contentPart>
          </mc:Choice>
          <mc:Fallback xmlns="">
            <p:pic>
              <p:nvPicPr>
                <p:cNvPr id="144" name="Ink 143">
                  <a:extLst>
                    <a:ext uri="{FF2B5EF4-FFF2-40B4-BE49-F238E27FC236}">
                      <a16:creationId xmlns:a16="http://schemas.microsoft.com/office/drawing/2014/main" id="{421C0E86-9E9C-4C05-9A0A-030C90F358F4}"/>
                    </a:ext>
                  </a:extLst>
                </p:cNvPr>
                <p:cNvPicPr/>
                <p:nvPr/>
              </p:nvPicPr>
              <p:blipFill>
                <a:blip r:embed="rId224"/>
                <a:stretch>
                  <a:fillRect/>
                </a:stretch>
              </p:blipFill>
              <p:spPr>
                <a:xfrm>
                  <a:off x="10693155" y="6005505"/>
                  <a:ext cx="439560" cy="17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5">
              <p14:nvContentPartPr>
                <p14:cNvPr id="145" name="Ink 144">
                  <a:extLst>
                    <a:ext uri="{FF2B5EF4-FFF2-40B4-BE49-F238E27FC236}">
                      <a16:creationId xmlns:a16="http://schemas.microsoft.com/office/drawing/2014/main" id="{9D17792A-37AB-441A-960A-7E82B00257D6}"/>
                    </a:ext>
                  </a:extLst>
                </p14:cNvPr>
                <p14:cNvContentPartPr/>
                <p14:nvPr/>
              </p14:nvContentPartPr>
              <p14:xfrm>
                <a:off x="11328195" y="5898225"/>
                <a:ext cx="676800" cy="266040"/>
              </p14:xfrm>
            </p:contentPart>
          </mc:Choice>
          <mc:Fallback xmlns="">
            <p:pic>
              <p:nvPicPr>
                <p:cNvPr id="145" name="Ink 144">
                  <a:extLst>
                    <a:ext uri="{FF2B5EF4-FFF2-40B4-BE49-F238E27FC236}">
                      <a16:creationId xmlns:a16="http://schemas.microsoft.com/office/drawing/2014/main" id="{9D17792A-37AB-441A-960A-7E82B00257D6}"/>
                    </a:ext>
                  </a:extLst>
                </p:cNvPr>
                <p:cNvPicPr/>
                <p:nvPr/>
              </p:nvPicPr>
              <p:blipFill>
                <a:blip r:embed="rId226"/>
                <a:stretch>
                  <a:fillRect/>
                </a:stretch>
              </p:blipFill>
              <p:spPr>
                <a:xfrm>
                  <a:off x="11310195" y="5880585"/>
                  <a:ext cx="712440" cy="30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7">
              <p14:nvContentPartPr>
                <p14:cNvPr id="146" name="Ink 145">
                  <a:extLst>
                    <a:ext uri="{FF2B5EF4-FFF2-40B4-BE49-F238E27FC236}">
                      <a16:creationId xmlns:a16="http://schemas.microsoft.com/office/drawing/2014/main" id="{A46D9D5A-8932-46C8-971D-A6A92301A347}"/>
                    </a:ext>
                  </a:extLst>
                </p14:cNvPr>
                <p14:cNvContentPartPr/>
                <p14:nvPr/>
              </p14:nvContentPartPr>
              <p14:xfrm>
                <a:off x="10160715" y="6473865"/>
                <a:ext cx="129960" cy="168480"/>
              </p14:xfrm>
            </p:contentPart>
          </mc:Choice>
          <mc:Fallback xmlns="">
            <p:pic>
              <p:nvPicPr>
                <p:cNvPr id="146" name="Ink 145">
                  <a:extLst>
                    <a:ext uri="{FF2B5EF4-FFF2-40B4-BE49-F238E27FC236}">
                      <a16:creationId xmlns:a16="http://schemas.microsoft.com/office/drawing/2014/main" id="{A46D9D5A-8932-46C8-971D-A6A92301A347}"/>
                    </a:ext>
                  </a:extLst>
                </p:cNvPr>
                <p:cNvPicPr/>
                <p:nvPr/>
              </p:nvPicPr>
              <p:blipFill>
                <a:blip r:embed="rId228"/>
                <a:stretch>
                  <a:fillRect/>
                </a:stretch>
              </p:blipFill>
              <p:spPr>
                <a:xfrm>
                  <a:off x="10142715" y="6455865"/>
                  <a:ext cx="165600" cy="204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9">
              <p14:nvContentPartPr>
                <p14:cNvPr id="147" name="Ink 146">
                  <a:extLst>
                    <a:ext uri="{FF2B5EF4-FFF2-40B4-BE49-F238E27FC236}">
                      <a16:creationId xmlns:a16="http://schemas.microsoft.com/office/drawing/2014/main" id="{7C29E515-1A56-4B02-8E71-F9D6A20C509A}"/>
                    </a:ext>
                  </a:extLst>
                </p14:cNvPr>
                <p14:cNvContentPartPr/>
                <p14:nvPr/>
              </p14:nvContentPartPr>
              <p14:xfrm>
                <a:off x="10339275" y="6446865"/>
                <a:ext cx="358920" cy="264960"/>
              </p14:xfrm>
            </p:contentPart>
          </mc:Choice>
          <mc:Fallback xmlns="">
            <p:pic>
              <p:nvPicPr>
                <p:cNvPr id="147" name="Ink 146">
                  <a:extLst>
                    <a:ext uri="{FF2B5EF4-FFF2-40B4-BE49-F238E27FC236}">
                      <a16:creationId xmlns:a16="http://schemas.microsoft.com/office/drawing/2014/main" id="{7C29E515-1A56-4B02-8E71-F9D6A20C509A}"/>
                    </a:ext>
                  </a:extLst>
                </p:cNvPr>
                <p:cNvPicPr/>
                <p:nvPr/>
              </p:nvPicPr>
              <p:blipFill>
                <a:blip r:embed="rId230"/>
                <a:stretch>
                  <a:fillRect/>
                </a:stretch>
              </p:blipFill>
              <p:spPr>
                <a:xfrm>
                  <a:off x="10321275" y="6428865"/>
                  <a:ext cx="394560" cy="300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1">
              <p14:nvContentPartPr>
                <p14:cNvPr id="148" name="Ink 147">
                  <a:extLst>
                    <a:ext uri="{FF2B5EF4-FFF2-40B4-BE49-F238E27FC236}">
                      <a16:creationId xmlns:a16="http://schemas.microsoft.com/office/drawing/2014/main" id="{03D215E9-7B44-44D8-8A47-474BC5808F7E}"/>
                    </a:ext>
                  </a:extLst>
                </p14:cNvPr>
                <p14:cNvContentPartPr/>
                <p14:nvPr/>
              </p14:nvContentPartPr>
              <p14:xfrm>
                <a:off x="10727715" y="6492945"/>
                <a:ext cx="107640" cy="132120"/>
              </p14:xfrm>
            </p:contentPart>
          </mc:Choice>
          <mc:Fallback xmlns="">
            <p:pic>
              <p:nvPicPr>
                <p:cNvPr id="148" name="Ink 147">
                  <a:extLst>
                    <a:ext uri="{FF2B5EF4-FFF2-40B4-BE49-F238E27FC236}">
                      <a16:creationId xmlns:a16="http://schemas.microsoft.com/office/drawing/2014/main" id="{03D215E9-7B44-44D8-8A47-474BC5808F7E}"/>
                    </a:ext>
                  </a:extLst>
                </p:cNvPr>
                <p:cNvPicPr/>
                <p:nvPr/>
              </p:nvPicPr>
              <p:blipFill>
                <a:blip r:embed="rId232"/>
                <a:stretch>
                  <a:fillRect/>
                </a:stretch>
              </p:blipFill>
              <p:spPr>
                <a:xfrm>
                  <a:off x="10710075" y="6475305"/>
                  <a:ext cx="143280" cy="16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3">
              <p14:nvContentPartPr>
                <p14:cNvPr id="149" name="Ink 148">
                  <a:extLst>
                    <a:ext uri="{FF2B5EF4-FFF2-40B4-BE49-F238E27FC236}">
                      <a16:creationId xmlns:a16="http://schemas.microsoft.com/office/drawing/2014/main" id="{B610B012-46EF-456A-A5FB-06D057A8117C}"/>
                    </a:ext>
                  </a:extLst>
                </p14:cNvPr>
                <p14:cNvContentPartPr/>
                <p14:nvPr/>
              </p14:nvContentPartPr>
              <p14:xfrm>
                <a:off x="10936155" y="6361545"/>
                <a:ext cx="416520" cy="214560"/>
              </p14:xfrm>
            </p:contentPart>
          </mc:Choice>
          <mc:Fallback xmlns="">
            <p:pic>
              <p:nvPicPr>
                <p:cNvPr id="149" name="Ink 148">
                  <a:extLst>
                    <a:ext uri="{FF2B5EF4-FFF2-40B4-BE49-F238E27FC236}">
                      <a16:creationId xmlns:a16="http://schemas.microsoft.com/office/drawing/2014/main" id="{B610B012-46EF-456A-A5FB-06D057A8117C}"/>
                    </a:ext>
                  </a:extLst>
                </p:cNvPr>
                <p:cNvPicPr/>
                <p:nvPr/>
              </p:nvPicPr>
              <p:blipFill>
                <a:blip r:embed="rId234"/>
                <a:stretch>
                  <a:fillRect/>
                </a:stretch>
              </p:blipFill>
              <p:spPr>
                <a:xfrm>
                  <a:off x="10918155" y="6343545"/>
                  <a:ext cx="452160" cy="25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5">
              <p14:nvContentPartPr>
                <p14:cNvPr id="150" name="Ink 149">
                  <a:extLst>
                    <a:ext uri="{FF2B5EF4-FFF2-40B4-BE49-F238E27FC236}">
                      <a16:creationId xmlns:a16="http://schemas.microsoft.com/office/drawing/2014/main" id="{10DEBE4F-12CE-4DE6-A749-D7E88290FB92}"/>
                    </a:ext>
                  </a:extLst>
                </p14:cNvPr>
                <p14:cNvContentPartPr/>
                <p14:nvPr/>
              </p14:nvContentPartPr>
              <p14:xfrm>
                <a:off x="11304075" y="6322665"/>
                <a:ext cx="536040" cy="225720"/>
              </p14:xfrm>
            </p:contentPart>
          </mc:Choice>
          <mc:Fallback xmlns="">
            <p:pic>
              <p:nvPicPr>
                <p:cNvPr id="150" name="Ink 149">
                  <a:extLst>
                    <a:ext uri="{FF2B5EF4-FFF2-40B4-BE49-F238E27FC236}">
                      <a16:creationId xmlns:a16="http://schemas.microsoft.com/office/drawing/2014/main" id="{10DEBE4F-12CE-4DE6-A749-D7E88290FB92}"/>
                    </a:ext>
                  </a:extLst>
                </p:cNvPr>
                <p:cNvPicPr/>
                <p:nvPr/>
              </p:nvPicPr>
              <p:blipFill>
                <a:blip r:embed="rId236"/>
                <a:stretch>
                  <a:fillRect/>
                </a:stretch>
              </p:blipFill>
              <p:spPr>
                <a:xfrm>
                  <a:off x="11286075" y="6305025"/>
                  <a:ext cx="571680" cy="2613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237">
            <p14:nvContentPartPr>
              <p14:cNvPr id="155" name="Ink 154">
                <a:extLst>
                  <a:ext uri="{FF2B5EF4-FFF2-40B4-BE49-F238E27FC236}">
                    <a16:creationId xmlns:a16="http://schemas.microsoft.com/office/drawing/2014/main" id="{C3570CE3-77A9-44BE-B003-1CA56DBF0D9D}"/>
                  </a:ext>
                </a:extLst>
              </p14:cNvPr>
              <p14:cNvContentPartPr/>
              <p14:nvPr/>
            </p14:nvContentPartPr>
            <p14:xfrm>
              <a:off x="10825275" y="5041785"/>
              <a:ext cx="326520" cy="142200"/>
            </p14:xfrm>
          </p:contentPart>
        </mc:Choice>
        <mc:Fallback xmlns="">
          <p:pic>
            <p:nvPicPr>
              <p:cNvPr id="155" name="Ink 154">
                <a:extLst>
                  <a:ext uri="{FF2B5EF4-FFF2-40B4-BE49-F238E27FC236}">
                    <a16:creationId xmlns:a16="http://schemas.microsoft.com/office/drawing/2014/main" id="{C3570CE3-77A9-44BE-B003-1CA56DBF0D9D}"/>
                  </a:ext>
                </a:extLst>
              </p:cNvPr>
              <p:cNvPicPr/>
              <p:nvPr/>
            </p:nvPicPr>
            <p:blipFill>
              <a:blip r:embed="rId238"/>
              <a:stretch>
                <a:fillRect/>
              </a:stretch>
            </p:blipFill>
            <p:spPr>
              <a:xfrm>
                <a:off x="10807635" y="5023785"/>
                <a:ext cx="362160" cy="177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494765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714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A44F86D1-EC45-4445-ABC8-AECD60B642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156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8A24DA5-4990-4E91-BD81-CC386732AD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689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8A24DA5-4990-4E91-BD81-CC386732AD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409001-4ED9-4499-8102-0E0AE1794D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DF4BDC-DFB8-400E-A62F-ED95BD2BB7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E4ED3259-0D20-4A4B-928B-1D4A5099606D}"/>
              </a:ext>
            </a:extLst>
          </p:cNvPr>
          <p:cNvGrpSpPr/>
          <p:nvPr/>
        </p:nvGrpSpPr>
        <p:grpSpPr>
          <a:xfrm>
            <a:off x="1745769" y="258642"/>
            <a:ext cx="772560" cy="310680"/>
            <a:chOff x="1745769" y="258642"/>
            <a:chExt cx="772560" cy="3106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142196AE-F375-4DB5-8D26-D5C84353F4F8}"/>
                    </a:ext>
                  </a:extLst>
                </p14:cNvPr>
                <p14:cNvContentPartPr/>
                <p14:nvPr/>
              </p14:nvContentPartPr>
              <p14:xfrm>
                <a:off x="1981209" y="261882"/>
                <a:ext cx="34200" cy="30744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142196AE-F375-4DB5-8D26-D5C84353F4F8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963209" y="244242"/>
                  <a:ext cx="69840" cy="34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DB021345-2F6A-4E20-B97C-BD229ACAE102}"/>
                    </a:ext>
                  </a:extLst>
                </p14:cNvPr>
                <p14:cNvContentPartPr/>
                <p14:nvPr/>
              </p14:nvContentPartPr>
              <p14:xfrm>
                <a:off x="1745769" y="258642"/>
                <a:ext cx="596880" cy="25632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DB021345-2F6A-4E20-B97C-BD229ACAE102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727769" y="240642"/>
                  <a:ext cx="632520" cy="29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4A26E32C-CBAB-4AED-BDBE-6A64D6A8D58A}"/>
                    </a:ext>
                  </a:extLst>
                </p14:cNvPr>
                <p14:cNvContentPartPr/>
                <p14:nvPr/>
              </p14:nvContentPartPr>
              <p14:xfrm>
                <a:off x="2372889" y="383562"/>
                <a:ext cx="145440" cy="13320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4A26E32C-CBAB-4AED-BDBE-6A64D6A8D58A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2354889" y="365562"/>
                  <a:ext cx="181080" cy="168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64B281B-6D9E-486E-8C73-F65CFE52BA50}"/>
              </a:ext>
            </a:extLst>
          </p:cNvPr>
          <p:cNvGrpSpPr/>
          <p:nvPr/>
        </p:nvGrpSpPr>
        <p:grpSpPr>
          <a:xfrm>
            <a:off x="2766729" y="360522"/>
            <a:ext cx="618840" cy="343440"/>
            <a:chOff x="2766729" y="360522"/>
            <a:chExt cx="618840" cy="343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8B648989-AF3A-44BF-9138-FBCF2B6F260E}"/>
                    </a:ext>
                  </a:extLst>
                </p14:cNvPr>
                <p14:cNvContentPartPr/>
                <p14:nvPr/>
              </p14:nvContentPartPr>
              <p14:xfrm>
                <a:off x="2766729" y="360522"/>
                <a:ext cx="170280" cy="34344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8B648989-AF3A-44BF-9138-FBCF2B6F260E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2748729" y="342882"/>
                  <a:ext cx="205920" cy="37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29ADBA63-D40F-4DDD-AC71-CFF67B7C9EC6}"/>
                    </a:ext>
                  </a:extLst>
                </p14:cNvPr>
                <p14:cNvContentPartPr/>
                <p14:nvPr/>
              </p14:nvContentPartPr>
              <p14:xfrm>
                <a:off x="3051849" y="413082"/>
                <a:ext cx="93960" cy="8640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29ADBA63-D40F-4DDD-AC71-CFF67B7C9EC6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3034209" y="395442"/>
                  <a:ext cx="129600" cy="12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A527ED63-95F7-4D8C-931D-F691CF1E51F7}"/>
                    </a:ext>
                  </a:extLst>
                </p14:cNvPr>
                <p14:cNvContentPartPr/>
                <p14:nvPr/>
              </p14:nvContentPartPr>
              <p14:xfrm>
                <a:off x="3245529" y="398322"/>
                <a:ext cx="140040" cy="16164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A527ED63-95F7-4D8C-931D-F691CF1E51F7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3227529" y="380682"/>
                  <a:ext cx="175680" cy="1972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75809E03-907E-4357-92BF-34F252802F04}"/>
                  </a:ext>
                </a:extLst>
              </p14:cNvPr>
              <p14:cNvContentPartPr/>
              <p14:nvPr/>
            </p14:nvContentPartPr>
            <p14:xfrm>
              <a:off x="3550449" y="338922"/>
              <a:ext cx="18360" cy="225360"/>
            </p14:xfrm>
          </p:contentPart>
        </mc:Choice>
        <mc:Fallback xmlns=""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75809E03-907E-4357-92BF-34F252802F04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3532809" y="321282"/>
                <a:ext cx="54000" cy="261000"/>
              </a:xfrm>
              <a:prstGeom prst="rect">
                <a:avLst/>
              </a:prstGeom>
            </p:spPr>
          </p:pic>
        </mc:Fallback>
      </mc:AlternateContent>
      <p:grpSp>
        <p:nvGrpSpPr>
          <p:cNvPr id="40" name="Group 39">
            <a:extLst>
              <a:ext uri="{FF2B5EF4-FFF2-40B4-BE49-F238E27FC236}">
                <a16:creationId xmlns:a16="http://schemas.microsoft.com/office/drawing/2014/main" id="{D26B42D3-9DBA-4A1E-9A7B-3C2C012633D2}"/>
              </a:ext>
            </a:extLst>
          </p:cNvPr>
          <p:cNvGrpSpPr/>
          <p:nvPr/>
        </p:nvGrpSpPr>
        <p:grpSpPr>
          <a:xfrm>
            <a:off x="3909369" y="338922"/>
            <a:ext cx="313560" cy="274320"/>
            <a:chOff x="3909369" y="338922"/>
            <a:chExt cx="313560" cy="274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A4627731-9CEE-4760-ABEA-1E749576AAF3}"/>
                    </a:ext>
                  </a:extLst>
                </p14:cNvPr>
                <p14:cNvContentPartPr/>
                <p14:nvPr/>
              </p14:nvContentPartPr>
              <p14:xfrm>
                <a:off x="3950049" y="431082"/>
                <a:ext cx="20520" cy="15732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A4627731-9CEE-4760-ABEA-1E749576AAF3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3932049" y="413082"/>
                  <a:ext cx="56160" cy="192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A7DB71F3-EA5E-4B4E-8B16-D303E5A7AC40}"/>
                    </a:ext>
                  </a:extLst>
                </p14:cNvPr>
                <p14:cNvContentPartPr/>
                <p14:nvPr/>
              </p14:nvContentPartPr>
              <p14:xfrm>
                <a:off x="3909369" y="338922"/>
                <a:ext cx="15840" cy="1728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A7DB71F3-EA5E-4B4E-8B16-D303E5A7AC40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3891369" y="321282"/>
                  <a:ext cx="51480" cy="5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CE7F6123-AF29-4244-8BD9-F502264DA3AA}"/>
                    </a:ext>
                  </a:extLst>
                </p14:cNvPr>
                <p14:cNvContentPartPr/>
                <p14:nvPr/>
              </p14:nvContentPartPr>
              <p14:xfrm>
                <a:off x="4088649" y="388602"/>
                <a:ext cx="134280" cy="22464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CE7F6123-AF29-4244-8BD9-F502264DA3AA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4071009" y="370962"/>
                  <a:ext cx="169920" cy="260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1AEFFCB-C34B-453C-9A2E-2D6740A5465A}"/>
              </a:ext>
            </a:extLst>
          </p:cNvPr>
          <p:cNvGrpSpPr/>
          <p:nvPr/>
        </p:nvGrpSpPr>
        <p:grpSpPr>
          <a:xfrm>
            <a:off x="4431369" y="328482"/>
            <a:ext cx="1760760" cy="464760"/>
            <a:chOff x="4431369" y="328482"/>
            <a:chExt cx="1760760" cy="464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C149D882-CAC3-4038-AAC9-B8D65DC03B6D}"/>
                    </a:ext>
                  </a:extLst>
                </p14:cNvPr>
                <p14:cNvContentPartPr/>
                <p14:nvPr/>
              </p14:nvContentPartPr>
              <p14:xfrm>
                <a:off x="4431369" y="407322"/>
                <a:ext cx="141840" cy="27288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C149D882-CAC3-4038-AAC9-B8D65DC03B6D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4413729" y="389322"/>
                  <a:ext cx="177480" cy="30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BF517166-298E-4253-9A58-BCDC7DB7B40C}"/>
                    </a:ext>
                  </a:extLst>
                </p14:cNvPr>
                <p14:cNvContentPartPr/>
                <p14:nvPr/>
              </p14:nvContentPartPr>
              <p14:xfrm>
                <a:off x="4650249" y="450162"/>
                <a:ext cx="19800" cy="15192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BF517166-298E-4253-9A58-BCDC7DB7B40C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4632249" y="432162"/>
                  <a:ext cx="55440" cy="18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52378589-1F89-43C3-AB57-505426912670}"/>
                    </a:ext>
                  </a:extLst>
                </p14:cNvPr>
                <p14:cNvContentPartPr/>
                <p14:nvPr/>
              </p14:nvContentPartPr>
              <p14:xfrm>
                <a:off x="4666449" y="371682"/>
                <a:ext cx="21960" cy="3096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52378589-1F89-43C3-AB57-505426912670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4648809" y="354042"/>
                  <a:ext cx="576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B4A86319-AE5A-4CDA-AF35-F8E060697A96}"/>
                    </a:ext>
                  </a:extLst>
                </p14:cNvPr>
                <p14:cNvContentPartPr/>
                <p14:nvPr/>
              </p14:nvContentPartPr>
              <p14:xfrm>
                <a:off x="4747449" y="404802"/>
                <a:ext cx="408600" cy="19332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B4A86319-AE5A-4CDA-AF35-F8E060697A96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4729449" y="386802"/>
                  <a:ext cx="444240" cy="22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2F202B3A-C0B7-4888-9545-7D7D6EDB240D}"/>
                    </a:ext>
                  </a:extLst>
                </p14:cNvPr>
                <p14:cNvContentPartPr/>
                <p14:nvPr/>
              </p14:nvContentPartPr>
              <p14:xfrm>
                <a:off x="5091969" y="373122"/>
                <a:ext cx="260640" cy="27000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2F202B3A-C0B7-4888-9545-7D7D6EDB240D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5074329" y="355482"/>
                  <a:ext cx="296280" cy="305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5500F0D3-C3FC-4CCD-A9DA-20FD54C82F5F}"/>
                    </a:ext>
                  </a:extLst>
                </p14:cNvPr>
                <p14:cNvContentPartPr/>
                <p14:nvPr/>
              </p14:nvContentPartPr>
              <p14:xfrm>
                <a:off x="5439009" y="502362"/>
                <a:ext cx="135000" cy="11592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5500F0D3-C3FC-4CCD-A9DA-20FD54C82F5F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5421009" y="484362"/>
                  <a:ext cx="170640" cy="15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81AF314D-8364-4E7A-9489-C2DB616204B7}"/>
                    </a:ext>
                  </a:extLst>
                </p14:cNvPr>
                <p14:cNvContentPartPr/>
                <p14:nvPr/>
              </p14:nvContentPartPr>
              <p14:xfrm>
                <a:off x="5666889" y="466002"/>
                <a:ext cx="162720" cy="7848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81AF314D-8364-4E7A-9489-C2DB616204B7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5648889" y="448362"/>
                  <a:ext cx="198360" cy="114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EA1538A7-2130-4552-BB24-F9081283F35A}"/>
                    </a:ext>
                  </a:extLst>
                </p14:cNvPr>
                <p14:cNvContentPartPr/>
                <p14:nvPr/>
              </p14:nvContentPartPr>
              <p14:xfrm>
                <a:off x="5741049" y="328482"/>
                <a:ext cx="227880" cy="27432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EA1538A7-2130-4552-BB24-F9081283F35A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5723409" y="310842"/>
                  <a:ext cx="263520" cy="30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FB90D159-1475-4901-830D-108663EED523}"/>
                    </a:ext>
                  </a:extLst>
                </p14:cNvPr>
                <p14:cNvContentPartPr/>
                <p14:nvPr/>
              </p14:nvContentPartPr>
              <p14:xfrm>
                <a:off x="5943729" y="478242"/>
                <a:ext cx="248400" cy="31500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FB90D159-1475-4901-830D-108663EED523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5926089" y="460602"/>
                  <a:ext cx="284040" cy="350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05EBF7E-0997-4394-BD4A-706DA1C5EF7D}"/>
              </a:ext>
            </a:extLst>
          </p:cNvPr>
          <p:cNvGrpSpPr/>
          <p:nvPr/>
        </p:nvGrpSpPr>
        <p:grpSpPr>
          <a:xfrm>
            <a:off x="6575889" y="459882"/>
            <a:ext cx="399600" cy="125280"/>
            <a:chOff x="6575889" y="459882"/>
            <a:chExt cx="399600" cy="125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293A402E-6949-4891-AAD5-6BB90B9292C4}"/>
                    </a:ext>
                  </a:extLst>
                </p14:cNvPr>
                <p14:cNvContentPartPr/>
                <p14:nvPr/>
              </p14:nvContentPartPr>
              <p14:xfrm>
                <a:off x="6575889" y="469602"/>
                <a:ext cx="95400" cy="11556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293A402E-6949-4891-AAD5-6BB90B9292C4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6557889" y="451962"/>
                  <a:ext cx="131040" cy="15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6928F603-6EB9-4FDD-BE8D-CA9DDCD2072B}"/>
                    </a:ext>
                  </a:extLst>
                </p14:cNvPr>
                <p14:cNvContentPartPr/>
                <p14:nvPr/>
              </p14:nvContentPartPr>
              <p14:xfrm>
                <a:off x="6813849" y="459882"/>
                <a:ext cx="161640" cy="9540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6928F603-6EB9-4FDD-BE8D-CA9DDCD2072B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6795849" y="442242"/>
                  <a:ext cx="197280" cy="1310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4982FF3-536C-4439-BD62-8D99F6C7B756}"/>
              </a:ext>
            </a:extLst>
          </p:cNvPr>
          <p:cNvGrpSpPr/>
          <p:nvPr/>
        </p:nvGrpSpPr>
        <p:grpSpPr>
          <a:xfrm>
            <a:off x="7271769" y="304002"/>
            <a:ext cx="1913040" cy="306720"/>
            <a:chOff x="7271769" y="304002"/>
            <a:chExt cx="1913040" cy="306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E52A9F64-D1E3-4900-8D35-67CCEFF9835B}"/>
                    </a:ext>
                  </a:extLst>
                </p14:cNvPr>
                <p14:cNvContentPartPr/>
                <p14:nvPr/>
              </p14:nvContentPartPr>
              <p14:xfrm>
                <a:off x="7271769" y="387882"/>
                <a:ext cx="285120" cy="20016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E52A9F64-D1E3-4900-8D35-67CCEFF9835B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7253769" y="370242"/>
                  <a:ext cx="320760" cy="23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560815FC-405A-4553-B7EF-0F1769347AB0}"/>
                    </a:ext>
                  </a:extLst>
                </p14:cNvPr>
                <p14:cNvContentPartPr/>
                <p14:nvPr/>
              </p14:nvContentPartPr>
              <p14:xfrm>
                <a:off x="7485969" y="304002"/>
                <a:ext cx="306000" cy="29196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560815FC-405A-4553-B7EF-0F1769347AB0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7468329" y="286002"/>
                  <a:ext cx="341640" cy="32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A3F3E912-5A49-4622-BDD0-A9C2DA764D16}"/>
                    </a:ext>
                  </a:extLst>
                </p14:cNvPr>
                <p14:cNvContentPartPr/>
                <p14:nvPr/>
              </p14:nvContentPartPr>
              <p14:xfrm>
                <a:off x="7708089" y="307242"/>
                <a:ext cx="262440" cy="28296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A3F3E912-5A49-4622-BDD0-A9C2DA764D16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7690449" y="289242"/>
                  <a:ext cx="298080" cy="31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DB3A0A42-2B67-45FA-B267-4BD8E0EFAA0A}"/>
                    </a:ext>
                  </a:extLst>
                </p14:cNvPr>
                <p14:cNvContentPartPr/>
                <p14:nvPr/>
              </p14:nvContentPartPr>
              <p14:xfrm>
                <a:off x="7879449" y="449442"/>
                <a:ext cx="938520" cy="16128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DB3A0A42-2B67-45FA-B267-4BD8E0EFAA0A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7861449" y="431802"/>
                  <a:ext cx="974160" cy="196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A12B9D05-1762-4F5F-BF73-A8BBA68793A7}"/>
                    </a:ext>
                  </a:extLst>
                </p14:cNvPr>
                <p14:cNvContentPartPr/>
                <p14:nvPr/>
              </p14:nvContentPartPr>
              <p14:xfrm>
                <a:off x="8913729" y="480402"/>
                <a:ext cx="271080" cy="11520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A12B9D05-1762-4F5F-BF73-A8BBA68793A7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8895729" y="462762"/>
                  <a:ext cx="306720" cy="150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50A5FAA-266A-448D-8E0E-5A011C05BB86}"/>
              </a:ext>
            </a:extLst>
          </p:cNvPr>
          <p:cNvGrpSpPr/>
          <p:nvPr/>
        </p:nvGrpSpPr>
        <p:grpSpPr>
          <a:xfrm>
            <a:off x="1641729" y="5325642"/>
            <a:ext cx="3331080" cy="428040"/>
            <a:chOff x="1641729" y="5325642"/>
            <a:chExt cx="3331080" cy="4280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C6198ED5-D290-40E4-99DD-2C167B5F94D1}"/>
                    </a:ext>
                  </a:extLst>
                </p14:cNvPr>
                <p14:cNvContentPartPr/>
                <p14:nvPr/>
              </p14:nvContentPartPr>
              <p14:xfrm>
                <a:off x="1853769" y="5357682"/>
                <a:ext cx="46800" cy="31896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C6198ED5-D290-40E4-99DD-2C167B5F94D1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1836129" y="5339682"/>
                  <a:ext cx="82440" cy="35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BA843F49-CF55-4690-B88B-F1C302F32EAB}"/>
                    </a:ext>
                  </a:extLst>
                </p14:cNvPr>
                <p14:cNvContentPartPr/>
                <p14:nvPr/>
              </p14:nvContentPartPr>
              <p14:xfrm>
                <a:off x="1641729" y="5388282"/>
                <a:ext cx="533880" cy="25632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BA843F49-CF55-4690-B88B-F1C302F32EAB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1623729" y="5370642"/>
                  <a:ext cx="569520" cy="29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7E0E969B-0056-455B-844F-36BEC720F5B1}"/>
                    </a:ext>
                  </a:extLst>
                </p14:cNvPr>
                <p14:cNvContentPartPr/>
                <p14:nvPr/>
              </p14:nvContentPartPr>
              <p14:xfrm>
                <a:off x="2194689" y="5505282"/>
                <a:ext cx="113400" cy="11736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7E0E969B-0056-455B-844F-36BEC720F5B1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2177049" y="5487642"/>
                  <a:ext cx="149040" cy="15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97923DBA-82BF-4F52-BC3F-112F878A5C0F}"/>
                    </a:ext>
                  </a:extLst>
                </p14:cNvPr>
                <p14:cNvContentPartPr/>
                <p14:nvPr/>
              </p14:nvContentPartPr>
              <p14:xfrm>
                <a:off x="2794449" y="5347962"/>
                <a:ext cx="55800" cy="34380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97923DBA-82BF-4F52-BC3F-112F878A5C0F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2776809" y="5330322"/>
                  <a:ext cx="91440" cy="379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BA957F43-7530-4DE2-8862-9C34A67A13DE}"/>
                    </a:ext>
                  </a:extLst>
                </p14:cNvPr>
                <p14:cNvContentPartPr/>
                <p14:nvPr/>
              </p14:nvContentPartPr>
              <p14:xfrm>
                <a:off x="2583489" y="5419962"/>
                <a:ext cx="351000" cy="2772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BA957F43-7530-4DE2-8862-9C34A67A13DE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2565849" y="5401962"/>
                  <a:ext cx="386640" cy="6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21979123-5805-4C67-B43B-B4F05EBEF921}"/>
                    </a:ext>
                  </a:extLst>
                </p14:cNvPr>
                <p14:cNvContentPartPr/>
                <p14:nvPr/>
              </p14:nvContentPartPr>
              <p14:xfrm>
                <a:off x="2926929" y="5425722"/>
                <a:ext cx="427680" cy="16956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21979123-5805-4C67-B43B-B4F05EBEF921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2909289" y="5407722"/>
                  <a:ext cx="463320" cy="20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DBD92ECD-FADA-4612-B4A9-288A2B54AE9C}"/>
                    </a:ext>
                  </a:extLst>
                </p14:cNvPr>
                <p14:cNvContentPartPr/>
                <p14:nvPr/>
              </p14:nvContentPartPr>
              <p14:xfrm>
                <a:off x="3280449" y="5360562"/>
                <a:ext cx="10440" cy="3096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DBD92ECD-FADA-4612-B4A9-288A2B54AE9C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3262449" y="5342922"/>
                  <a:ext cx="4608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013C1B60-54E6-46AC-9A50-C567CC4159E7}"/>
                    </a:ext>
                  </a:extLst>
                </p14:cNvPr>
                <p14:cNvContentPartPr/>
                <p14:nvPr/>
              </p14:nvContentPartPr>
              <p14:xfrm>
                <a:off x="3406089" y="5433282"/>
                <a:ext cx="286200" cy="15912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013C1B60-54E6-46AC-9A50-C567CC4159E7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3388449" y="5415642"/>
                  <a:ext cx="321840" cy="194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5DCE1C10-0E41-43D6-A9B5-9E3071089D1E}"/>
                    </a:ext>
                  </a:extLst>
                </p14:cNvPr>
                <p14:cNvContentPartPr/>
                <p14:nvPr/>
              </p14:nvContentPartPr>
              <p14:xfrm>
                <a:off x="3642969" y="5353722"/>
                <a:ext cx="11880" cy="2556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5DCE1C10-0E41-43D6-A9B5-9E3071089D1E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3624969" y="5335722"/>
                  <a:ext cx="47520" cy="6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864EC4AA-6B28-4EA6-ABE0-6C314E26FAC0}"/>
                    </a:ext>
                  </a:extLst>
                </p14:cNvPr>
                <p14:cNvContentPartPr/>
                <p14:nvPr/>
              </p14:nvContentPartPr>
              <p14:xfrm>
                <a:off x="3748449" y="5396922"/>
                <a:ext cx="370800" cy="356760"/>
              </p14:xfrm>
            </p:contentPart>
          </mc:Choice>
          <mc:Fallback xmlns=""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864EC4AA-6B28-4EA6-ABE0-6C314E26FAC0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3730809" y="5379282"/>
                  <a:ext cx="406440" cy="39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0C4FAD3B-B5D2-415A-BC2A-31C9B744E13F}"/>
                    </a:ext>
                  </a:extLst>
                </p14:cNvPr>
                <p14:cNvContentPartPr/>
                <p14:nvPr/>
              </p14:nvContentPartPr>
              <p14:xfrm>
                <a:off x="4302849" y="5325642"/>
                <a:ext cx="511560" cy="291600"/>
              </p14:xfrm>
            </p:contentPart>
          </mc:Choice>
          <mc:Fallback xmlns=""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0C4FAD3B-B5D2-415A-BC2A-31C9B744E13F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4284849" y="5308002"/>
                  <a:ext cx="547200" cy="327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0CC6CD91-9BA9-4159-88E8-14C56412F91E}"/>
                    </a:ext>
                  </a:extLst>
                </p14:cNvPr>
                <p14:cNvContentPartPr/>
                <p14:nvPr/>
              </p14:nvContentPartPr>
              <p14:xfrm>
                <a:off x="4752489" y="5449482"/>
                <a:ext cx="220320" cy="171000"/>
              </p14:xfrm>
            </p:contentPart>
          </mc:Choice>
          <mc:Fallback xmlns=""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0CC6CD91-9BA9-4159-88E8-14C56412F91E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4734489" y="5431482"/>
                  <a:ext cx="255960" cy="206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BF82F238-37CF-4BF7-ADD6-2BF8AFA2B573}"/>
              </a:ext>
            </a:extLst>
          </p:cNvPr>
          <p:cNvGrpSpPr/>
          <p:nvPr/>
        </p:nvGrpSpPr>
        <p:grpSpPr>
          <a:xfrm>
            <a:off x="5287449" y="5341482"/>
            <a:ext cx="1494720" cy="304200"/>
            <a:chOff x="5287449" y="5341482"/>
            <a:chExt cx="1494720" cy="3042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B742E123-10DB-4B67-9F15-D3F451B080CC}"/>
                    </a:ext>
                  </a:extLst>
                </p14:cNvPr>
                <p14:cNvContentPartPr/>
                <p14:nvPr/>
              </p14:nvContentPartPr>
              <p14:xfrm>
                <a:off x="5287449" y="5373162"/>
                <a:ext cx="403200" cy="241560"/>
              </p14:xfrm>
            </p:contentPart>
          </mc:Choice>
          <mc:Fallback xmlns=""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B742E123-10DB-4B67-9F15-D3F451B080CC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5269449" y="5355522"/>
                  <a:ext cx="438840" cy="277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4707FEA2-C3E8-4E39-8F24-112B507CD1F0}"/>
                    </a:ext>
                  </a:extLst>
                </p14:cNvPr>
                <p14:cNvContentPartPr/>
                <p14:nvPr/>
              </p14:nvContentPartPr>
              <p14:xfrm>
                <a:off x="5703249" y="5455962"/>
                <a:ext cx="238680" cy="189720"/>
              </p14:xfrm>
            </p:contentPart>
          </mc:Choice>
          <mc:Fallback xmlns=""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4707FEA2-C3E8-4E39-8F24-112B507CD1F0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5685609" y="5437962"/>
                  <a:ext cx="274320" cy="225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61" name="Ink 60">
                  <a:extLst>
                    <a:ext uri="{FF2B5EF4-FFF2-40B4-BE49-F238E27FC236}">
                      <a16:creationId xmlns:a16="http://schemas.microsoft.com/office/drawing/2014/main" id="{C8F66076-81F8-421D-81E4-12E5D52DEBD3}"/>
                    </a:ext>
                  </a:extLst>
                </p14:cNvPr>
                <p14:cNvContentPartPr/>
                <p14:nvPr/>
              </p14:nvContentPartPr>
              <p14:xfrm>
                <a:off x="6184929" y="5441922"/>
                <a:ext cx="368280" cy="138600"/>
              </p14:xfrm>
            </p:contentPart>
          </mc:Choice>
          <mc:Fallback xmlns="">
            <p:pic>
              <p:nvPicPr>
                <p:cNvPr id="61" name="Ink 60">
                  <a:extLst>
                    <a:ext uri="{FF2B5EF4-FFF2-40B4-BE49-F238E27FC236}">
                      <a16:creationId xmlns:a16="http://schemas.microsoft.com/office/drawing/2014/main" id="{C8F66076-81F8-421D-81E4-12E5D52DEBD3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6167289" y="5423922"/>
                  <a:ext cx="403920" cy="17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4EBAE53E-D36C-4AA0-BD5D-EA7844BBE884}"/>
                    </a:ext>
                  </a:extLst>
                </p14:cNvPr>
                <p14:cNvContentPartPr/>
                <p14:nvPr/>
              </p14:nvContentPartPr>
              <p14:xfrm>
                <a:off x="6691089" y="5341482"/>
                <a:ext cx="81000" cy="262080"/>
              </p14:xfrm>
            </p:contentPart>
          </mc:Choice>
          <mc:Fallback xmlns=""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4EBAE53E-D36C-4AA0-BD5D-EA7844BBE884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6673449" y="5323842"/>
                  <a:ext cx="116640" cy="29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6FEE82F7-8D6A-4FB4-9F7B-624376AC209D}"/>
                    </a:ext>
                  </a:extLst>
                </p14:cNvPr>
                <p14:cNvContentPartPr/>
                <p14:nvPr/>
              </p14:nvContentPartPr>
              <p14:xfrm>
                <a:off x="6656529" y="5443002"/>
                <a:ext cx="125640" cy="50400"/>
              </p14:xfrm>
            </p:contentPart>
          </mc:Choice>
          <mc:Fallback xmlns=""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6FEE82F7-8D6A-4FB4-9F7B-624376AC209D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6638529" y="5425002"/>
                  <a:ext cx="161280" cy="860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92">
            <p14:nvContentPartPr>
              <p14:cNvPr id="66" name="Ink 65">
                <a:extLst>
                  <a:ext uri="{FF2B5EF4-FFF2-40B4-BE49-F238E27FC236}">
                    <a16:creationId xmlns:a16="http://schemas.microsoft.com/office/drawing/2014/main" id="{35561BC9-006B-4130-9AAF-AF864C9B36F7}"/>
                  </a:ext>
                </a:extLst>
              </p14:cNvPr>
              <p14:cNvContentPartPr/>
              <p14:nvPr/>
            </p14:nvContentPartPr>
            <p14:xfrm>
              <a:off x="7212369" y="5414562"/>
              <a:ext cx="4320" cy="139320"/>
            </p14:xfrm>
          </p:contentPart>
        </mc:Choice>
        <mc:Fallback xmlns="">
          <p:pic>
            <p:nvPicPr>
              <p:cNvPr id="66" name="Ink 65">
                <a:extLst>
                  <a:ext uri="{FF2B5EF4-FFF2-40B4-BE49-F238E27FC236}">
                    <a16:creationId xmlns:a16="http://schemas.microsoft.com/office/drawing/2014/main" id="{35561BC9-006B-4130-9AAF-AF864C9B36F7}"/>
                  </a:ext>
                </a:extLst>
              </p:cNvPr>
              <p:cNvPicPr/>
              <p:nvPr/>
            </p:nvPicPr>
            <p:blipFill>
              <a:blip r:embed="rId93"/>
              <a:stretch>
                <a:fillRect/>
              </a:stretch>
            </p:blipFill>
            <p:spPr>
              <a:xfrm>
                <a:off x="7194369" y="5396922"/>
                <a:ext cx="39960" cy="174960"/>
              </a:xfrm>
              <a:prstGeom prst="rect">
                <a:avLst/>
              </a:prstGeom>
            </p:spPr>
          </p:pic>
        </mc:Fallback>
      </mc:AlternateContent>
      <p:grpSp>
        <p:nvGrpSpPr>
          <p:cNvPr id="75" name="Group 74">
            <a:extLst>
              <a:ext uri="{FF2B5EF4-FFF2-40B4-BE49-F238E27FC236}">
                <a16:creationId xmlns:a16="http://schemas.microsoft.com/office/drawing/2014/main" id="{B305D826-3757-48D6-8BA7-7E5976749C92}"/>
              </a:ext>
            </a:extLst>
          </p:cNvPr>
          <p:cNvGrpSpPr/>
          <p:nvPr/>
        </p:nvGrpSpPr>
        <p:grpSpPr>
          <a:xfrm>
            <a:off x="7165929" y="5254362"/>
            <a:ext cx="1322640" cy="362880"/>
            <a:chOff x="7165929" y="5254362"/>
            <a:chExt cx="1322640" cy="3628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67C46119-5DBB-4C08-BD73-A7CD45AE79B1}"/>
                    </a:ext>
                  </a:extLst>
                </p14:cNvPr>
                <p14:cNvContentPartPr/>
                <p14:nvPr/>
              </p14:nvContentPartPr>
              <p14:xfrm>
                <a:off x="7165929" y="5254362"/>
                <a:ext cx="20160" cy="2052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67C46119-5DBB-4C08-BD73-A7CD45AE79B1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7147929" y="5236722"/>
                  <a:ext cx="55800" cy="5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BB1E8DDF-154C-4DD7-B738-A9D06D854A2E}"/>
                    </a:ext>
                  </a:extLst>
                </p14:cNvPr>
                <p14:cNvContentPartPr/>
                <p14:nvPr/>
              </p14:nvContentPartPr>
              <p14:xfrm>
                <a:off x="7388409" y="5362722"/>
                <a:ext cx="179280" cy="182880"/>
              </p14:xfrm>
            </p:contentPart>
          </mc:Choice>
          <mc:Fallback xmlns=""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BB1E8DDF-154C-4DD7-B738-A9D06D854A2E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7370769" y="5345082"/>
                  <a:ext cx="214920" cy="21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71" name="Ink 70">
                  <a:extLst>
                    <a:ext uri="{FF2B5EF4-FFF2-40B4-BE49-F238E27FC236}">
                      <a16:creationId xmlns:a16="http://schemas.microsoft.com/office/drawing/2014/main" id="{2844DFC5-35BB-4CFC-866C-8D655F26615C}"/>
                    </a:ext>
                  </a:extLst>
                </p14:cNvPr>
                <p14:cNvContentPartPr/>
                <p14:nvPr/>
              </p14:nvContentPartPr>
              <p14:xfrm>
                <a:off x="7624209" y="5469282"/>
                <a:ext cx="130680" cy="107280"/>
              </p14:xfrm>
            </p:contentPart>
          </mc:Choice>
          <mc:Fallback xmlns="">
            <p:pic>
              <p:nvPicPr>
                <p:cNvPr id="71" name="Ink 70">
                  <a:extLst>
                    <a:ext uri="{FF2B5EF4-FFF2-40B4-BE49-F238E27FC236}">
                      <a16:creationId xmlns:a16="http://schemas.microsoft.com/office/drawing/2014/main" id="{2844DFC5-35BB-4CFC-866C-8D655F26615C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7606209" y="5451282"/>
                  <a:ext cx="166320" cy="14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72" name="Ink 71">
                  <a:extLst>
                    <a:ext uri="{FF2B5EF4-FFF2-40B4-BE49-F238E27FC236}">
                      <a16:creationId xmlns:a16="http://schemas.microsoft.com/office/drawing/2014/main" id="{F13A3D1A-D0AE-43D4-8123-C3166EF5A975}"/>
                    </a:ext>
                  </a:extLst>
                </p14:cNvPr>
                <p14:cNvContentPartPr/>
                <p14:nvPr/>
              </p14:nvContentPartPr>
              <p14:xfrm>
                <a:off x="7750569" y="5373882"/>
                <a:ext cx="33120" cy="243360"/>
              </p14:xfrm>
            </p:contentPart>
          </mc:Choice>
          <mc:Fallback xmlns="">
            <p:pic>
              <p:nvPicPr>
                <p:cNvPr id="72" name="Ink 71">
                  <a:extLst>
                    <a:ext uri="{FF2B5EF4-FFF2-40B4-BE49-F238E27FC236}">
                      <a16:creationId xmlns:a16="http://schemas.microsoft.com/office/drawing/2014/main" id="{F13A3D1A-D0AE-43D4-8123-C3166EF5A975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7732569" y="5355882"/>
                  <a:ext cx="68760" cy="279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73" name="Ink 72">
                  <a:extLst>
                    <a:ext uri="{FF2B5EF4-FFF2-40B4-BE49-F238E27FC236}">
                      <a16:creationId xmlns:a16="http://schemas.microsoft.com/office/drawing/2014/main" id="{CC5D57A8-A0E9-45AD-855B-526E38AC7CEE}"/>
                    </a:ext>
                  </a:extLst>
                </p14:cNvPr>
                <p14:cNvContentPartPr/>
                <p14:nvPr/>
              </p14:nvContentPartPr>
              <p14:xfrm>
                <a:off x="7894569" y="5340402"/>
                <a:ext cx="594000" cy="243720"/>
              </p14:xfrm>
            </p:contentPart>
          </mc:Choice>
          <mc:Fallback xmlns="">
            <p:pic>
              <p:nvPicPr>
                <p:cNvPr id="73" name="Ink 72">
                  <a:extLst>
                    <a:ext uri="{FF2B5EF4-FFF2-40B4-BE49-F238E27FC236}">
                      <a16:creationId xmlns:a16="http://schemas.microsoft.com/office/drawing/2014/main" id="{CC5D57A8-A0E9-45AD-855B-526E38AC7CEE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7876569" y="5322402"/>
                  <a:ext cx="629640" cy="279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4A9FF143-B9D4-4A07-9F73-65313FBC8FDC}"/>
              </a:ext>
            </a:extLst>
          </p:cNvPr>
          <p:cNvGrpSpPr/>
          <p:nvPr/>
        </p:nvGrpSpPr>
        <p:grpSpPr>
          <a:xfrm>
            <a:off x="8762169" y="5298282"/>
            <a:ext cx="2199600" cy="477720"/>
            <a:chOff x="8762169" y="5298282"/>
            <a:chExt cx="2199600" cy="477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76" name="Ink 75">
                  <a:extLst>
                    <a:ext uri="{FF2B5EF4-FFF2-40B4-BE49-F238E27FC236}">
                      <a16:creationId xmlns:a16="http://schemas.microsoft.com/office/drawing/2014/main" id="{B7AE21BD-6BD4-4182-B365-0917BB37482E}"/>
                    </a:ext>
                  </a:extLst>
                </p14:cNvPr>
                <p14:cNvContentPartPr/>
                <p14:nvPr/>
              </p14:nvContentPartPr>
              <p14:xfrm>
                <a:off x="8762169" y="5404122"/>
                <a:ext cx="171360" cy="177120"/>
              </p14:xfrm>
            </p:contentPart>
          </mc:Choice>
          <mc:Fallback xmlns="">
            <p:pic>
              <p:nvPicPr>
                <p:cNvPr id="76" name="Ink 75">
                  <a:extLst>
                    <a:ext uri="{FF2B5EF4-FFF2-40B4-BE49-F238E27FC236}">
                      <a16:creationId xmlns:a16="http://schemas.microsoft.com/office/drawing/2014/main" id="{B7AE21BD-6BD4-4182-B365-0917BB37482E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8744529" y="5386122"/>
                  <a:ext cx="207000" cy="21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77" name="Ink 76">
                  <a:extLst>
                    <a:ext uri="{FF2B5EF4-FFF2-40B4-BE49-F238E27FC236}">
                      <a16:creationId xmlns:a16="http://schemas.microsoft.com/office/drawing/2014/main" id="{F5DBCB91-5E53-4D5A-9C86-627812B3FF45}"/>
                    </a:ext>
                  </a:extLst>
                </p14:cNvPr>
                <p14:cNvContentPartPr/>
                <p14:nvPr/>
              </p14:nvContentPartPr>
              <p14:xfrm>
                <a:off x="8996529" y="5462082"/>
                <a:ext cx="433440" cy="313920"/>
              </p14:xfrm>
            </p:contentPart>
          </mc:Choice>
          <mc:Fallback xmlns="">
            <p:pic>
              <p:nvPicPr>
                <p:cNvPr id="77" name="Ink 76">
                  <a:extLst>
                    <a:ext uri="{FF2B5EF4-FFF2-40B4-BE49-F238E27FC236}">
                      <a16:creationId xmlns:a16="http://schemas.microsoft.com/office/drawing/2014/main" id="{F5DBCB91-5E53-4D5A-9C86-627812B3FF45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8978529" y="5444442"/>
                  <a:ext cx="469080" cy="34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78" name="Ink 77">
                  <a:extLst>
                    <a:ext uri="{FF2B5EF4-FFF2-40B4-BE49-F238E27FC236}">
                      <a16:creationId xmlns:a16="http://schemas.microsoft.com/office/drawing/2014/main" id="{0EEEF843-87AE-452B-8A20-B344AEBC5081}"/>
                    </a:ext>
                  </a:extLst>
                </p14:cNvPr>
                <p14:cNvContentPartPr/>
                <p14:nvPr/>
              </p14:nvContentPartPr>
              <p14:xfrm>
                <a:off x="9398649" y="5435802"/>
                <a:ext cx="420840" cy="189360"/>
              </p14:xfrm>
            </p:contentPart>
          </mc:Choice>
          <mc:Fallback xmlns="">
            <p:pic>
              <p:nvPicPr>
                <p:cNvPr id="78" name="Ink 77">
                  <a:extLst>
                    <a:ext uri="{FF2B5EF4-FFF2-40B4-BE49-F238E27FC236}">
                      <a16:creationId xmlns:a16="http://schemas.microsoft.com/office/drawing/2014/main" id="{0EEEF843-87AE-452B-8A20-B344AEBC5081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9380649" y="5418162"/>
                  <a:ext cx="456480" cy="22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79" name="Ink 78">
                  <a:extLst>
                    <a:ext uri="{FF2B5EF4-FFF2-40B4-BE49-F238E27FC236}">
                      <a16:creationId xmlns:a16="http://schemas.microsoft.com/office/drawing/2014/main" id="{7E8C7FBC-AFF1-4F64-B7B7-44B551AFA9DF}"/>
                    </a:ext>
                  </a:extLst>
                </p14:cNvPr>
                <p14:cNvContentPartPr/>
                <p14:nvPr/>
              </p14:nvContentPartPr>
              <p14:xfrm>
                <a:off x="9961689" y="5416722"/>
                <a:ext cx="23400" cy="209880"/>
              </p14:xfrm>
            </p:contentPart>
          </mc:Choice>
          <mc:Fallback xmlns="">
            <p:pic>
              <p:nvPicPr>
                <p:cNvPr id="79" name="Ink 78">
                  <a:extLst>
                    <a:ext uri="{FF2B5EF4-FFF2-40B4-BE49-F238E27FC236}">
                      <a16:creationId xmlns:a16="http://schemas.microsoft.com/office/drawing/2014/main" id="{7E8C7FBC-AFF1-4F64-B7B7-44B551AFA9DF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9943689" y="5398722"/>
                  <a:ext cx="59040" cy="24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81" name="Ink 80">
                  <a:extLst>
                    <a:ext uri="{FF2B5EF4-FFF2-40B4-BE49-F238E27FC236}">
                      <a16:creationId xmlns:a16="http://schemas.microsoft.com/office/drawing/2014/main" id="{B85A25D3-E358-4303-B1F7-A46C6A787695}"/>
                    </a:ext>
                  </a:extLst>
                </p14:cNvPr>
                <p14:cNvContentPartPr/>
                <p14:nvPr/>
              </p14:nvContentPartPr>
              <p14:xfrm>
                <a:off x="10233489" y="5298282"/>
                <a:ext cx="728280" cy="313560"/>
              </p14:xfrm>
            </p:contentPart>
          </mc:Choice>
          <mc:Fallback xmlns="">
            <p:pic>
              <p:nvPicPr>
                <p:cNvPr id="81" name="Ink 80">
                  <a:extLst>
                    <a:ext uri="{FF2B5EF4-FFF2-40B4-BE49-F238E27FC236}">
                      <a16:creationId xmlns:a16="http://schemas.microsoft.com/office/drawing/2014/main" id="{B85A25D3-E358-4303-B1F7-A46C6A787695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0215489" y="5280642"/>
                  <a:ext cx="763920" cy="349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16F1710-E317-4664-8A1D-AFD95D81C278}"/>
              </a:ext>
            </a:extLst>
          </p:cNvPr>
          <p:cNvGrpSpPr/>
          <p:nvPr/>
        </p:nvGrpSpPr>
        <p:grpSpPr>
          <a:xfrm>
            <a:off x="11238609" y="5275602"/>
            <a:ext cx="426600" cy="259920"/>
            <a:chOff x="11238609" y="5275602"/>
            <a:chExt cx="426600" cy="259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4">
              <p14:nvContentPartPr>
                <p14:cNvPr id="83" name="Ink 82">
                  <a:extLst>
                    <a:ext uri="{FF2B5EF4-FFF2-40B4-BE49-F238E27FC236}">
                      <a16:creationId xmlns:a16="http://schemas.microsoft.com/office/drawing/2014/main" id="{AA7A9B74-AB6E-4043-88E0-C44893E846CE}"/>
                    </a:ext>
                  </a:extLst>
                </p14:cNvPr>
                <p14:cNvContentPartPr/>
                <p14:nvPr/>
              </p14:nvContentPartPr>
              <p14:xfrm>
                <a:off x="11238609" y="5275602"/>
                <a:ext cx="190080" cy="259920"/>
              </p14:xfrm>
            </p:contentPart>
          </mc:Choice>
          <mc:Fallback xmlns="">
            <p:pic>
              <p:nvPicPr>
                <p:cNvPr id="83" name="Ink 82">
                  <a:extLst>
                    <a:ext uri="{FF2B5EF4-FFF2-40B4-BE49-F238E27FC236}">
                      <a16:creationId xmlns:a16="http://schemas.microsoft.com/office/drawing/2014/main" id="{AA7A9B74-AB6E-4043-88E0-C44893E846CE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11220969" y="5257962"/>
                  <a:ext cx="225720" cy="29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6">
              <p14:nvContentPartPr>
                <p14:cNvPr id="84" name="Ink 83">
                  <a:extLst>
                    <a:ext uri="{FF2B5EF4-FFF2-40B4-BE49-F238E27FC236}">
                      <a16:creationId xmlns:a16="http://schemas.microsoft.com/office/drawing/2014/main" id="{722C9CFC-3A29-45F8-AE4A-812AF1682E8C}"/>
                    </a:ext>
                  </a:extLst>
                </p14:cNvPr>
                <p14:cNvContentPartPr/>
                <p14:nvPr/>
              </p14:nvContentPartPr>
              <p14:xfrm>
                <a:off x="11531649" y="5394402"/>
                <a:ext cx="133560" cy="104040"/>
              </p14:xfrm>
            </p:contentPart>
          </mc:Choice>
          <mc:Fallback xmlns="">
            <p:pic>
              <p:nvPicPr>
                <p:cNvPr id="84" name="Ink 83">
                  <a:extLst>
                    <a:ext uri="{FF2B5EF4-FFF2-40B4-BE49-F238E27FC236}">
                      <a16:creationId xmlns:a16="http://schemas.microsoft.com/office/drawing/2014/main" id="{722C9CFC-3A29-45F8-AE4A-812AF1682E8C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11514009" y="5376402"/>
                  <a:ext cx="169200" cy="139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C464D7E7-C551-4621-9079-D26418C854B0}"/>
              </a:ext>
            </a:extLst>
          </p:cNvPr>
          <p:cNvGrpSpPr/>
          <p:nvPr/>
        </p:nvGrpSpPr>
        <p:grpSpPr>
          <a:xfrm>
            <a:off x="490089" y="5868882"/>
            <a:ext cx="4423680" cy="403920"/>
            <a:chOff x="490089" y="5868882"/>
            <a:chExt cx="4423680" cy="403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8">
              <p14:nvContentPartPr>
                <p14:cNvPr id="86" name="Ink 85">
                  <a:extLst>
                    <a:ext uri="{FF2B5EF4-FFF2-40B4-BE49-F238E27FC236}">
                      <a16:creationId xmlns:a16="http://schemas.microsoft.com/office/drawing/2014/main" id="{A211DC37-FD5B-44FF-87F7-E7F555481328}"/>
                    </a:ext>
                  </a:extLst>
                </p14:cNvPr>
                <p14:cNvContentPartPr/>
                <p14:nvPr/>
              </p14:nvContentPartPr>
              <p14:xfrm>
                <a:off x="490089" y="5929002"/>
                <a:ext cx="251640" cy="171000"/>
              </p14:xfrm>
            </p:contentPart>
          </mc:Choice>
          <mc:Fallback xmlns="">
            <p:pic>
              <p:nvPicPr>
                <p:cNvPr id="86" name="Ink 85">
                  <a:extLst>
                    <a:ext uri="{FF2B5EF4-FFF2-40B4-BE49-F238E27FC236}">
                      <a16:creationId xmlns:a16="http://schemas.microsoft.com/office/drawing/2014/main" id="{A211DC37-FD5B-44FF-87F7-E7F555481328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472449" y="5911002"/>
                  <a:ext cx="287280" cy="206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0">
              <p14:nvContentPartPr>
                <p14:cNvPr id="87" name="Ink 86">
                  <a:extLst>
                    <a:ext uri="{FF2B5EF4-FFF2-40B4-BE49-F238E27FC236}">
                      <a16:creationId xmlns:a16="http://schemas.microsoft.com/office/drawing/2014/main" id="{EEB109E8-7428-4B91-9328-206C71D1FB4E}"/>
                    </a:ext>
                  </a:extLst>
                </p14:cNvPr>
                <p14:cNvContentPartPr/>
                <p14:nvPr/>
              </p14:nvContentPartPr>
              <p14:xfrm>
                <a:off x="841089" y="5905962"/>
                <a:ext cx="335520" cy="223920"/>
              </p14:xfrm>
            </p:contentPart>
          </mc:Choice>
          <mc:Fallback xmlns="">
            <p:pic>
              <p:nvPicPr>
                <p:cNvPr id="87" name="Ink 86">
                  <a:extLst>
                    <a:ext uri="{FF2B5EF4-FFF2-40B4-BE49-F238E27FC236}">
                      <a16:creationId xmlns:a16="http://schemas.microsoft.com/office/drawing/2014/main" id="{EEB109E8-7428-4B91-9328-206C71D1FB4E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823089" y="5887962"/>
                  <a:ext cx="371160" cy="25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2">
              <p14:nvContentPartPr>
                <p14:cNvPr id="88" name="Ink 87">
                  <a:extLst>
                    <a:ext uri="{FF2B5EF4-FFF2-40B4-BE49-F238E27FC236}">
                      <a16:creationId xmlns:a16="http://schemas.microsoft.com/office/drawing/2014/main" id="{4ACD65DC-6356-4309-B654-B77A7564D080}"/>
                    </a:ext>
                  </a:extLst>
                </p14:cNvPr>
                <p14:cNvContentPartPr/>
                <p14:nvPr/>
              </p14:nvContentPartPr>
              <p14:xfrm>
                <a:off x="1096329" y="5875722"/>
                <a:ext cx="186480" cy="243720"/>
              </p14:xfrm>
            </p:contentPart>
          </mc:Choice>
          <mc:Fallback xmlns="">
            <p:pic>
              <p:nvPicPr>
                <p:cNvPr id="88" name="Ink 87">
                  <a:extLst>
                    <a:ext uri="{FF2B5EF4-FFF2-40B4-BE49-F238E27FC236}">
                      <a16:creationId xmlns:a16="http://schemas.microsoft.com/office/drawing/2014/main" id="{4ACD65DC-6356-4309-B654-B77A7564D080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1078689" y="5858082"/>
                  <a:ext cx="222120" cy="27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89" name="Ink 88">
                  <a:extLst>
                    <a:ext uri="{FF2B5EF4-FFF2-40B4-BE49-F238E27FC236}">
                      <a16:creationId xmlns:a16="http://schemas.microsoft.com/office/drawing/2014/main" id="{1F6BF203-452B-4F5D-B5E6-F6882670C5C5}"/>
                    </a:ext>
                  </a:extLst>
                </p14:cNvPr>
                <p14:cNvContentPartPr/>
                <p14:nvPr/>
              </p14:nvContentPartPr>
              <p14:xfrm>
                <a:off x="1384329" y="5995962"/>
                <a:ext cx="176040" cy="121320"/>
              </p14:xfrm>
            </p:contentPart>
          </mc:Choice>
          <mc:Fallback xmlns="">
            <p:pic>
              <p:nvPicPr>
                <p:cNvPr id="89" name="Ink 88">
                  <a:extLst>
                    <a:ext uri="{FF2B5EF4-FFF2-40B4-BE49-F238E27FC236}">
                      <a16:creationId xmlns:a16="http://schemas.microsoft.com/office/drawing/2014/main" id="{1F6BF203-452B-4F5D-B5E6-F6882670C5C5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1366689" y="5978322"/>
                  <a:ext cx="211680" cy="156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90" name="Ink 89">
                  <a:extLst>
                    <a:ext uri="{FF2B5EF4-FFF2-40B4-BE49-F238E27FC236}">
                      <a16:creationId xmlns:a16="http://schemas.microsoft.com/office/drawing/2014/main" id="{EE546691-65C9-4BBD-AB38-8A0C6F162629}"/>
                    </a:ext>
                  </a:extLst>
                </p14:cNvPr>
                <p14:cNvContentPartPr/>
                <p14:nvPr/>
              </p14:nvContentPartPr>
              <p14:xfrm>
                <a:off x="1790049" y="5868882"/>
                <a:ext cx="33120" cy="240120"/>
              </p14:xfrm>
            </p:contentPart>
          </mc:Choice>
          <mc:Fallback xmlns="">
            <p:pic>
              <p:nvPicPr>
                <p:cNvPr id="90" name="Ink 89">
                  <a:extLst>
                    <a:ext uri="{FF2B5EF4-FFF2-40B4-BE49-F238E27FC236}">
                      <a16:creationId xmlns:a16="http://schemas.microsoft.com/office/drawing/2014/main" id="{EE546691-65C9-4BBD-AB38-8A0C6F162629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1772049" y="5850882"/>
                  <a:ext cx="68760" cy="27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8">
              <p14:nvContentPartPr>
                <p14:cNvPr id="91" name="Ink 90">
                  <a:extLst>
                    <a:ext uri="{FF2B5EF4-FFF2-40B4-BE49-F238E27FC236}">
                      <a16:creationId xmlns:a16="http://schemas.microsoft.com/office/drawing/2014/main" id="{469BC3EB-B2FE-43E1-BAC5-B3573C53ADA1}"/>
                    </a:ext>
                  </a:extLst>
                </p14:cNvPr>
                <p14:cNvContentPartPr/>
                <p14:nvPr/>
              </p14:nvContentPartPr>
              <p14:xfrm>
                <a:off x="1675929" y="5995242"/>
                <a:ext cx="595440" cy="172080"/>
              </p14:xfrm>
            </p:contentPart>
          </mc:Choice>
          <mc:Fallback xmlns="">
            <p:pic>
              <p:nvPicPr>
                <p:cNvPr id="91" name="Ink 90">
                  <a:extLst>
                    <a:ext uri="{FF2B5EF4-FFF2-40B4-BE49-F238E27FC236}">
                      <a16:creationId xmlns:a16="http://schemas.microsoft.com/office/drawing/2014/main" id="{469BC3EB-B2FE-43E1-BAC5-B3573C53ADA1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1657929" y="5977602"/>
                  <a:ext cx="631080" cy="20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0">
              <p14:nvContentPartPr>
                <p14:cNvPr id="92" name="Ink 91">
                  <a:extLst>
                    <a:ext uri="{FF2B5EF4-FFF2-40B4-BE49-F238E27FC236}">
                      <a16:creationId xmlns:a16="http://schemas.microsoft.com/office/drawing/2014/main" id="{91BF679C-55B3-41D2-BD7E-14982063969E}"/>
                    </a:ext>
                  </a:extLst>
                </p14:cNvPr>
                <p14:cNvContentPartPr/>
                <p14:nvPr/>
              </p14:nvContentPartPr>
              <p14:xfrm>
                <a:off x="2222409" y="5938362"/>
                <a:ext cx="369000" cy="223200"/>
              </p14:xfrm>
            </p:contentPart>
          </mc:Choice>
          <mc:Fallback xmlns="">
            <p:pic>
              <p:nvPicPr>
                <p:cNvPr id="92" name="Ink 91">
                  <a:extLst>
                    <a:ext uri="{FF2B5EF4-FFF2-40B4-BE49-F238E27FC236}">
                      <a16:creationId xmlns:a16="http://schemas.microsoft.com/office/drawing/2014/main" id="{91BF679C-55B3-41D2-BD7E-14982063969E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2204769" y="5920362"/>
                  <a:ext cx="404640" cy="25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2">
              <p14:nvContentPartPr>
                <p14:cNvPr id="93" name="Ink 92">
                  <a:extLst>
                    <a:ext uri="{FF2B5EF4-FFF2-40B4-BE49-F238E27FC236}">
                      <a16:creationId xmlns:a16="http://schemas.microsoft.com/office/drawing/2014/main" id="{441601B1-29D1-4270-880C-BD2D28CC61D0}"/>
                    </a:ext>
                  </a:extLst>
                </p14:cNvPr>
                <p14:cNvContentPartPr/>
                <p14:nvPr/>
              </p14:nvContentPartPr>
              <p14:xfrm>
                <a:off x="2546409" y="5959602"/>
                <a:ext cx="5040" cy="30240"/>
              </p14:xfrm>
            </p:contentPart>
          </mc:Choice>
          <mc:Fallback xmlns="">
            <p:pic>
              <p:nvPicPr>
                <p:cNvPr id="93" name="Ink 92">
                  <a:extLst>
                    <a:ext uri="{FF2B5EF4-FFF2-40B4-BE49-F238E27FC236}">
                      <a16:creationId xmlns:a16="http://schemas.microsoft.com/office/drawing/2014/main" id="{441601B1-29D1-4270-880C-BD2D28CC61D0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2528409" y="5941962"/>
                  <a:ext cx="40680" cy="6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4">
              <p14:nvContentPartPr>
                <p14:cNvPr id="94" name="Ink 93">
                  <a:extLst>
                    <a:ext uri="{FF2B5EF4-FFF2-40B4-BE49-F238E27FC236}">
                      <a16:creationId xmlns:a16="http://schemas.microsoft.com/office/drawing/2014/main" id="{41421C51-F7AA-40FF-9771-05A403D5D5B7}"/>
                    </a:ext>
                  </a:extLst>
                </p14:cNvPr>
                <p14:cNvContentPartPr/>
                <p14:nvPr/>
              </p14:nvContentPartPr>
              <p14:xfrm>
                <a:off x="2685369" y="5926122"/>
                <a:ext cx="266040" cy="346680"/>
              </p14:xfrm>
            </p:contentPart>
          </mc:Choice>
          <mc:Fallback xmlns="">
            <p:pic>
              <p:nvPicPr>
                <p:cNvPr id="94" name="Ink 93">
                  <a:extLst>
                    <a:ext uri="{FF2B5EF4-FFF2-40B4-BE49-F238E27FC236}">
                      <a16:creationId xmlns:a16="http://schemas.microsoft.com/office/drawing/2014/main" id="{41421C51-F7AA-40FF-9771-05A403D5D5B7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2667729" y="5908122"/>
                  <a:ext cx="301680" cy="38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6">
              <p14:nvContentPartPr>
                <p14:cNvPr id="95" name="Ink 94">
                  <a:extLst>
                    <a:ext uri="{FF2B5EF4-FFF2-40B4-BE49-F238E27FC236}">
                      <a16:creationId xmlns:a16="http://schemas.microsoft.com/office/drawing/2014/main" id="{D2CD2CC8-6E70-4422-9689-0685EAF8DE8F}"/>
                    </a:ext>
                  </a:extLst>
                </p14:cNvPr>
                <p14:cNvContentPartPr/>
                <p14:nvPr/>
              </p14:nvContentPartPr>
              <p14:xfrm>
                <a:off x="3289809" y="5912082"/>
                <a:ext cx="21240" cy="271080"/>
              </p14:xfrm>
            </p:contentPart>
          </mc:Choice>
          <mc:Fallback xmlns="">
            <p:pic>
              <p:nvPicPr>
                <p:cNvPr id="95" name="Ink 94">
                  <a:extLst>
                    <a:ext uri="{FF2B5EF4-FFF2-40B4-BE49-F238E27FC236}">
                      <a16:creationId xmlns:a16="http://schemas.microsoft.com/office/drawing/2014/main" id="{D2CD2CC8-6E70-4422-9689-0685EAF8DE8F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3271809" y="5894442"/>
                  <a:ext cx="56880" cy="30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8">
              <p14:nvContentPartPr>
                <p14:cNvPr id="96" name="Ink 95">
                  <a:extLst>
                    <a:ext uri="{FF2B5EF4-FFF2-40B4-BE49-F238E27FC236}">
                      <a16:creationId xmlns:a16="http://schemas.microsoft.com/office/drawing/2014/main" id="{0862CBA8-E372-4CF5-B060-561EF732AD9B}"/>
                    </a:ext>
                  </a:extLst>
                </p14:cNvPr>
                <p14:cNvContentPartPr/>
                <p14:nvPr/>
              </p14:nvContentPartPr>
              <p14:xfrm>
                <a:off x="3161649" y="6032322"/>
                <a:ext cx="609120" cy="131400"/>
              </p14:xfrm>
            </p:contentPart>
          </mc:Choice>
          <mc:Fallback xmlns="">
            <p:pic>
              <p:nvPicPr>
                <p:cNvPr id="96" name="Ink 95">
                  <a:extLst>
                    <a:ext uri="{FF2B5EF4-FFF2-40B4-BE49-F238E27FC236}">
                      <a16:creationId xmlns:a16="http://schemas.microsoft.com/office/drawing/2014/main" id="{0862CBA8-E372-4CF5-B060-561EF732AD9B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3143649" y="6014322"/>
                  <a:ext cx="644760" cy="16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0">
              <p14:nvContentPartPr>
                <p14:cNvPr id="97" name="Ink 96">
                  <a:extLst>
                    <a:ext uri="{FF2B5EF4-FFF2-40B4-BE49-F238E27FC236}">
                      <a16:creationId xmlns:a16="http://schemas.microsoft.com/office/drawing/2014/main" id="{61E54191-9F4C-4AE7-9240-E6420865BBB6}"/>
                    </a:ext>
                  </a:extLst>
                </p14:cNvPr>
                <p14:cNvContentPartPr/>
                <p14:nvPr/>
              </p14:nvContentPartPr>
              <p14:xfrm>
                <a:off x="3982809" y="6035922"/>
                <a:ext cx="327600" cy="133920"/>
              </p14:xfrm>
            </p:contentPart>
          </mc:Choice>
          <mc:Fallback xmlns="">
            <p:pic>
              <p:nvPicPr>
                <p:cNvPr id="97" name="Ink 96">
                  <a:extLst>
                    <a:ext uri="{FF2B5EF4-FFF2-40B4-BE49-F238E27FC236}">
                      <a16:creationId xmlns:a16="http://schemas.microsoft.com/office/drawing/2014/main" id="{61E54191-9F4C-4AE7-9240-E6420865BBB6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3965169" y="6017922"/>
                  <a:ext cx="363240" cy="16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2">
              <p14:nvContentPartPr>
                <p14:cNvPr id="98" name="Ink 97">
                  <a:extLst>
                    <a:ext uri="{FF2B5EF4-FFF2-40B4-BE49-F238E27FC236}">
                      <a16:creationId xmlns:a16="http://schemas.microsoft.com/office/drawing/2014/main" id="{6FDCAD70-F2F0-4357-BE22-D9C81F415F0B}"/>
                    </a:ext>
                  </a:extLst>
                </p14:cNvPr>
                <p14:cNvContentPartPr/>
                <p14:nvPr/>
              </p14:nvContentPartPr>
              <p14:xfrm>
                <a:off x="4476369" y="5919282"/>
                <a:ext cx="437400" cy="215640"/>
              </p14:xfrm>
            </p:contentPart>
          </mc:Choice>
          <mc:Fallback xmlns="">
            <p:pic>
              <p:nvPicPr>
                <p:cNvPr id="98" name="Ink 97">
                  <a:extLst>
                    <a:ext uri="{FF2B5EF4-FFF2-40B4-BE49-F238E27FC236}">
                      <a16:creationId xmlns:a16="http://schemas.microsoft.com/office/drawing/2014/main" id="{6FDCAD70-F2F0-4357-BE22-D9C81F415F0B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4458729" y="5901282"/>
                  <a:ext cx="473040" cy="251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642834A7-64E0-4560-AD2A-28825087097E}"/>
              </a:ext>
            </a:extLst>
          </p:cNvPr>
          <p:cNvGrpSpPr/>
          <p:nvPr/>
        </p:nvGrpSpPr>
        <p:grpSpPr>
          <a:xfrm>
            <a:off x="5259369" y="5885442"/>
            <a:ext cx="5627880" cy="419760"/>
            <a:chOff x="5259369" y="5885442"/>
            <a:chExt cx="5627880" cy="419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44">
              <p14:nvContentPartPr>
                <p14:cNvPr id="99" name="Ink 98">
                  <a:extLst>
                    <a:ext uri="{FF2B5EF4-FFF2-40B4-BE49-F238E27FC236}">
                      <a16:creationId xmlns:a16="http://schemas.microsoft.com/office/drawing/2014/main" id="{C4084A3E-E7AB-43F0-8EA4-69EDCFF1C52A}"/>
                    </a:ext>
                  </a:extLst>
                </p14:cNvPr>
                <p14:cNvContentPartPr/>
                <p14:nvPr/>
              </p14:nvContentPartPr>
              <p14:xfrm>
                <a:off x="5259369" y="5932242"/>
                <a:ext cx="619200" cy="233280"/>
              </p14:xfrm>
            </p:contentPart>
          </mc:Choice>
          <mc:Fallback xmlns="">
            <p:pic>
              <p:nvPicPr>
                <p:cNvPr id="99" name="Ink 98">
                  <a:extLst>
                    <a:ext uri="{FF2B5EF4-FFF2-40B4-BE49-F238E27FC236}">
                      <a16:creationId xmlns:a16="http://schemas.microsoft.com/office/drawing/2014/main" id="{C4084A3E-E7AB-43F0-8EA4-69EDCFF1C52A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5241369" y="5914602"/>
                  <a:ext cx="654840" cy="26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6">
              <p14:nvContentPartPr>
                <p14:cNvPr id="100" name="Ink 99">
                  <a:extLst>
                    <a:ext uri="{FF2B5EF4-FFF2-40B4-BE49-F238E27FC236}">
                      <a16:creationId xmlns:a16="http://schemas.microsoft.com/office/drawing/2014/main" id="{0528BDDE-7602-4DAB-B299-62E4C9B38242}"/>
                    </a:ext>
                  </a:extLst>
                </p14:cNvPr>
                <p14:cNvContentPartPr/>
                <p14:nvPr/>
              </p14:nvContentPartPr>
              <p14:xfrm>
                <a:off x="5919969" y="6027282"/>
                <a:ext cx="430200" cy="120960"/>
              </p14:xfrm>
            </p:contentPart>
          </mc:Choice>
          <mc:Fallback xmlns="">
            <p:pic>
              <p:nvPicPr>
                <p:cNvPr id="100" name="Ink 99">
                  <a:extLst>
                    <a:ext uri="{FF2B5EF4-FFF2-40B4-BE49-F238E27FC236}">
                      <a16:creationId xmlns:a16="http://schemas.microsoft.com/office/drawing/2014/main" id="{0528BDDE-7602-4DAB-B299-62E4C9B38242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5901969" y="6009282"/>
                  <a:ext cx="465840" cy="15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8">
              <p14:nvContentPartPr>
                <p14:cNvPr id="101" name="Ink 100">
                  <a:extLst>
                    <a:ext uri="{FF2B5EF4-FFF2-40B4-BE49-F238E27FC236}">
                      <a16:creationId xmlns:a16="http://schemas.microsoft.com/office/drawing/2014/main" id="{A8776091-7CD4-4709-B5D6-35BBF9B30E4E}"/>
                    </a:ext>
                  </a:extLst>
                </p14:cNvPr>
                <p14:cNvContentPartPr/>
                <p14:nvPr/>
              </p14:nvContentPartPr>
              <p14:xfrm>
                <a:off x="6385089" y="5962482"/>
                <a:ext cx="129240" cy="248400"/>
              </p14:xfrm>
            </p:contentPart>
          </mc:Choice>
          <mc:Fallback xmlns="">
            <p:pic>
              <p:nvPicPr>
                <p:cNvPr id="101" name="Ink 100">
                  <a:extLst>
                    <a:ext uri="{FF2B5EF4-FFF2-40B4-BE49-F238E27FC236}">
                      <a16:creationId xmlns:a16="http://schemas.microsoft.com/office/drawing/2014/main" id="{A8776091-7CD4-4709-B5D6-35BBF9B30E4E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6367449" y="5944842"/>
                  <a:ext cx="164880" cy="284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0">
              <p14:nvContentPartPr>
                <p14:cNvPr id="102" name="Ink 101">
                  <a:extLst>
                    <a:ext uri="{FF2B5EF4-FFF2-40B4-BE49-F238E27FC236}">
                      <a16:creationId xmlns:a16="http://schemas.microsoft.com/office/drawing/2014/main" id="{56EDB2AB-6B69-47CC-8E2F-7ADBB5C39140}"/>
                    </a:ext>
                  </a:extLst>
                </p14:cNvPr>
                <p14:cNvContentPartPr/>
                <p14:nvPr/>
              </p14:nvContentPartPr>
              <p14:xfrm>
                <a:off x="6440889" y="6068682"/>
                <a:ext cx="170640" cy="44280"/>
              </p14:xfrm>
            </p:contentPart>
          </mc:Choice>
          <mc:Fallback xmlns="">
            <p:pic>
              <p:nvPicPr>
                <p:cNvPr id="102" name="Ink 101">
                  <a:extLst>
                    <a:ext uri="{FF2B5EF4-FFF2-40B4-BE49-F238E27FC236}">
                      <a16:creationId xmlns:a16="http://schemas.microsoft.com/office/drawing/2014/main" id="{56EDB2AB-6B69-47CC-8E2F-7ADBB5C39140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6422889" y="6051042"/>
                  <a:ext cx="206280" cy="7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2">
              <p14:nvContentPartPr>
                <p14:cNvPr id="103" name="Ink 102">
                  <a:extLst>
                    <a:ext uri="{FF2B5EF4-FFF2-40B4-BE49-F238E27FC236}">
                      <a16:creationId xmlns:a16="http://schemas.microsoft.com/office/drawing/2014/main" id="{1464704F-947F-4EA5-88E7-A3F9C5E00E76}"/>
                    </a:ext>
                  </a:extLst>
                </p14:cNvPr>
                <p14:cNvContentPartPr/>
                <p14:nvPr/>
              </p14:nvContentPartPr>
              <p14:xfrm>
                <a:off x="6817089" y="5998122"/>
                <a:ext cx="64440" cy="220680"/>
              </p14:xfrm>
            </p:contentPart>
          </mc:Choice>
          <mc:Fallback xmlns="">
            <p:pic>
              <p:nvPicPr>
                <p:cNvPr id="103" name="Ink 102">
                  <a:extLst>
                    <a:ext uri="{FF2B5EF4-FFF2-40B4-BE49-F238E27FC236}">
                      <a16:creationId xmlns:a16="http://schemas.microsoft.com/office/drawing/2014/main" id="{1464704F-947F-4EA5-88E7-A3F9C5E00E76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6799449" y="5980122"/>
                  <a:ext cx="100080" cy="25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4">
              <p14:nvContentPartPr>
                <p14:cNvPr id="104" name="Ink 103">
                  <a:extLst>
                    <a:ext uri="{FF2B5EF4-FFF2-40B4-BE49-F238E27FC236}">
                      <a16:creationId xmlns:a16="http://schemas.microsoft.com/office/drawing/2014/main" id="{FBCD997F-5F44-4B20-8F70-27FCCB1A0F2E}"/>
                    </a:ext>
                  </a:extLst>
                </p14:cNvPr>
                <p14:cNvContentPartPr/>
                <p14:nvPr/>
              </p14:nvContentPartPr>
              <p14:xfrm>
                <a:off x="6850929" y="6081282"/>
                <a:ext cx="576360" cy="147960"/>
              </p14:xfrm>
            </p:contentPart>
          </mc:Choice>
          <mc:Fallback xmlns="">
            <p:pic>
              <p:nvPicPr>
                <p:cNvPr id="104" name="Ink 103">
                  <a:extLst>
                    <a:ext uri="{FF2B5EF4-FFF2-40B4-BE49-F238E27FC236}">
                      <a16:creationId xmlns:a16="http://schemas.microsoft.com/office/drawing/2014/main" id="{FBCD997F-5F44-4B20-8F70-27FCCB1A0F2E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6832929" y="6063642"/>
                  <a:ext cx="612000" cy="18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6">
              <p14:nvContentPartPr>
                <p14:cNvPr id="105" name="Ink 104">
                  <a:extLst>
                    <a:ext uri="{FF2B5EF4-FFF2-40B4-BE49-F238E27FC236}">
                      <a16:creationId xmlns:a16="http://schemas.microsoft.com/office/drawing/2014/main" id="{6701CA16-663F-47A6-9042-24C0A657D10D}"/>
                    </a:ext>
                  </a:extLst>
                </p14:cNvPr>
                <p14:cNvContentPartPr/>
                <p14:nvPr/>
              </p14:nvContentPartPr>
              <p14:xfrm>
                <a:off x="7450689" y="6087762"/>
                <a:ext cx="255960" cy="103320"/>
              </p14:xfrm>
            </p:contentPart>
          </mc:Choice>
          <mc:Fallback xmlns="">
            <p:pic>
              <p:nvPicPr>
                <p:cNvPr id="105" name="Ink 104">
                  <a:extLst>
                    <a:ext uri="{FF2B5EF4-FFF2-40B4-BE49-F238E27FC236}">
                      <a16:creationId xmlns:a16="http://schemas.microsoft.com/office/drawing/2014/main" id="{6701CA16-663F-47A6-9042-24C0A657D10D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7432689" y="6069762"/>
                  <a:ext cx="291600" cy="13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8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320452C7-3F19-4A58-A88B-9F2C5707140E}"/>
                    </a:ext>
                  </a:extLst>
                </p14:cNvPr>
                <p14:cNvContentPartPr/>
                <p14:nvPr/>
              </p14:nvContentPartPr>
              <p14:xfrm>
                <a:off x="8124609" y="5978682"/>
                <a:ext cx="16920" cy="251280"/>
              </p14:xfrm>
            </p:contentPart>
          </mc:Choice>
          <mc:Fallback xmlns=""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320452C7-3F19-4A58-A88B-9F2C5707140E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8106969" y="5960682"/>
                  <a:ext cx="52560" cy="286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0">
              <p14:nvContentPartPr>
                <p14:cNvPr id="107" name="Ink 106">
                  <a:extLst>
                    <a:ext uri="{FF2B5EF4-FFF2-40B4-BE49-F238E27FC236}">
                      <a16:creationId xmlns:a16="http://schemas.microsoft.com/office/drawing/2014/main" id="{3189A006-0DA6-4039-9E92-3DB82F5AD2F6}"/>
                    </a:ext>
                  </a:extLst>
                </p14:cNvPr>
                <p14:cNvContentPartPr/>
                <p14:nvPr/>
              </p14:nvContentPartPr>
              <p14:xfrm>
                <a:off x="7961529" y="6091362"/>
                <a:ext cx="788400" cy="213840"/>
              </p14:xfrm>
            </p:contentPart>
          </mc:Choice>
          <mc:Fallback xmlns="">
            <p:pic>
              <p:nvPicPr>
                <p:cNvPr id="107" name="Ink 106">
                  <a:extLst>
                    <a:ext uri="{FF2B5EF4-FFF2-40B4-BE49-F238E27FC236}">
                      <a16:creationId xmlns:a16="http://schemas.microsoft.com/office/drawing/2014/main" id="{3189A006-0DA6-4039-9E92-3DB82F5AD2F6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7943889" y="6073362"/>
                  <a:ext cx="824040" cy="24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2">
              <p14:nvContentPartPr>
                <p14:cNvPr id="108" name="Ink 107">
                  <a:extLst>
                    <a:ext uri="{FF2B5EF4-FFF2-40B4-BE49-F238E27FC236}">
                      <a16:creationId xmlns:a16="http://schemas.microsoft.com/office/drawing/2014/main" id="{7F175881-F987-4C7E-9D70-F943EEA5A1A0}"/>
                    </a:ext>
                  </a:extLst>
                </p14:cNvPr>
                <p14:cNvContentPartPr/>
                <p14:nvPr/>
              </p14:nvContentPartPr>
              <p14:xfrm>
                <a:off x="8948289" y="6041682"/>
                <a:ext cx="485280" cy="190440"/>
              </p14:xfrm>
            </p:contentPart>
          </mc:Choice>
          <mc:Fallback xmlns="">
            <p:pic>
              <p:nvPicPr>
                <p:cNvPr id="108" name="Ink 107">
                  <a:extLst>
                    <a:ext uri="{FF2B5EF4-FFF2-40B4-BE49-F238E27FC236}">
                      <a16:creationId xmlns:a16="http://schemas.microsoft.com/office/drawing/2014/main" id="{7F175881-F987-4C7E-9D70-F943EEA5A1A0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8930649" y="6023682"/>
                  <a:ext cx="520920" cy="22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4">
              <p14:nvContentPartPr>
                <p14:cNvPr id="109" name="Ink 108">
                  <a:extLst>
                    <a:ext uri="{FF2B5EF4-FFF2-40B4-BE49-F238E27FC236}">
                      <a16:creationId xmlns:a16="http://schemas.microsoft.com/office/drawing/2014/main" id="{189440DE-E3E0-4A8C-A64B-0F9854164C83}"/>
                    </a:ext>
                  </a:extLst>
                </p14:cNvPr>
                <p14:cNvContentPartPr/>
                <p14:nvPr/>
              </p14:nvContentPartPr>
              <p14:xfrm>
                <a:off x="9694569" y="5986962"/>
                <a:ext cx="176400" cy="230400"/>
              </p14:xfrm>
            </p:contentPart>
          </mc:Choice>
          <mc:Fallback xmlns="">
            <p:pic>
              <p:nvPicPr>
                <p:cNvPr id="109" name="Ink 108">
                  <a:extLst>
                    <a:ext uri="{FF2B5EF4-FFF2-40B4-BE49-F238E27FC236}">
                      <a16:creationId xmlns:a16="http://schemas.microsoft.com/office/drawing/2014/main" id="{189440DE-E3E0-4A8C-A64B-0F9854164C83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9676569" y="5969322"/>
                  <a:ext cx="212040" cy="26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6">
              <p14:nvContentPartPr>
                <p14:cNvPr id="110" name="Ink 109">
                  <a:extLst>
                    <a:ext uri="{FF2B5EF4-FFF2-40B4-BE49-F238E27FC236}">
                      <a16:creationId xmlns:a16="http://schemas.microsoft.com/office/drawing/2014/main" id="{7688630B-ADDF-417E-B7B7-3A2179592F1E}"/>
                    </a:ext>
                  </a:extLst>
                </p14:cNvPr>
                <p14:cNvContentPartPr/>
                <p14:nvPr/>
              </p14:nvContentPartPr>
              <p14:xfrm>
                <a:off x="9972849" y="6061842"/>
                <a:ext cx="347760" cy="123120"/>
              </p14:xfrm>
            </p:contentPart>
          </mc:Choice>
          <mc:Fallback xmlns="">
            <p:pic>
              <p:nvPicPr>
                <p:cNvPr id="110" name="Ink 109">
                  <a:extLst>
                    <a:ext uri="{FF2B5EF4-FFF2-40B4-BE49-F238E27FC236}">
                      <a16:creationId xmlns:a16="http://schemas.microsoft.com/office/drawing/2014/main" id="{7688630B-ADDF-417E-B7B7-3A2179592F1E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9955209" y="6043842"/>
                  <a:ext cx="383400" cy="158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8">
              <p14:nvContentPartPr>
                <p14:cNvPr id="111" name="Ink 110">
                  <a:extLst>
                    <a:ext uri="{FF2B5EF4-FFF2-40B4-BE49-F238E27FC236}">
                      <a16:creationId xmlns:a16="http://schemas.microsoft.com/office/drawing/2014/main" id="{3D931A5E-552A-42F3-9F7D-2FBF097AFFA6}"/>
                    </a:ext>
                  </a:extLst>
                </p14:cNvPr>
                <p14:cNvContentPartPr/>
                <p14:nvPr/>
              </p14:nvContentPartPr>
              <p14:xfrm>
                <a:off x="10435089" y="6034122"/>
                <a:ext cx="16200" cy="92880"/>
              </p14:xfrm>
            </p:contentPart>
          </mc:Choice>
          <mc:Fallback xmlns="">
            <p:pic>
              <p:nvPicPr>
                <p:cNvPr id="111" name="Ink 110">
                  <a:extLst>
                    <a:ext uri="{FF2B5EF4-FFF2-40B4-BE49-F238E27FC236}">
                      <a16:creationId xmlns:a16="http://schemas.microsoft.com/office/drawing/2014/main" id="{3D931A5E-552A-42F3-9F7D-2FBF097AFFA6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10417449" y="6016122"/>
                  <a:ext cx="51840" cy="12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0">
              <p14:nvContentPartPr>
                <p14:cNvPr id="112" name="Ink 111">
                  <a:extLst>
                    <a:ext uri="{FF2B5EF4-FFF2-40B4-BE49-F238E27FC236}">
                      <a16:creationId xmlns:a16="http://schemas.microsoft.com/office/drawing/2014/main" id="{F3B5DC87-8BA2-4AD2-BC49-950BA609173A}"/>
                    </a:ext>
                  </a:extLst>
                </p14:cNvPr>
                <p14:cNvContentPartPr/>
                <p14:nvPr/>
              </p14:nvContentPartPr>
              <p14:xfrm>
                <a:off x="10421769" y="5885442"/>
                <a:ext cx="27720" cy="50760"/>
              </p14:xfrm>
            </p:contentPart>
          </mc:Choice>
          <mc:Fallback xmlns="">
            <p:pic>
              <p:nvPicPr>
                <p:cNvPr id="112" name="Ink 111">
                  <a:extLst>
                    <a:ext uri="{FF2B5EF4-FFF2-40B4-BE49-F238E27FC236}">
                      <a16:creationId xmlns:a16="http://schemas.microsoft.com/office/drawing/2014/main" id="{F3B5DC87-8BA2-4AD2-BC49-950BA609173A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10404129" y="5867802"/>
                  <a:ext cx="63360" cy="86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2">
              <p14:nvContentPartPr>
                <p14:cNvPr id="113" name="Ink 112">
                  <a:extLst>
                    <a:ext uri="{FF2B5EF4-FFF2-40B4-BE49-F238E27FC236}">
                      <a16:creationId xmlns:a16="http://schemas.microsoft.com/office/drawing/2014/main" id="{FAC8F857-ACFC-482A-A41A-3C05BB4AFCBC}"/>
                    </a:ext>
                  </a:extLst>
                </p14:cNvPr>
                <p14:cNvContentPartPr/>
                <p14:nvPr/>
              </p14:nvContentPartPr>
              <p14:xfrm>
                <a:off x="10524369" y="5949162"/>
                <a:ext cx="362880" cy="174240"/>
              </p14:xfrm>
            </p:contentPart>
          </mc:Choice>
          <mc:Fallback xmlns="">
            <p:pic>
              <p:nvPicPr>
                <p:cNvPr id="113" name="Ink 112">
                  <a:extLst>
                    <a:ext uri="{FF2B5EF4-FFF2-40B4-BE49-F238E27FC236}">
                      <a16:creationId xmlns:a16="http://schemas.microsoft.com/office/drawing/2014/main" id="{FAC8F857-ACFC-482A-A41A-3C05BB4AFCBC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10506729" y="5931522"/>
                  <a:ext cx="398520" cy="209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5C24DCA1-6699-4F81-8BDE-4A57645CEB19}"/>
              </a:ext>
            </a:extLst>
          </p:cNvPr>
          <p:cNvGrpSpPr/>
          <p:nvPr/>
        </p:nvGrpSpPr>
        <p:grpSpPr>
          <a:xfrm>
            <a:off x="11253009" y="5920362"/>
            <a:ext cx="682200" cy="254880"/>
            <a:chOff x="11253009" y="5920362"/>
            <a:chExt cx="682200" cy="2548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74">
              <p14:nvContentPartPr>
                <p14:cNvPr id="116" name="Ink 115">
                  <a:extLst>
                    <a:ext uri="{FF2B5EF4-FFF2-40B4-BE49-F238E27FC236}">
                      <a16:creationId xmlns:a16="http://schemas.microsoft.com/office/drawing/2014/main" id="{33644F02-2892-4E63-8FCB-AEC43F0E7069}"/>
                    </a:ext>
                  </a:extLst>
                </p14:cNvPr>
                <p14:cNvContentPartPr/>
                <p14:nvPr/>
              </p14:nvContentPartPr>
              <p14:xfrm>
                <a:off x="11253009" y="5937282"/>
                <a:ext cx="114480" cy="217080"/>
              </p14:xfrm>
            </p:contentPart>
          </mc:Choice>
          <mc:Fallback xmlns="">
            <p:pic>
              <p:nvPicPr>
                <p:cNvPr id="116" name="Ink 115">
                  <a:extLst>
                    <a:ext uri="{FF2B5EF4-FFF2-40B4-BE49-F238E27FC236}">
                      <a16:creationId xmlns:a16="http://schemas.microsoft.com/office/drawing/2014/main" id="{33644F02-2892-4E63-8FCB-AEC43F0E7069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11235009" y="5919642"/>
                  <a:ext cx="150120" cy="252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6">
              <p14:nvContentPartPr>
                <p14:cNvPr id="117" name="Ink 116">
                  <a:extLst>
                    <a:ext uri="{FF2B5EF4-FFF2-40B4-BE49-F238E27FC236}">
                      <a16:creationId xmlns:a16="http://schemas.microsoft.com/office/drawing/2014/main" id="{2AEBF9CD-936C-451A-AEE2-F8B6F4DD6D5A}"/>
                    </a:ext>
                  </a:extLst>
                </p14:cNvPr>
                <p14:cNvContentPartPr/>
                <p14:nvPr/>
              </p14:nvContentPartPr>
              <p14:xfrm>
                <a:off x="11418969" y="5920362"/>
                <a:ext cx="306000" cy="254880"/>
              </p14:xfrm>
            </p:contentPart>
          </mc:Choice>
          <mc:Fallback xmlns="">
            <p:pic>
              <p:nvPicPr>
                <p:cNvPr id="117" name="Ink 116">
                  <a:extLst>
                    <a:ext uri="{FF2B5EF4-FFF2-40B4-BE49-F238E27FC236}">
                      <a16:creationId xmlns:a16="http://schemas.microsoft.com/office/drawing/2014/main" id="{2AEBF9CD-936C-451A-AEE2-F8B6F4DD6D5A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11401329" y="5902362"/>
                  <a:ext cx="341640" cy="29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8">
              <p14:nvContentPartPr>
                <p14:cNvPr id="118" name="Ink 117">
                  <a:extLst>
                    <a:ext uri="{FF2B5EF4-FFF2-40B4-BE49-F238E27FC236}">
                      <a16:creationId xmlns:a16="http://schemas.microsoft.com/office/drawing/2014/main" id="{0C53421F-8D6F-4FC2-BBAD-A909560A7E6B}"/>
                    </a:ext>
                  </a:extLst>
                </p14:cNvPr>
                <p14:cNvContentPartPr/>
                <p14:nvPr/>
              </p14:nvContentPartPr>
              <p14:xfrm>
                <a:off x="11763129" y="6008562"/>
                <a:ext cx="172080" cy="45720"/>
              </p14:xfrm>
            </p:contentPart>
          </mc:Choice>
          <mc:Fallback xmlns="">
            <p:pic>
              <p:nvPicPr>
                <p:cNvPr id="118" name="Ink 117">
                  <a:extLst>
                    <a:ext uri="{FF2B5EF4-FFF2-40B4-BE49-F238E27FC236}">
                      <a16:creationId xmlns:a16="http://schemas.microsoft.com/office/drawing/2014/main" id="{0C53421F-8D6F-4FC2-BBAD-A909560A7E6B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11745129" y="5990922"/>
                  <a:ext cx="207720" cy="81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420561CE-483F-490D-B1A6-A223F82747E4}"/>
              </a:ext>
            </a:extLst>
          </p:cNvPr>
          <p:cNvGrpSpPr/>
          <p:nvPr/>
        </p:nvGrpSpPr>
        <p:grpSpPr>
          <a:xfrm>
            <a:off x="756489" y="6389442"/>
            <a:ext cx="205200" cy="296280"/>
            <a:chOff x="756489" y="6389442"/>
            <a:chExt cx="205200" cy="296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80">
              <p14:nvContentPartPr>
                <p14:cNvPr id="120" name="Ink 119">
                  <a:extLst>
                    <a:ext uri="{FF2B5EF4-FFF2-40B4-BE49-F238E27FC236}">
                      <a16:creationId xmlns:a16="http://schemas.microsoft.com/office/drawing/2014/main" id="{C860454B-837B-4F40-A5B7-E95AE8350A26}"/>
                    </a:ext>
                  </a:extLst>
                </p14:cNvPr>
                <p14:cNvContentPartPr/>
                <p14:nvPr/>
              </p14:nvContentPartPr>
              <p14:xfrm>
                <a:off x="888969" y="6389442"/>
                <a:ext cx="15120" cy="254880"/>
              </p14:xfrm>
            </p:contentPart>
          </mc:Choice>
          <mc:Fallback xmlns="">
            <p:pic>
              <p:nvPicPr>
                <p:cNvPr id="120" name="Ink 119">
                  <a:extLst>
                    <a:ext uri="{FF2B5EF4-FFF2-40B4-BE49-F238E27FC236}">
                      <a16:creationId xmlns:a16="http://schemas.microsoft.com/office/drawing/2014/main" id="{C860454B-837B-4F40-A5B7-E95AE8350A26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871329" y="6371802"/>
                  <a:ext cx="50760" cy="29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2">
              <p14:nvContentPartPr>
                <p14:cNvPr id="121" name="Ink 120">
                  <a:extLst>
                    <a:ext uri="{FF2B5EF4-FFF2-40B4-BE49-F238E27FC236}">
                      <a16:creationId xmlns:a16="http://schemas.microsoft.com/office/drawing/2014/main" id="{546E371A-9732-4FB8-9B06-97A2693D4847}"/>
                    </a:ext>
                  </a:extLst>
                </p14:cNvPr>
                <p14:cNvContentPartPr/>
                <p14:nvPr/>
              </p14:nvContentPartPr>
              <p14:xfrm>
                <a:off x="763329" y="6552162"/>
                <a:ext cx="198360" cy="19440"/>
              </p14:xfrm>
            </p:contentPart>
          </mc:Choice>
          <mc:Fallback xmlns="">
            <p:pic>
              <p:nvPicPr>
                <p:cNvPr id="121" name="Ink 120">
                  <a:extLst>
                    <a:ext uri="{FF2B5EF4-FFF2-40B4-BE49-F238E27FC236}">
                      <a16:creationId xmlns:a16="http://schemas.microsoft.com/office/drawing/2014/main" id="{546E371A-9732-4FB8-9B06-97A2693D4847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745689" y="6534162"/>
                  <a:ext cx="234000" cy="5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4">
              <p14:nvContentPartPr>
                <p14:cNvPr id="122" name="Ink 121">
                  <a:extLst>
                    <a:ext uri="{FF2B5EF4-FFF2-40B4-BE49-F238E27FC236}">
                      <a16:creationId xmlns:a16="http://schemas.microsoft.com/office/drawing/2014/main" id="{ECE63893-1F78-4EFA-93AD-4899FE23051A}"/>
                    </a:ext>
                  </a:extLst>
                </p14:cNvPr>
                <p14:cNvContentPartPr/>
                <p14:nvPr/>
              </p14:nvContentPartPr>
              <p14:xfrm>
                <a:off x="756489" y="6511122"/>
                <a:ext cx="79200" cy="174600"/>
              </p14:xfrm>
            </p:contentPart>
          </mc:Choice>
          <mc:Fallback xmlns="">
            <p:pic>
              <p:nvPicPr>
                <p:cNvPr id="122" name="Ink 121">
                  <a:extLst>
                    <a:ext uri="{FF2B5EF4-FFF2-40B4-BE49-F238E27FC236}">
                      <a16:creationId xmlns:a16="http://schemas.microsoft.com/office/drawing/2014/main" id="{ECE63893-1F78-4EFA-93AD-4899FE23051A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738849" y="6493122"/>
                  <a:ext cx="114840" cy="21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6">
              <p14:nvContentPartPr>
                <p14:cNvPr id="123" name="Ink 122">
                  <a:extLst>
                    <a:ext uri="{FF2B5EF4-FFF2-40B4-BE49-F238E27FC236}">
                      <a16:creationId xmlns:a16="http://schemas.microsoft.com/office/drawing/2014/main" id="{D86FFE29-6E1C-42F5-8EFD-14B82474D9E7}"/>
                    </a:ext>
                  </a:extLst>
                </p14:cNvPr>
                <p14:cNvContentPartPr/>
                <p14:nvPr/>
              </p14:nvContentPartPr>
              <p14:xfrm>
                <a:off x="796809" y="6445962"/>
                <a:ext cx="9720" cy="15840"/>
              </p14:xfrm>
            </p:contentPart>
          </mc:Choice>
          <mc:Fallback xmlns="">
            <p:pic>
              <p:nvPicPr>
                <p:cNvPr id="123" name="Ink 122">
                  <a:extLst>
                    <a:ext uri="{FF2B5EF4-FFF2-40B4-BE49-F238E27FC236}">
                      <a16:creationId xmlns:a16="http://schemas.microsoft.com/office/drawing/2014/main" id="{D86FFE29-6E1C-42F5-8EFD-14B82474D9E7}"/>
                    </a:ext>
                  </a:extLst>
                </p:cNvPr>
                <p:cNvPicPr/>
                <p:nvPr/>
              </p:nvPicPr>
              <p:blipFill>
                <a:blip r:embed="rId187"/>
                <a:stretch>
                  <a:fillRect/>
                </a:stretch>
              </p:blipFill>
              <p:spPr>
                <a:xfrm>
                  <a:off x="778809" y="6428322"/>
                  <a:ext cx="45360" cy="51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EAA8AC2B-B1BA-4488-B5C9-DD3F5485FFAF}"/>
              </a:ext>
            </a:extLst>
          </p:cNvPr>
          <p:cNvGrpSpPr/>
          <p:nvPr/>
        </p:nvGrpSpPr>
        <p:grpSpPr>
          <a:xfrm>
            <a:off x="1369209" y="6403842"/>
            <a:ext cx="1085040" cy="243720"/>
            <a:chOff x="1369209" y="6403842"/>
            <a:chExt cx="1085040" cy="243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88">
              <p14:nvContentPartPr>
                <p14:cNvPr id="124" name="Ink 123">
                  <a:extLst>
                    <a:ext uri="{FF2B5EF4-FFF2-40B4-BE49-F238E27FC236}">
                      <a16:creationId xmlns:a16="http://schemas.microsoft.com/office/drawing/2014/main" id="{F94A09E9-5D8D-4C74-9EB5-EC499B8CB8CB}"/>
                    </a:ext>
                  </a:extLst>
                </p14:cNvPr>
                <p14:cNvContentPartPr/>
                <p14:nvPr/>
              </p14:nvContentPartPr>
              <p14:xfrm>
                <a:off x="1369209" y="6403842"/>
                <a:ext cx="27720" cy="243720"/>
              </p14:xfrm>
            </p:contentPart>
          </mc:Choice>
          <mc:Fallback xmlns="">
            <p:pic>
              <p:nvPicPr>
                <p:cNvPr id="124" name="Ink 123">
                  <a:extLst>
                    <a:ext uri="{FF2B5EF4-FFF2-40B4-BE49-F238E27FC236}">
                      <a16:creationId xmlns:a16="http://schemas.microsoft.com/office/drawing/2014/main" id="{F94A09E9-5D8D-4C74-9EB5-EC499B8CB8CB}"/>
                    </a:ext>
                  </a:extLst>
                </p:cNvPr>
                <p:cNvPicPr/>
                <p:nvPr/>
              </p:nvPicPr>
              <p:blipFill>
                <a:blip r:embed="rId189"/>
                <a:stretch>
                  <a:fillRect/>
                </a:stretch>
              </p:blipFill>
              <p:spPr>
                <a:xfrm>
                  <a:off x="1351209" y="6386202"/>
                  <a:ext cx="63360" cy="27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0">
              <p14:nvContentPartPr>
                <p14:cNvPr id="125" name="Ink 124">
                  <a:extLst>
                    <a:ext uri="{FF2B5EF4-FFF2-40B4-BE49-F238E27FC236}">
                      <a16:creationId xmlns:a16="http://schemas.microsoft.com/office/drawing/2014/main" id="{C19D5F65-2532-44BA-9755-E505D9BDF67B}"/>
                    </a:ext>
                  </a:extLst>
                </p14:cNvPr>
                <p14:cNvContentPartPr/>
                <p14:nvPr/>
              </p14:nvContentPartPr>
              <p14:xfrm>
                <a:off x="1428969" y="6459282"/>
                <a:ext cx="497160" cy="180720"/>
              </p14:xfrm>
            </p:contentPart>
          </mc:Choice>
          <mc:Fallback xmlns="">
            <p:pic>
              <p:nvPicPr>
                <p:cNvPr id="125" name="Ink 124">
                  <a:extLst>
                    <a:ext uri="{FF2B5EF4-FFF2-40B4-BE49-F238E27FC236}">
                      <a16:creationId xmlns:a16="http://schemas.microsoft.com/office/drawing/2014/main" id="{C19D5F65-2532-44BA-9755-E505D9BDF67B}"/>
                    </a:ext>
                  </a:extLst>
                </p:cNvPr>
                <p:cNvPicPr/>
                <p:nvPr/>
              </p:nvPicPr>
              <p:blipFill>
                <a:blip r:embed="rId191"/>
                <a:stretch>
                  <a:fillRect/>
                </a:stretch>
              </p:blipFill>
              <p:spPr>
                <a:xfrm>
                  <a:off x="1411329" y="6441642"/>
                  <a:ext cx="532800" cy="216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2">
              <p14:nvContentPartPr>
                <p14:cNvPr id="126" name="Ink 125">
                  <a:extLst>
                    <a:ext uri="{FF2B5EF4-FFF2-40B4-BE49-F238E27FC236}">
                      <a16:creationId xmlns:a16="http://schemas.microsoft.com/office/drawing/2014/main" id="{D8F0BCA3-F09F-4E83-B893-9D3B01324EB3}"/>
                    </a:ext>
                  </a:extLst>
                </p14:cNvPr>
                <p14:cNvContentPartPr/>
                <p14:nvPr/>
              </p14:nvContentPartPr>
              <p14:xfrm>
                <a:off x="1925769" y="6517242"/>
                <a:ext cx="240120" cy="122760"/>
              </p14:xfrm>
            </p:contentPart>
          </mc:Choice>
          <mc:Fallback xmlns="">
            <p:pic>
              <p:nvPicPr>
                <p:cNvPr id="126" name="Ink 125">
                  <a:extLst>
                    <a:ext uri="{FF2B5EF4-FFF2-40B4-BE49-F238E27FC236}">
                      <a16:creationId xmlns:a16="http://schemas.microsoft.com/office/drawing/2014/main" id="{D8F0BCA3-F09F-4E83-B893-9D3B01324EB3}"/>
                    </a:ext>
                  </a:extLst>
                </p:cNvPr>
                <p:cNvPicPr/>
                <p:nvPr/>
              </p:nvPicPr>
              <p:blipFill>
                <a:blip r:embed="rId193"/>
                <a:stretch>
                  <a:fillRect/>
                </a:stretch>
              </p:blipFill>
              <p:spPr>
                <a:xfrm>
                  <a:off x="1908129" y="6499242"/>
                  <a:ext cx="275760" cy="15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4">
              <p14:nvContentPartPr>
                <p14:cNvPr id="127" name="Ink 126">
                  <a:extLst>
                    <a:ext uri="{FF2B5EF4-FFF2-40B4-BE49-F238E27FC236}">
                      <a16:creationId xmlns:a16="http://schemas.microsoft.com/office/drawing/2014/main" id="{2416C055-A68F-4C52-B3F2-86AFDA99B4F7}"/>
                    </a:ext>
                  </a:extLst>
                </p14:cNvPr>
                <p14:cNvContentPartPr/>
                <p14:nvPr/>
              </p14:nvContentPartPr>
              <p14:xfrm>
                <a:off x="2331129" y="6492762"/>
                <a:ext cx="123120" cy="118800"/>
              </p14:xfrm>
            </p:contentPart>
          </mc:Choice>
          <mc:Fallback xmlns="">
            <p:pic>
              <p:nvPicPr>
                <p:cNvPr id="127" name="Ink 126">
                  <a:extLst>
                    <a:ext uri="{FF2B5EF4-FFF2-40B4-BE49-F238E27FC236}">
                      <a16:creationId xmlns:a16="http://schemas.microsoft.com/office/drawing/2014/main" id="{2416C055-A68F-4C52-B3F2-86AFDA99B4F7}"/>
                    </a:ext>
                  </a:extLst>
                </p:cNvPr>
                <p:cNvPicPr/>
                <p:nvPr/>
              </p:nvPicPr>
              <p:blipFill>
                <a:blip r:embed="rId195"/>
                <a:stretch>
                  <a:fillRect/>
                </a:stretch>
              </p:blipFill>
              <p:spPr>
                <a:xfrm>
                  <a:off x="2313489" y="6475122"/>
                  <a:ext cx="158760" cy="154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0F29C5E-1421-4A88-9FC6-20C6F89100A0}"/>
              </a:ext>
            </a:extLst>
          </p:cNvPr>
          <p:cNvGrpSpPr/>
          <p:nvPr/>
        </p:nvGrpSpPr>
        <p:grpSpPr>
          <a:xfrm>
            <a:off x="2828289" y="6399522"/>
            <a:ext cx="3002760" cy="367200"/>
            <a:chOff x="2828289" y="6399522"/>
            <a:chExt cx="3002760" cy="3672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96">
              <p14:nvContentPartPr>
                <p14:cNvPr id="128" name="Ink 127">
                  <a:extLst>
                    <a:ext uri="{FF2B5EF4-FFF2-40B4-BE49-F238E27FC236}">
                      <a16:creationId xmlns:a16="http://schemas.microsoft.com/office/drawing/2014/main" id="{003021B9-228F-4AEA-A1A5-817820CD351C}"/>
                    </a:ext>
                  </a:extLst>
                </p14:cNvPr>
                <p14:cNvContentPartPr/>
                <p14:nvPr/>
              </p14:nvContentPartPr>
              <p14:xfrm>
                <a:off x="2828289" y="6399522"/>
                <a:ext cx="221400" cy="160920"/>
              </p14:xfrm>
            </p:contentPart>
          </mc:Choice>
          <mc:Fallback xmlns="">
            <p:pic>
              <p:nvPicPr>
                <p:cNvPr id="128" name="Ink 127">
                  <a:extLst>
                    <a:ext uri="{FF2B5EF4-FFF2-40B4-BE49-F238E27FC236}">
                      <a16:creationId xmlns:a16="http://schemas.microsoft.com/office/drawing/2014/main" id="{003021B9-228F-4AEA-A1A5-817820CD351C}"/>
                    </a:ext>
                  </a:extLst>
                </p:cNvPr>
                <p:cNvPicPr/>
                <p:nvPr/>
              </p:nvPicPr>
              <p:blipFill>
                <a:blip r:embed="rId197"/>
                <a:stretch>
                  <a:fillRect/>
                </a:stretch>
              </p:blipFill>
              <p:spPr>
                <a:xfrm>
                  <a:off x="2810289" y="6381522"/>
                  <a:ext cx="257040" cy="19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8">
              <p14:nvContentPartPr>
                <p14:cNvPr id="129" name="Ink 128">
                  <a:extLst>
                    <a:ext uri="{FF2B5EF4-FFF2-40B4-BE49-F238E27FC236}">
                      <a16:creationId xmlns:a16="http://schemas.microsoft.com/office/drawing/2014/main" id="{10AE437B-31BC-425F-896D-A9D29977F056}"/>
                    </a:ext>
                  </a:extLst>
                </p14:cNvPr>
                <p14:cNvContentPartPr/>
                <p14:nvPr/>
              </p14:nvContentPartPr>
              <p14:xfrm>
                <a:off x="3102609" y="6419682"/>
                <a:ext cx="1055520" cy="232200"/>
              </p14:xfrm>
            </p:contentPart>
          </mc:Choice>
          <mc:Fallback xmlns="">
            <p:pic>
              <p:nvPicPr>
                <p:cNvPr id="129" name="Ink 128">
                  <a:extLst>
                    <a:ext uri="{FF2B5EF4-FFF2-40B4-BE49-F238E27FC236}">
                      <a16:creationId xmlns:a16="http://schemas.microsoft.com/office/drawing/2014/main" id="{10AE437B-31BC-425F-896D-A9D29977F056}"/>
                    </a:ext>
                  </a:extLst>
                </p:cNvPr>
                <p:cNvPicPr/>
                <p:nvPr/>
              </p:nvPicPr>
              <p:blipFill>
                <a:blip r:embed="rId199"/>
                <a:stretch>
                  <a:fillRect/>
                </a:stretch>
              </p:blipFill>
              <p:spPr>
                <a:xfrm>
                  <a:off x="3084609" y="6401682"/>
                  <a:ext cx="1091160" cy="26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0">
              <p14:nvContentPartPr>
                <p14:cNvPr id="130" name="Ink 129">
                  <a:extLst>
                    <a:ext uri="{FF2B5EF4-FFF2-40B4-BE49-F238E27FC236}">
                      <a16:creationId xmlns:a16="http://schemas.microsoft.com/office/drawing/2014/main" id="{A638DA51-5705-4295-A240-6D7D9E30F921}"/>
                    </a:ext>
                  </a:extLst>
                </p14:cNvPr>
                <p14:cNvContentPartPr/>
                <p14:nvPr/>
              </p14:nvContentPartPr>
              <p14:xfrm>
                <a:off x="4347489" y="6494562"/>
                <a:ext cx="43200" cy="220320"/>
              </p14:xfrm>
            </p:contentPart>
          </mc:Choice>
          <mc:Fallback xmlns="">
            <p:pic>
              <p:nvPicPr>
                <p:cNvPr id="130" name="Ink 129">
                  <a:extLst>
                    <a:ext uri="{FF2B5EF4-FFF2-40B4-BE49-F238E27FC236}">
                      <a16:creationId xmlns:a16="http://schemas.microsoft.com/office/drawing/2014/main" id="{A638DA51-5705-4295-A240-6D7D9E30F921}"/>
                    </a:ext>
                  </a:extLst>
                </p:cNvPr>
                <p:cNvPicPr/>
                <p:nvPr/>
              </p:nvPicPr>
              <p:blipFill>
                <a:blip r:embed="rId201"/>
                <a:stretch>
                  <a:fillRect/>
                </a:stretch>
              </p:blipFill>
              <p:spPr>
                <a:xfrm>
                  <a:off x="4329489" y="6476562"/>
                  <a:ext cx="78840" cy="25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2">
              <p14:nvContentPartPr>
                <p14:cNvPr id="131" name="Ink 130">
                  <a:extLst>
                    <a:ext uri="{FF2B5EF4-FFF2-40B4-BE49-F238E27FC236}">
                      <a16:creationId xmlns:a16="http://schemas.microsoft.com/office/drawing/2014/main" id="{4D262467-4779-4C5B-8547-110CF121C273}"/>
                    </a:ext>
                  </a:extLst>
                </p14:cNvPr>
                <p14:cNvContentPartPr/>
                <p14:nvPr/>
              </p14:nvContentPartPr>
              <p14:xfrm>
                <a:off x="4257849" y="6592842"/>
                <a:ext cx="764280" cy="173880"/>
              </p14:xfrm>
            </p:contentPart>
          </mc:Choice>
          <mc:Fallback xmlns="">
            <p:pic>
              <p:nvPicPr>
                <p:cNvPr id="131" name="Ink 130">
                  <a:extLst>
                    <a:ext uri="{FF2B5EF4-FFF2-40B4-BE49-F238E27FC236}">
                      <a16:creationId xmlns:a16="http://schemas.microsoft.com/office/drawing/2014/main" id="{4D262467-4779-4C5B-8547-110CF121C273}"/>
                    </a:ext>
                  </a:extLst>
                </p:cNvPr>
                <p:cNvPicPr/>
                <p:nvPr/>
              </p:nvPicPr>
              <p:blipFill>
                <a:blip r:embed="rId203"/>
                <a:stretch>
                  <a:fillRect/>
                </a:stretch>
              </p:blipFill>
              <p:spPr>
                <a:xfrm>
                  <a:off x="4239849" y="6575202"/>
                  <a:ext cx="799920" cy="209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4">
              <p14:nvContentPartPr>
                <p14:cNvPr id="132" name="Ink 131">
                  <a:extLst>
                    <a:ext uri="{FF2B5EF4-FFF2-40B4-BE49-F238E27FC236}">
                      <a16:creationId xmlns:a16="http://schemas.microsoft.com/office/drawing/2014/main" id="{588D1159-0F16-477B-A60F-A765B5EDE4A0}"/>
                    </a:ext>
                  </a:extLst>
                </p14:cNvPr>
                <p14:cNvContentPartPr/>
                <p14:nvPr/>
              </p14:nvContentPartPr>
              <p14:xfrm>
                <a:off x="5276649" y="6449202"/>
                <a:ext cx="554400" cy="213480"/>
              </p14:xfrm>
            </p:contentPart>
          </mc:Choice>
          <mc:Fallback xmlns="">
            <p:pic>
              <p:nvPicPr>
                <p:cNvPr id="132" name="Ink 131">
                  <a:extLst>
                    <a:ext uri="{FF2B5EF4-FFF2-40B4-BE49-F238E27FC236}">
                      <a16:creationId xmlns:a16="http://schemas.microsoft.com/office/drawing/2014/main" id="{588D1159-0F16-477B-A60F-A765B5EDE4A0}"/>
                    </a:ext>
                  </a:extLst>
                </p:cNvPr>
                <p:cNvPicPr/>
                <p:nvPr/>
              </p:nvPicPr>
              <p:blipFill>
                <a:blip r:embed="rId205"/>
                <a:stretch>
                  <a:fillRect/>
                </a:stretch>
              </p:blipFill>
              <p:spPr>
                <a:xfrm>
                  <a:off x="5259009" y="6431562"/>
                  <a:ext cx="590040" cy="2491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E0717170-54F7-4D93-9B3B-E278AB31907B}"/>
              </a:ext>
            </a:extLst>
          </p:cNvPr>
          <p:cNvGrpSpPr/>
          <p:nvPr/>
        </p:nvGrpSpPr>
        <p:grpSpPr>
          <a:xfrm>
            <a:off x="6281049" y="6357402"/>
            <a:ext cx="1820520" cy="310680"/>
            <a:chOff x="6281049" y="6357402"/>
            <a:chExt cx="1820520" cy="3106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06">
              <p14:nvContentPartPr>
                <p14:cNvPr id="133" name="Ink 132">
                  <a:extLst>
                    <a:ext uri="{FF2B5EF4-FFF2-40B4-BE49-F238E27FC236}">
                      <a16:creationId xmlns:a16="http://schemas.microsoft.com/office/drawing/2014/main" id="{4A04FA0D-F18B-4884-BBD0-F5591BAF1898}"/>
                    </a:ext>
                  </a:extLst>
                </p14:cNvPr>
                <p14:cNvContentPartPr/>
                <p14:nvPr/>
              </p14:nvContentPartPr>
              <p14:xfrm>
                <a:off x="6281049" y="6357402"/>
                <a:ext cx="353520" cy="260280"/>
              </p14:xfrm>
            </p:contentPart>
          </mc:Choice>
          <mc:Fallback xmlns="">
            <p:pic>
              <p:nvPicPr>
                <p:cNvPr id="133" name="Ink 132">
                  <a:extLst>
                    <a:ext uri="{FF2B5EF4-FFF2-40B4-BE49-F238E27FC236}">
                      <a16:creationId xmlns:a16="http://schemas.microsoft.com/office/drawing/2014/main" id="{4A04FA0D-F18B-4884-BBD0-F5591BAF1898}"/>
                    </a:ext>
                  </a:extLst>
                </p:cNvPr>
                <p:cNvPicPr/>
                <p:nvPr/>
              </p:nvPicPr>
              <p:blipFill>
                <a:blip r:embed="rId207"/>
                <a:stretch>
                  <a:fillRect/>
                </a:stretch>
              </p:blipFill>
              <p:spPr>
                <a:xfrm>
                  <a:off x="6263049" y="6339762"/>
                  <a:ext cx="389160" cy="295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8">
              <p14:nvContentPartPr>
                <p14:cNvPr id="134" name="Ink 133">
                  <a:extLst>
                    <a:ext uri="{FF2B5EF4-FFF2-40B4-BE49-F238E27FC236}">
                      <a16:creationId xmlns:a16="http://schemas.microsoft.com/office/drawing/2014/main" id="{D2C15761-CDA5-4D24-9AEB-8494D3E26DA6}"/>
                    </a:ext>
                  </a:extLst>
                </p14:cNvPr>
                <p14:cNvContentPartPr/>
                <p14:nvPr/>
              </p14:nvContentPartPr>
              <p14:xfrm>
                <a:off x="6621969" y="6536322"/>
                <a:ext cx="175320" cy="89280"/>
              </p14:xfrm>
            </p:contentPart>
          </mc:Choice>
          <mc:Fallback xmlns="">
            <p:pic>
              <p:nvPicPr>
                <p:cNvPr id="134" name="Ink 133">
                  <a:extLst>
                    <a:ext uri="{FF2B5EF4-FFF2-40B4-BE49-F238E27FC236}">
                      <a16:creationId xmlns:a16="http://schemas.microsoft.com/office/drawing/2014/main" id="{D2C15761-CDA5-4D24-9AEB-8494D3E26DA6}"/>
                    </a:ext>
                  </a:extLst>
                </p:cNvPr>
                <p:cNvPicPr/>
                <p:nvPr/>
              </p:nvPicPr>
              <p:blipFill>
                <a:blip r:embed="rId209"/>
                <a:stretch>
                  <a:fillRect/>
                </a:stretch>
              </p:blipFill>
              <p:spPr>
                <a:xfrm>
                  <a:off x="6604329" y="6518682"/>
                  <a:ext cx="210960" cy="12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0">
              <p14:nvContentPartPr>
                <p14:cNvPr id="135" name="Ink 134">
                  <a:extLst>
                    <a:ext uri="{FF2B5EF4-FFF2-40B4-BE49-F238E27FC236}">
                      <a16:creationId xmlns:a16="http://schemas.microsoft.com/office/drawing/2014/main" id="{3F50F763-E584-4AFF-BC6B-14FB8B2CA976}"/>
                    </a:ext>
                  </a:extLst>
                </p14:cNvPr>
                <p14:cNvContentPartPr/>
                <p14:nvPr/>
              </p14:nvContentPartPr>
              <p14:xfrm>
                <a:off x="6834009" y="6507522"/>
                <a:ext cx="246600" cy="155520"/>
              </p14:xfrm>
            </p:contentPart>
          </mc:Choice>
          <mc:Fallback xmlns="">
            <p:pic>
              <p:nvPicPr>
                <p:cNvPr id="135" name="Ink 134">
                  <a:extLst>
                    <a:ext uri="{FF2B5EF4-FFF2-40B4-BE49-F238E27FC236}">
                      <a16:creationId xmlns:a16="http://schemas.microsoft.com/office/drawing/2014/main" id="{3F50F763-E584-4AFF-BC6B-14FB8B2CA976}"/>
                    </a:ext>
                  </a:extLst>
                </p:cNvPr>
                <p:cNvPicPr/>
                <p:nvPr/>
              </p:nvPicPr>
              <p:blipFill>
                <a:blip r:embed="rId211"/>
                <a:stretch>
                  <a:fillRect/>
                </a:stretch>
              </p:blipFill>
              <p:spPr>
                <a:xfrm>
                  <a:off x="6816009" y="6489882"/>
                  <a:ext cx="282240" cy="19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2">
              <p14:nvContentPartPr>
                <p14:cNvPr id="136" name="Ink 135">
                  <a:extLst>
                    <a:ext uri="{FF2B5EF4-FFF2-40B4-BE49-F238E27FC236}">
                      <a16:creationId xmlns:a16="http://schemas.microsoft.com/office/drawing/2014/main" id="{353225D7-5944-490C-A1CC-4305EE5B8D42}"/>
                    </a:ext>
                  </a:extLst>
                </p14:cNvPr>
                <p14:cNvContentPartPr/>
                <p14:nvPr/>
              </p14:nvContentPartPr>
              <p14:xfrm>
                <a:off x="7156929" y="6475122"/>
                <a:ext cx="568080" cy="192960"/>
              </p14:xfrm>
            </p:contentPart>
          </mc:Choice>
          <mc:Fallback xmlns="">
            <p:pic>
              <p:nvPicPr>
                <p:cNvPr id="136" name="Ink 135">
                  <a:extLst>
                    <a:ext uri="{FF2B5EF4-FFF2-40B4-BE49-F238E27FC236}">
                      <a16:creationId xmlns:a16="http://schemas.microsoft.com/office/drawing/2014/main" id="{353225D7-5944-490C-A1CC-4305EE5B8D42}"/>
                    </a:ext>
                  </a:extLst>
                </p:cNvPr>
                <p:cNvPicPr/>
                <p:nvPr/>
              </p:nvPicPr>
              <p:blipFill>
                <a:blip r:embed="rId213"/>
                <a:stretch>
                  <a:fillRect/>
                </a:stretch>
              </p:blipFill>
              <p:spPr>
                <a:xfrm>
                  <a:off x="7139289" y="6457122"/>
                  <a:ext cx="603720" cy="22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4">
              <p14:nvContentPartPr>
                <p14:cNvPr id="137" name="Ink 136">
                  <a:extLst>
                    <a:ext uri="{FF2B5EF4-FFF2-40B4-BE49-F238E27FC236}">
                      <a16:creationId xmlns:a16="http://schemas.microsoft.com/office/drawing/2014/main" id="{FDCA5F5F-854C-418C-87BF-D94BECE25522}"/>
                    </a:ext>
                  </a:extLst>
                </p14:cNvPr>
                <p14:cNvContentPartPr/>
                <p14:nvPr/>
              </p14:nvContentPartPr>
              <p14:xfrm>
                <a:off x="7702329" y="6444162"/>
                <a:ext cx="129240" cy="209880"/>
              </p14:xfrm>
            </p:contentPart>
          </mc:Choice>
          <mc:Fallback xmlns="">
            <p:pic>
              <p:nvPicPr>
                <p:cNvPr id="137" name="Ink 136">
                  <a:extLst>
                    <a:ext uri="{FF2B5EF4-FFF2-40B4-BE49-F238E27FC236}">
                      <a16:creationId xmlns:a16="http://schemas.microsoft.com/office/drawing/2014/main" id="{FDCA5F5F-854C-418C-87BF-D94BECE25522}"/>
                    </a:ext>
                  </a:extLst>
                </p:cNvPr>
                <p:cNvPicPr/>
                <p:nvPr/>
              </p:nvPicPr>
              <p:blipFill>
                <a:blip r:embed="rId215"/>
                <a:stretch>
                  <a:fillRect/>
                </a:stretch>
              </p:blipFill>
              <p:spPr>
                <a:xfrm>
                  <a:off x="7684329" y="6426162"/>
                  <a:ext cx="164880" cy="24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6">
              <p14:nvContentPartPr>
                <p14:cNvPr id="138" name="Ink 137">
                  <a:extLst>
                    <a:ext uri="{FF2B5EF4-FFF2-40B4-BE49-F238E27FC236}">
                      <a16:creationId xmlns:a16="http://schemas.microsoft.com/office/drawing/2014/main" id="{11CFAB08-3914-453C-9C0F-9A0B842C5334}"/>
                    </a:ext>
                  </a:extLst>
                </p14:cNvPr>
                <p14:cNvContentPartPr/>
                <p14:nvPr/>
              </p14:nvContentPartPr>
              <p14:xfrm>
                <a:off x="7893489" y="6526242"/>
                <a:ext cx="208080" cy="108720"/>
              </p14:xfrm>
            </p:contentPart>
          </mc:Choice>
          <mc:Fallback xmlns="">
            <p:pic>
              <p:nvPicPr>
                <p:cNvPr id="138" name="Ink 137">
                  <a:extLst>
                    <a:ext uri="{FF2B5EF4-FFF2-40B4-BE49-F238E27FC236}">
                      <a16:creationId xmlns:a16="http://schemas.microsoft.com/office/drawing/2014/main" id="{11CFAB08-3914-453C-9C0F-9A0B842C5334}"/>
                    </a:ext>
                  </a:extLst>
                </p:cNvPr>
                <p:cNvPicPr/>
                <p:nvPr/>
              </p:nvPicPr>
              <p:blipFill>
                <a:blip r:embed="rId217"/>
                <a:stretch>
                  <a:fillRect/>
                </a:stretch>
              </p:blipFill>
              <p:spPr>
                <a:xfrm>
                  <a:off x="7875849" y="6508602"/>
                  <a:ext cx="243720" cy="14436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46705508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3FB8FAA7-C0BB-4BC7-B553-F1F1AD3E72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41713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F54E475D-A98B-46C3-9526-C5DF297F5B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46065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9025D30-D31D-4F1A-9413-AB675BEE5A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8857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854B6F87-7207-48A4-B475-5DAE60D11F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53026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F55D4A92-0923-4616-90A2-BC40A09F08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27415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336DE69-AEF5-496D-B271-B995CEE7F4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0339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84465A5-A4A9-4EE1-8BDE-5CD7A013DB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E1FEEF73-873A-41B4-8952-C8B66904DE15}"/>
                  </a:ext>
                </a:extLst>
              </p14:cNvPr>
              <p14:cNvContentPartPr/>
              <p14:nvPr/>
            </p14:nvContentPartPr>
            <p14:xfrm>
              <a:off x="7136715" y="2126145"/>
              <a:ext cx="19080" cy="1584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E1FEEF73-873A-41B4-8952-C8B66904DE15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118715" y="2108145"/>
                <a:ext cx="54720" cy="51480"/>
              </a:xfrm>
              <a:prstGeom prst="rect">
                <a:avLst/>
              </a:prstGeom>
            </p:spPr>
          </p:pic>
        </mc:Fallback>
      </mc:AlternateContent>
      <p:grpSp>
        <p:nvGrpSpPr>
          <p:cNvPr id="56" name="Group 55">
            <a:extLst>
              <a:ext uri="{FF2B5EF4-FFF2-40B4-BE49-F238E27FC236}">
                <a16:creationId xmlns:a16="http://schemas.microsoft.com/office/drawing/2014/main" id="{7B449DF7-0782-4321-A027-2A68DB64A3F4}"/>
              </a:ext>
            </a:extLst>
          </p:cNvPr>
          <p:cNvGrpSpPr/>
          <p:nvPr/>
        </p:nvGrpSpPr>
        <p:grpSpPr>
          <a:xfrm>
            <a:off x="7771035" y="2103465"/>
            <a:ext cx="4193640" cy="780120"/>
            <a:chOff x="7771035" y="2103465"/>
            <a:chExt cx="4193640" cy="7801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6ABC58B6-7239-4925-B0F1-A83337577403}"/>
                    </a:ext>
                  </a:extLst>
                </p14:cNvPr>
                <p14:cNvContentPartPr/>
                <p14:nvPr/>
              </p14:nvContentPartPr>
              <p14:xfrm>
                <a:off x="7771035" y="2103465"/>
                <a:ext cx="165600" cy="27468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6ABC58B6-7239-4925-B0F1-A83337577403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753395" y="2085465"/>
                  <a:ext cx="201240" cy="31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EE137A70-E0D3-4B39-84C9-07600AB9E510}"/>
                    </a:ext>
                  </a:extLst>
                </p14:cNvPr>
                <p14:cNvContentPartPr/>
                <p14:nvPr/>
              </p14:nvContentPartPr>
              <p14:xfrm>
                <a:off x="7961835" y="2251785"/>
                <a:ext cx="103320" cy="9504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EE137A70-E0D3-4B39-84C9-07600AB9E510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7943835" y="2234145"/>
                  <a:ext cx="138960" cy="130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85E62A72-5A3B-4855-A2FB-AC1BFA352319}"/>
                    </a:ext>
                  </a:extLst>
                </p14:cNvPr>
                <p14:cNvContentPartPr/>
                <p14:nvPr/>
              </p14:nvContentPartPr>
              <p14:xfrm>
                <a:off x="8121675" y="2186985"/>
                <a:ext cx="73080" cy="21708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85E62A72-5A3B-4855-A2FB-AC1BFA352319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103675" y="2168985"/>
                  <a:ext cx="108720" cy="252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E29265F7-7CE4-4643-9982-8FF1CB008421}"/>
                    </a:ext>
                  </a:extLst>
                </p14:cNvPr>
                <p14:cNvContentPartPr/>
                <p14:nvPr/>
              </p14:nvContentPartPr>
              <p14:xfrm>
                <a:off x="8116635" y="2229105"/>
                <a:ext cx="275040" cy="14652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E29265F7-7CE4-4643-9982-8FF1CB008421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098995" y="2211465"/>
                  <a:ext cx="310680" cy="18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9F9E1EEB-60BD-4BF2-BC45-BB8D10CC4C95}"/>
                    </a:ext>
                  </a:extLst>
                </p14:cNvPr>
                <p14:cNvContentPartPr/>
                <p14:nvPr/>
              </p14:nvContentPartPr>
              <p14:xfrm>
                <a:off x="8502915" y="2265825"/>
                <a:ext cx="128880" cy="10476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9F9E1EEB-60BD-4BF2-BC45-BB8D10CC4C95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8484915" y="2247825"/>
                  <a:ext cx="164520" cy="14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69136294-6C0A-4FCE-8A01-8DC321DDA11D}"/>
                    </a:ext>
                  </a:extLst>
                </p14:cNvPr>
                <p14:cNvContentPartPr/>
                <p14:nvPr/>
              </p14:nvContentPartPr>
              <p14:xfrm>
                <a:off x="8766075" y="2242425"/>
                <a:ext cx="354600" cy="28080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69136294-6C0A-4FCE-8A01-8DC321DDA11D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8748435" y="2224785"/>
                  <a:ext cx="390240" cy="31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8EB45171-DC0E-4A9B-BA98-DA1F176618DF}"/>
                    </a:ext>
                  </a:extLst>
                </p14:cNvPr>
                <p14:cNvContentPartPr/>
                <p14:nvPr/>
              </p14:nvContentPartPr>
              <p14:xfrm>
                <a:off x="9190875" y="2203185"/>
                <a:ext cx="76680" cy="15624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8EB45171-DC0E-4A9B-BA98-DA1F176618DF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172875" y="2185185"/>
                  <a:ext cx="112320" cy="19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D7D5EAE0-D3E5-4542-8663-8F69B59225DF}"/>
                    </a:ext>
                  </a:extLst>
                </p14:cNvPr>
                <p14:cNvContentPartPr/>
                <p14:nvPr/>
              </p14:nvContentPartPr>
              <p14:xfrm>
                <a:off x="9158475" y="2307225"/>
                <a:ext cx="69120" cy="10728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D7D5EAE0-D3E5-4542-8663-8F69B59225DF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9140475" y="2289585"/>
                  <a:ext cx="104760" cy="14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4927CF0D-6DAE-4B7A-BCA0-73C645175E14}"/>
                    </a:ext>
                  </a:extLst>
                </p14:cNvPr>
                <p14:cNvContentPartPr/>
                <p14:nvPr/>
              </p14:nvContentPartPr>
              <p14:xfrm>
                <a:off x="9500835" y="2279145"/>
                <a:ext cx="342360" cy="16272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4927CF0D-6DAE-4B7A-BCA0-73C645175E14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9483195" y="2261505"/>
                  <a:ext cx="378000" cy="198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1F76A84F-53E5-4CD0-A6FF-F4A95DDD8C45}"/>
                    </a:ext>
                  </a:extLst>
                </p14:cNvPr>
                <p14:cNvContentPartPr/>
                <p14:nvPr/>
              </p14:nvContentPartPr>
              <p14:xfrm>
                <a:off x="10077915" y="2280945"/>
                <a:ext cx="201240" cy="11772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1F76A84F-53E5-4CD0-A6FF-F4A95DDD8C45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059915" y="2262945"/>
                  <a:ext cx="236880" cy="15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8FDF125F-384D-472B-AB26-3E71C33029DC}"/>
                    </a:ext>
                  </a:extLst>
                </p14:cNvPr>
                <p14:cNvContentPartPr/>
                <p14:nvPr/>
              </p14:nvContentPartPr>
              <p14:xfrm>
                <a:off x="10323435" y="2301105"/>
                <a:ext cx="127800" cy="8820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8FDF125F-384D-472B-AB26-3E71C33029DC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0305435" y="2283465"/>
                  <a:ext cx="163440" cy="12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8391A51B-BD4D-4540-A57C-54DC465CAF71}"/>
                    </a:ext>
                  </a:extLst>
                </p14:cNvPr>
                <p14:cNvContentPartPr/>
                <p14:nvPr/>
              </p14:nvContentPartPr>
              <p14:xfrm>
                <a:off x="10640235" y="2192025"/>
                <a:ext cx="68040" cy="22320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8391A51B-BD4D-4540-A57C-54DC465CAF71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0622235" y="2174385"/>
                  <a:ext cx="103680" cy="25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B70E429E-FCE4-4439-8A50-23213E31BB6A}"/>
                    </a:ext>
                  </a:extLst>
                </p14:cNvPr>
                <p14:cNvContentPartPr/>
                <p14:nvPr/>
              </p14:nvContentPartPr>
              <p14:xfrm>
                <a:off x="10531515" y="2272305"/>
                <a:ext cx="519840" cy="13824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B70E429E-FCE4-4439-8A50-23213E31BB6A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513875" y="2254665"/>
                  <a:ext cx="555480" cy="17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13A54336-D28F-4CB1-B588-96503E3AFE73}"/>
                    </a:ext>
                  </a:extLst>
                </p14:cNvPr>
                <p14:cNvContentPartPr/>
                <p14:nvPr/>
              </p14:nvContentPartPr>
              <p14:xfrm>
                <a:off x="10991595" y="2186265"/>
                <a:ext cx="28440" cy="4896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13A54336-D28F-4CB1-B588-96503E3AFE73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0973595" y="2168625"/>
                  <a:ext cx="64080" cy="8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66D860BD-41B0-40F6-A987-49E14082B502}"/>
                    </a:ext>
                  </a:extLst>
                </p14:cNvPr>
                <p14:cNvContentPartPr/>
                <p14:nvPr/>
              </p14:nvContentPartPr>
              <p14:xfrm>
                <a:off x="10865955" y="2246385"/>
                <a:ext cx="395640" cy="23616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66D860BD-41B0-40F6-A987-49E14082B502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0848315" y="2228745"/>
                  <a:ext cx="431280" cy="27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DC8A4CD5-515A-4DAF-8B76-C6B6C64C8556}"/>
                    </a:ext>
                  </a:extLst>
                </p14:cNvPr>
                <p14:cNvContentPartPr/>
                <p14:nvPr/>
              </p14:nvContentPartPr>
              <p14:xfrm>
                <a:off x="11541675" y="2143425"/>
                <a:ext cx="70560" cy="22860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DC8A4CD5-515A-4DAF-8B76-C6B6C64C8556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1524035" y="2125785"/>
                  <a:ext cx="106200" cy="26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702F2630-8EF7-4D8D-A0A7-CAFAC965CD41}"/>
                    </a:ext>
                  </a:extLst>
                </p14:cNvPr>
                <p14:cNvContentPartPr/>
                <p14:nvPr/>
              </p14:nvContentPartPr>
              <p14:xfrm>
                <a:off x="11485155" y="2238465"/>
                <a:ext cx="479520" cy="9504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702F2630-8EF7-4D8D-A0A7-CAFAC965CD41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1467155" y="2220825"/>
                  <a:ext cx="515160" cy="130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23F2E0E4-D79E-4B80-BB58-2BCFD2BE7D98}"/>
                    </a:ext>
                  </a:extLst>
                </p14:cNvPr>
                <p14:cNvContentPartPr/>
                <p14:nvPr/>
              </p14:nvContentPartPr>
              <p14:xfrm>
                <a:off x="10900515" y="2591985"/>
                <a:ext cx="209160" cy="2700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23F2E0E4-D79E-4B80-BB58-2BCFD2BE7D98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0882875" y="2573985"/>
                  <a:ext cx="244800" cy="6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77649267-EC74-4CA5-AD80-52DEF14A6C74}"/>
                    </a:ext>
                  </a:extLst>
                </p14:cNvPr>
                <p14:cNvContentPartPr/>
                <p14:nvPr/>
              </p14:nvContentPartPr>
              <p14:xfrm>
                <a:off x="10563915" y="2650305"/>
                <a:ext cx="330480" cy="22572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77649267-EC74-4CA5-AD80-52DEF14A6C74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0545915" y="2632305"/>
                  <a:ext cx="366120" cy="26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9236D37D-FAB5-464B-A85E-18F668624D6E}"/>
                    </a:ext>
                  </a:extLst>
                </p14:cNvPr>
                <p14:cNvContentPartPr/>
                <p14:nvPr/>
              </p14:nvContentPartPr>
              <p14:xfrm>
                <a:off x="10878915" y="2737065"/>
                <a:ext cx="251640" cy="13824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9236D37D-FAB5-464B-A85E-18F668624D6E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0860915" y="2719065"/>
                  <a:ext cx="287280" cy="17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4AEFED92-7AD3-448F-9BCB-00193B6B3559}"/>
                    </a:ext>
                  </a:extLst>
                </p14:cNvPr>
                <p14:cNvContentPartPr/>
                <p14:nvPr/>
              </p14:nvContentPartPr>
              <p14:xfrm>
                <a:off x="11179155" y="2725185"/>
                <a:ext cx="241560" cy="11880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4AEFED92-7AD3-448F-9BCB-00193B6B3559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1161515" y="2707545"/>
                  <a:ext cx="277200" cy="15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49144CD1-BEDB-4024-91D5-50AE24C2BA06}"/>
                    </a:ext>
                  </a:extLst>
                </p14:cNvPr>
                <p14:cNvContentPartPr/>
                <p14:nvPr/>
              </p14:nvContentPartPr>
              <p14:xfrm>
                <a:off x="11477595" y="2746065"/>
                <a:ext cx="125280" cy="13752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49144CD1-BEDB-4024-91D5-50AE24C2BA06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1459595" y="2728425"/>
                  <a:ext cx="160920" cy="17316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27325003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FC27DB9C-3A78-418E-A1B2-03D4CCAAB4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11871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91A0E211-B64D-49FE-8DBA-AE852EFCA2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97BB347C-35F7-4A90-BB84-199CCBC31F4C}"/>
              </a:ext>
            </a:extLst>
          </p:cNvPr>
          <p:cNvGrpSpPr/>
          <p:nvPr/>
        </p:nvGrpSpPr>
        <p:grpSpPr>
          <a:xfrm>
            <a:off x="1403355" y="5209905"/>
            <a:ext cx="238680" cy="299160"/>
            <a:chOff x="1403355" y="5209905"/>
            <a:chExt cx="238680" cy="299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6C08CC1B-2731-433A-A094-F50991003CBE}"/>
                    </a:ext>
                  </a:extLst>
                </p14:cNvPr>
                <p14:cNvContentPartPr/>
                <p14:nvPr/>
              </p14:nvContentPartPr>
              <p14:xfrm>
                <a:off x="1529715" y="5209905"/>
                <a:ext cx="18000" cy="26640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6C08CC1B-2731-433A-A094-F50991003CBE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511715" y="5191905"/>
                  <a:ext cx="53640" cy="30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E166F25E-753D-4055-A798-A62C195B1A0C}"/>
                    </a:ext>
                  </a:extLst>
                </p14:cNvPr>
                <p14:cNvContentPartPr/>
                <p14:nvPr/>
              </p14:nvContentPartPr>
              <p14:xfrm>
                <a:off x="1403355" y="5393865"/>
                <a:ext cx="238680" cy="11520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E166F25E-753D-4055-A798-A62C195B1A0C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385715" y="5376225"/>
                  <a:ext cx="274320" cy="150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3C09D25-6B8F-4F4A-B7A3-8A56C91D46F6}"/>
              </a:ext>
            </a:extLst>
          </p:cNvPr>
          <p:cNvGrpSpPr/>
          <p:nvPr/>
        </p:nvGrpSpPr>
        <p:grpSpPr>
          <a:xfrm>
            <a:off x="1277715" y="5666385"/>
            <a:ext cx="966600" cy="264240"/>
            <a:chOff x="1277715" y="5666385"/>
            <a:chExt cx="966600" cy="264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5A25E3FE-9D8F-452C-98A1-105291D551CE}"/>
                    </a:ext>
                  </a:extLst>
                </p14:cNvPr>
                <p14:cNvContentPartPr/>
                <p14:nvPr/>
              </p14:nvContentPartPr>
              <p14:xfrm>
                <a:off x="1277715" y="5675025"/>
                <a:ext cx="201960" cy="18540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5A25E3FE-9D8F-452C-98A1-105291D551CE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260075" y="5657025"/>
                  <a:ext cx="237600" cy="22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DF2180C5-CA9D-47A9-8C47-A434DC19FEA0}"/>
                    </a:ext>
                  </a:extLst>
                </p14:cNvPr>
                <p14:cNvContentPartPr/>
                <p14:nvPr/>
              </p14:nvContentPartPr>
              <p14:xfrm>
                <a:off x="1550595" y="5666385"/>
                <a:ext cx="79560" cy="24300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DF2180C5-CA9D-47A9-8C47-A434DC19FEA0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532595" y="5648745"/>
                  <a:ext cx="115200" cy="27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737A4E85-37BF-4E45-A47E-837597FFC4AD}"/>
                    </a:ext>
                  </a:extLst>
                </p14:cNvPr>
                <p14:cNvContentPartPr/>
                <p14:nvPr/>
              </p14:nvContentPartPr>
              <p14:xfrm>
                <a:off x="1554915" y="5746665"/>
                <a:ext cx="394560" cy="15336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737A4E85-37BF-4E45-A47E-837597FFC4AD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537275" y="5728665"/>
                  <a:ext cx="430200" cy="189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D8C03EFB-2D49-4267-9831-15E9C4E020E4}"/>
                    </a:ext>
                  </a:extLst>
                </p14:cNvPr>
                <p14:cNvContentPartPr/>
                <p14:nvPr/>
              </p14:nvContentPartPr>
              <p14:xfrm>
                <a:off x="1872795" y="5778345"/>
                <a:ext cx="211320" cy="15228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D8C03EFB-2D49-4267-9831-15E9C4E020E4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855155" y="5760705"/>
                  <a:ext cx="246960" cy="18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C4AE21C9-6790-45C9-8F4E-BDC804A77D4A}"/>
                    </a:ext>
                  </a:extLst>
                </p14:cNvPr>
                <p14:cNvContentPartPr/>
                <p14:nvPr/>
              </p14:nvContentPartPr>
              <p14:xfrm>
                <a:off x="2110755" y="5797425"/>
                <a:ext cx="133560" cy="11520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C4AE21C9-6790-45C9-8F4E-BDC804A77D4A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2092755" y="5779425"/>
                  <a:ext cx="169200" cy="1508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22" name="Ink 21">
                <a:extLst>
                  <a:ext uri="{FF2B5EF4-FFF2-40B4-BE49-F238E27FC236}">
                    <a16:creationId xmlns:a16="http://schemas.microsoft.com/office/drawing/2014/main" id="{3D7C37C3-5465-41F1-B014-41030926942E}"/>
                  </a:ext>
                </a:extLst>
              </p14:cNvPr>
              <p14:cNvContentPartPr/>
              <p14:nvPr/>
            </p14:nvContentPartPr>
            <p14:xfrm>
              <a:off x="3728235" y="6121785"/>
              <a:ext cx="107640" cy="138960"/>
            </p14:xfrm>
          </p:contentPart>
        </mc:Choice>
        <mc:Fallback xmlns="">
          <p:pic>
            <p:nvPicPr>
              <p:cNvPr id="22" name="Ink 21">
                <a:extLst>
                  <a:ext uri="{FF2B5EF4-FFF2-40B4-BE49-F238E27FC236}">
                    <a16:creationId xmlns:a16="http://schemas.microsoft.com/office/drawing/2014/main" id="{3D7C37C3-5465-41F1-B014-41030926942E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3710595" y="6104145"/>
                <a:ext cx="143280" cy="174600"/>
              </a:xfrm>
              <a:prstGeom prst="rect">
                <a:avLst/>
              </a:prstGeom>
            </p:spPr>
          </p:pic>
        </mc:Fallback>
      </mc:AlternateContent>
      <p:grpSp>
        <p:nvGrpSpPr>
          <p:cNvPr id="24" name="Group 23">
            <a:extLst>
              <a:ext uri="{FF2B5EF4-FFF2-40B4-BE49-F238E27FC236}">
                <a16:creationId xmlns:a16="http://schemas.microsoft.com/office/drawing/2014/main" id="{C5DEE912-8B5C-4C71-A95D-0B5E3CAE6A86}"/>
              </a:ext>
            </a:extLst>
          </p:cNvPr>
          <p:cNvGrpSpPr/>
          <p:nvPr/>
        </p:nvGrpSpPr>
        <p:grpSpPr>
          <a:xfrm>
            <a:off x="2466435" y="5745945"/>
            <a:ext cx="1614240" cy="265680"/>
            <a:chOff x="2466435" y="5745945"/>
            <a:chExt cx="1614240" cy="2656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B9F2D447-C816-4B4D-8B9E-5216B37CEF17}"/>
                    </a:ext>
                  </a:extLst>
                </p14:cNvPr>
                <p14:cNvContentPartPr/>
                <p14:nvPr/>
              </p14:nvContentPartPr>
              <p14:xfrm>
                <a:off x="2466435" y="5772585"/>
                <a:ext cx="88560" cy="15264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B9F2D447-C816-4B4D-8B9E-5216B37CEF17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2448435" y="5754945"/>
                  <a:ext cx="124200" cy="18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58C9EB0B-89AB-4AC5-9CF2-5736D8469BAE}"/>
                    </a:ext>
                  </a:extLst>
                </p14:cNvPr>
                <p14:cNvContentPartPr/>
                <p14:nvPr/>
              </p14:nvContentPartPr>
              <p14:xfrm>
                <a:off x="2615115" y="5748825"/>
                <a:ext cx="109080" cy="18468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58C9EB0B-89AB-4AC5-9CF2-5736D8469BAE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2597475" y="5730825"/>
                  <a:ext cx="144720" cy="22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49B2870D-0C8A-423B-B785-70D7A5C3F994}"/>
                    </a:ext>
                  </a:extLst>
                </p14:cNvPr>
                <p14:cNvContentPartPr/>
                <p14:nvPr/>
              </p14:nvContentPartPr>
              <p14:xfrm>
                <a:off x="2701515" y="5845305"/>
                <a:ext cx="45720" cy="684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49B2870D-0C8A-423B-B785-70D7A5C3F994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2683875" y="5827305"/>
                  <a:ext cx="8136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6E0D078C-6AC2-4B31-82B5-1409121F2BA7}"/>
                    </a:ext>
                  </a:extLst>
                </p14:cNvPr>
                <p14:cNvContentPartPr/>
                <p14:nvPr/>
              </p14:nvContentPartPr>
              <p14:xfrm>
                <a:off x="2917515" y="5767905"/>
                <a:ext cx="131760" cy="19512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6E0D078C-6AC2-4B31-82B5-1409121F2BA7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2899875" y="5749905"/>
                  <a:ext cx="167400" cy="23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CB3E727C-CE98-4D93-96BC-8429E8BA306B}"/>
                    </a:ext>
                  </a:extLst>
                </p14:cNvPr>
                <p14:cNvContentPartPr/>
                <p14:nvPr/>
              </p14:nvContentPartPr>
              <p14:xfrm>
                <a:off x="3217035" y="5830185"/>
                <a:ext cx="123840" cy="14436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CB3E727C-CE98-4D93-96BC-8429E8BA306B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3199395" y="5812545"/>
                  <a:ext cx="159480" cy="18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FFA8F559-C059-4EF5-938C-DE9467E64CC3}"/>
                    </a:ext>
                  </a:extLst>
                </p14:cNvPr>
                <p14:cNvContentPartPr/>
                <p14:nvPr/>
              </p14:nvContentPartPr>
              <p14:xfrm>
                <a:off x="3397395" y="5745945"/>
                <a:ext cx="362160" cy="24012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FFA8F559-C059-4EF5-938C-DE9467E64CC3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3379395" y="5727945"/>
                  <a:ext cx="397800" cy="27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4029657F-E170-47C1-BDF0-83527BC72E46}"/>
                    </a:ext>
                  </a:extLst>
                </p14:cNvPr>
                <p14:cNvContentPartPr/>
                <p14:nvPr/>
              </p14:nvContentPartPr>
              <p14:xfrm>
                <a:off x="3767835" y="5882385"/>
                <a:ext cx="149040" cy="12924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4029657F-E170-47C1-BDF0-83527BC72E46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3750195" y="5864745"/>
                  <a:ext cx="184680" cy="16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61F8E27A-B3C1-4225-A80E-DB54A7EEFA17}"/>
                    </a:ext>
                  </a:extLst>
                </p14:cNvPr>
                <p14:cNvContentPartPr/>
                <p14:nvPr/>
              </p14:nvContentPartPr>
              <p14:xfrm>
                <a:off x="3877995" y="5866185"/>
                <a:ext cx="202680" cy="14292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61F8E27A-B3C1-4225-A80E-DB54A7EEFA17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3860355" y="5848185"/>
                  <a:ext cx="238320" cy="178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4776377B-CF5A-4504-B0A2-F8323482FF0E}"/>
                    </a:ext>
                  </a:extLst>
                </p14:cNvPr>
                <p14:cNvContentPartPr/>
                <p14:nvPr/>
              </p14:nvContentPartPr>
              <p14:xfrm>
                <a:off x="3665595" y="5818665"/>
                <a:ext cx="143640" cy="2160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4776377B-CF5A-4504-B0A2-F8323482FF0E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3647955" y="5801025"/>
                  <a:ext cx="179280" cy="572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63893639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F4F471DB-C3C5-4D0F-BD04-B98257EE23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21AD01A9-8C9A-47C1-A33B-45602D5BA62F}"/>
              </a:ext>
            </a:extLst>
          </p:cNvPr>
          <p:cNvGrpSpPr/>
          <p:nvPr/>
        </p:nvGrpSpPr>
        <p:grpSpPr>
          <a:xfrm>
            <a:off x="6872475" y="1616745"/>
            <a:ext cx="450000" cy="298800"/>
            <a:chOff x="6872475" y="1616745"/>
            <a:chExt cx="450000" cy="298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D274ABB5-F101-446F-9C11-BB84FF69F159}"/>
                    </a:ext>
                  </a:extLst>
                </p14:cNvPr>
                <p14:cNvContentPartPr/>
                <p14:nvPr/>
              </p14:nvContentPartPr>
              <p14:xfrm>
                <a:off x="6907035" y="1649145"/>
                <a:ext cx="415440" cy="22464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D274ABB5-F101-446F-9C11-BB84FF69F159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889395" y="1631505"/>
                  <a:ext cx="451080" cy="26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84846FF3-3DB0-4393-8AA5-D554D046685E}"/>
                    </a:ext>
                  </a:extLst>
                </p14:cNvPr>
                <p14:cNvContentPartPr/>
                <p14:nvPr/>
              </p14:nvContentPartPr>
              <p14:xfrm>
                <a:off x="7163355" y="1616745"/>
                <a:ext cx="146880" cy="15840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84846FF3-3DB0-4393-8AA5-D554D046685E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145715" y="1599105"/>
                  <a:ext cx="182520" cy="194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83FC79A9-2F70-406E-9942-4196D2CD48B4}"/>
                    </a:ext>
                  </a:extLst>
                </p14:cNvPr>
                <p14:cNvContentPartPr/>
                <p14:nvPr/>
              </p14:nvContentPartPr>
              <p14:xfrm>
                <a:off x="6872475" y="1781985"/>
                <a:ext cx="83160" cy="13356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83FC79A9-2F70-406E-9942-4196D2CD48B4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6854475" y="1763985"/>
                  <a:ext cx="118800" cy="1692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951601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5723E-4547-4714-B95F-B74DD0C8F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BF5F84-0B94-433F-ABE9-6ED280FB10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3537AB-5AA8-46FD-B4CF-2EBAA2CED4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8764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FDA3AFC2-FCB7-496F-8451-30D8E7D6AF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44698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C780EEB-4CF7-43FB-A4BA-B9E4125E1F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9525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00794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28475D65-EFB4-44D9-9A0A-B2BA3D89BA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5964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46BBBBD-4ADD-4AB4-A3BD-CC18020380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00914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CAC71-4DFB-43BC-A759-026CF88A9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CAC71-4DFB-43BC-A759-026CF88A9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557E5D7-9B5D-4E5B-BEAB-5CCE4878E471}"/>
              </a:ext>
            </a:extLst>
          </p:cNvPr>
          <p:cNvSpPr txBox="1"/>
          <p:nvPr/>
        </p:nvSpPr>
        <p:spPr>
          <a:xfrm>
            <a:off x="1754312" y="1217958"/>
            <a:ext cx="9629454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5"/>
              </a:rPr>
              <a:t>https://medium.com/swlh/one-shot-learning-with-siamese-network-1c7404c35fda</a:t>
            </a:r>
            <a:endParaRPr lang="en-US" dirty="0"/>
          </a:p>
          <a:p>
            <a:endParaRPr lang="en-US" dirty="0"/>
          </a:p>
          <a:p>
            <a:r>
              <a:rPr lang="en-US" dirty="0">
                <a:hlinkClick r:id="rId6"/>
              </a:rPr>
              <a:t>https://towardsdatascience.com/one-shot-learning-with-siamese-networks-using-keras-17f34e75bb3d</a:t>
            </a:r>
            <a:endParaRPr lang="en-US" dirty="0"/>
          </a:p>
          <a:p>
            <a:endParaRPr lang="en-US" dirty="0"/>
          </a:p>
          <a:p>
            <a:r>
              <a:rPr lang="en-US" dirty="0">
                <a:hlinkClick r:id="rId7"/>
              </a:rPr>
              <a:t>https://github.com/wangshusen/DeepLearning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9151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9C69BA-12C9-448A-ADA1-1B9A54B32B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0E9991-E0B2-45C8-AC2F-53DC2A3E3E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7D1CAA-E06B-429E-A593-DC751A604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246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CB82FCE-15E3-402C-BD53-3158834271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386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CB82FCE-15E3-402C-BD53-3158834271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6098C2-D2A6-415D-9CBA-25ADBC88EF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64F92E-B6B8-4985-B4CC-74048D2C18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390297DC-03BF-4565-A0F9-47DCF60CFE29}"/>
                  </a:ext>
                </a:extLst>
              </p14:cNvPr>
              <p14:cNvContentPartPr/>
              <p14:nvPr/>
            </p14:nvContentPartPr>
            <p14:xfrm>
              <a:off x="8264955" y="2422785"/>
              <a:ext cx="9000" cy="864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390297DC-03BF-4565-A0F9-47DCF60CFE29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246955" y="2404785"/>
                <a:ext cx="44640" cy="44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58D2CF77-6DAA-4A34-B010-C5B817CCF6FB}"/>
                  </a:ext>
                </a:extLst>
              </p14:cNvPr>
              <p14:cNvContentPartPr/>
              <p14:nvPr/>
            </p14:nvContentPartPr>
            <p14:xfrm>
              <a:off x="3062595" y="1713225"/>
              <a:ext cx="33840" cy="1980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58D2CF77-6DAA-4A34-B010-C5B817CCF6FB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044955" y="1695225"/>
                <a:ext cx="69480" cy="55440"/>
              </a:xfrm>
              <a:prstGeom prst="rect">
                <a:avLst/>
              </a:prstGeom>
            </p:spPr>
          </p:pic>
        </mc:Fallback>
      </mc:AlternateContent>
      <p:grpSp>
        <p:nvGrpSpPr>
          <p:cNvPr id="38" name="Group 37">
            <a:extLst>
              <a:ext uri="{FF2B5EF4-FFF2-40B4-BE49-F238E27FC236}">
                <a16:creationId xmlns:a16="http://schemas.microsoft.com/office/drawing/2014/main" id="{6784F375-D65C-47E7-95F8-E19C0FEC9C8D}"/>
              </a:ext>
            </a:extLst>
          </p:cNvPr>
          <p:cNvGrpSpPr/>
          <p:nvPr/>
        </p:nvGrpSpPr>
        <p:grpSpPr>
          <a:xfrm>
            <a:off x="7834035" y="1202385"/>
            <a:ext cx="3798360" cy="327960"/>
            <a:chOff x="7834035" y="1202385"/>
            <a:chExt cx="3798360" cy="327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913B4C9A-E20B-4B1F-91DD-804B0151530B}"/>
                    </a:ext>
                  </a:extLst>
                </p14:cNvPr>
                <p14:cNvContentPartPr/>
                <p14:nvPr/>
              </p14:nvContentPartPr>
              <p14:xfrm>
                <a:off x="7834035" y="1202385"/>
                <a:ext cx="180360" cy="24948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913B4C9A-E20B-4B1F-91DD-804B0151530B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7816395" y="1184385"/>
                  <a:ext cx="216000" cy="28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5FC0B41F-6FDF-4764-ACA3-D0F4FC446831}"/>
                    </a:ext>
                  </a:extLst>
                </p14:cNvPr>
                <p14:cNvContentPartPr/>
                <p14:nvPr/>
              </p14:nvContentPartPr>
              <p14:xfrm>
                <a:off x="8112315" y="1334145"/>
                <a:ext cx="63000" cy="756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5FC0B41F-6FDF-4764-ACA3-D0F4FC446831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8094315" y="1316505"/>
                  <a:ext cx="98640" cy="43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ACC2EB7E-3720-4707-A02A-32E39FCA73F1}"/>
                    </a:ext>
                  </a:extLst>
                </p14:cNvPr>
                <p14:cNvContentPartPr/>
                <p14:nvPr/>
              </p14:nvContentPartPr>
              <p14:xfrm>
                <a:off x="8369355" y="1203105"/>
                <a:ext cx="35280" cy="31608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ACC2EB7E-3720-4707-A02A-32E39FCA73F1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8351355" y="1185465"/>
                  <a:ext cx="70920" cy="35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93B36FCE-AC42-4538-9795-FA5FDF4A511D}"/>
                    </a:ext>
                  </a:extLst>
                </p14:cNvPr>
                <p14:cNvContentPartPr/>
                <p14:nvPr/>
              </p14:nvContentPartPr>
              <p14:xfrm>
                <a:off x="8527755" y="1211385"/>
                <a:ext cx="129960" cy="24264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93B36FCE-AC42-4538-9795-FA5FDF4A511D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8510115" y="1193385"/>
                  <a:ext cx="165600" cy="27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A4898D17-5674-4911-9F2C-519283C66512}"/>
                    </a:ext>
                  </a:extLst>
                </p14:cNvPr>
                <p14:cNvContentPartPr/>
                <p14:nvPr/>
              </p14:nvContentPartPr>
              <p14:xfrm>
                <a:off x="8547195" y="1360065"/>
                <a:ext cx="101160" cy="2376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A4898D17-5674-4911-9F2C-519283C66512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8529555" y="1342425"/>
                  <a:ext cx="136800" cy="5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95C3C424-F31A-4544-A5B7-239FF96B0BA9}"/>
                    </a:ext>
                  </a:extLst>
                </p14:cNvPr>
                <p14:cNvContentPartPr/>
                <p14:nvPr/>
              </p14:nvContentPartPr>
              <p14:xfrm>
                <a:off x="8836635" y="1336305"/>
                <a:ext cx="168480" cy="15300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95C3C424-F31A-4544-A5B7-239FF96B0BA9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8818995" y="1318305"/>
                  <a:ext cx="204120" cy="18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E7BA54E2-8F61-4F3A-9C66-0366B1F44773}"/>
                    </a:ext>
                  </a:extLst>
                </p14:cNvPr>
                <p14:cNvContentPartPr/>
                <p14:nvPr/>
              </p14:nvContentPartPr>
              <p14:xfrm>
                <a:off x="9034635" y="1365465"/>
                <a:ext cx="200520" cy="11556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E7BA54E2-8F61-4F3A-9C66-0366B1F44773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9016635" y="1347465"/>
                  <a:ext cx="236160" cy="15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75846F9F-77FB-4845-A4AB-54E6D2060B9D}"/>
                    </a:ext>
                  </a:extLst>
                </p14:cNvPr>
                <p14:cNvContentPartPr/>
                <p14:nvPr/>
              </p14:nvContentPartPr>
              <p14:xfrm>
                <a:off x="9328035" y="1323345"/>
                <a:ext cx="276120" cy="17784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75846F9F-77FB-4845-A4AB-54E6D2060B9D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9310035" y="1305345"/>
                  <a:ext cx="311760" cy="21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33EB143F-B516-45DD-BAB1-3A6C9C5A962B}"/>
                    </a:ext>
                  </a:extLst>
                </p14:cNvPr>
                <p14:cNvContentPartPr/>
                <p14:nvPr/>
              </p14:nvContentPartPr>
              <p14:xfrm>
                <a:off x="9704955" y="1329825"/>
                <a:ext cx="29880" cy="13824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33EB143F-B516-45DD-BAB1-3A6C9C5A962B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9686955" y="1311825"/>
                  <a:ext cx="65520" cy="17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C97ABF18-1B9E-4F2D-B8B9-99788E67F39E}"/>
                    </a:ext>
                  </a:extLst>
                </p14:cNvPr>
                <p14:cNvContentPartPr/>
                <p14:nvPr/>
              </p14:nvContentPartPr>
              <p14:xfrm>
                <a:off x="9770835" y="1307505"/>
                <a:ext cx="326880" cy="17712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C97ABF18-1B9E-4F2D-B8B9-99788E67F39E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9753195" y="1289865"/>
                  <a:ext cx="362520" cy="21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CF8541AA-51E0-4A8D-9ECF-223A881DE21B}"/>
                    </a:ext>
                  </a:extLst>
                </p14:cNvPr>
                <p14:cNvContentPartPr/>
                <p14:nvPr/>
              </p14:nvContentPartPr>
              <p14:xfrm>
                <a:off x="10005555" y="1329465"/>
                <a:ext cx="455400" cy="17856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CF8541AA-51E0-4A8D-9ECF-223A881DE21B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9987555" y="1311825"/>
                  <a:ext cx="491040" cy="21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6283F0C2-0303-44DB-ACB2-BAF05AEC308C}"/>
                    </a:ext>
                  </a:extLst>
                </p14:cNvPr>
                <p14:cNvContentPartPr/>
                <p14:nvPr/>
              </p14:nvContentPartPr>
              <p14:xfrm>
                <a:off x="10675875" y="1352145"/>
                <a:ext cx="545400" cy="17820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6283F0C2-0303-44DB-ACB2-BAF05AEC308C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10658235" y="1334145"/>
                  <a:ext cx="581040" cy="21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81378377-4674-4758-A634-0558FADE98A6}"/>
                    </a:ext>
                  </a:extLst>
                </p14:cNvPr>
                <p14:cNvContentPartPr/>
                <p14:nvPr/>
              </p14:nvContentPartPr>
              <p14:xfrm>
                <a:off x="11272395" y="1277625"/>
                <a:ext cx="360000" cy="23328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81378377-4674-4758-A634-0558FADE98A6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11254395" y="1259625"/>
                  <a:ext cx="395640" cy="2689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886854C-2FDE-4BBD-9883-AE1E12CA5ACE}"/>
              </a:ext>
            </a:extLst>
          </p:cNvPr>
          <p:cNvGrpSpPr/>
          <p:nvPr/>
        </p:nvGrpSpPr>
        <p:grpSpPr>
          <a:xfrm>
            <a:off x="8237235" y="1711065"/>
            <a:ext cx="2862000" cy="426600"/>
            <a:chOff x="8237235" y="1711065"/>
            <a:chExt cx="2862000" cy="426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D9B05CF5-8267-42BB-95AF-7F3A13ECFA0E}"/>
                    </a:ext>
                  </a:extLst>
                </p14:cNvPr>
                <p14:cNvContentPartPr/>
                <p14:nvPr/>
              </p14:nvContentPartPr>
              <p14:xfrm>
                <a:off x="8237235" y="1750305"/>
                <a:ext cx="197640" cy="22320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D9B05CF5-8267-42BB-95AF-7F3A13ECFA0E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8219595" y="1732305"/>
                  <a:ext cx="233280" cy="25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504F77F2-419D-4439-8A9B-0F5DA85C3AD8}"/>
                    </a:ext>
                  </a:extLst>
                </p14:cNvPr>
                <p14:cNvContentPartPr/>
                <p14:nvPr/>
              </p14:nvContentPartPr>
              <p14:xfrm>
                <a:off x="8491035" y="1711065"/>
                <a:ext cx="159480" cy="25992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504F77F2-419D-4439-8A9B-0F5DA85C3AD8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8473035" y="1693425"/>
                  <a:ext cx="195120" cy="29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712953D8-14FF-4684-BEB6-39C6382330FC}"/>
                    </a:ext>
                  </a:extLst>
                </p14:cNvPr>
                <p14:cNvContentPartPr/>
                <p14:nvPr/>
              </p14:nvContentPartPr>
              <p14:xfrm>
                <a:off x="8642235" y="1766865"/>
                <a:ext cx="273600" cy="20268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712953D8-14FF-4684-BEB6-39C6382330FC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8624595" y="1748865"/>
                  <a:ext cx="309240" cy="238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427166CA-3F29-44DC-91F6-FA2B4AF76BEA}"/>
                    </a:ext>
                  </a:extLst>
                </p14:cNvPr>
                <p14:cNvContentPartPr/>
                <p14:nvPr/>
              </p14:nvContentPartPr>
              <p14:xfrm>
                <a:off x="8838795" y="1850745"/>
                <a:ext cx="290160" cy="13680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427166CA-3F29-44DC-91F6-FA2B4AF76BEA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8821155" y="1832745"/>
                  <a:ext cx="325800" cy="17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6302A32D-868F-44B6-8B97-9FD3A126994D}"/>
                    </a:ext>
                  </a:extLst>
                </p14:cNvPr>
                <p14:cNvContentPartPr/>
                <p14:nvPr/>
              </p14:nvContentPartPr>
              <p14:xfrm>
                <a:off x="9129675" y="1781985"/>
                <a:ext cx="16920" cy="4716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6302A32D-868F-44B6-8B97-9FD3A126994D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9111675" y="1763985"/>
                  <a:ext cx="52560" cy="8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A803A2D1-D97E-4891-BBCD-5DF8AD26E6D3}"/>
                    </a:ext>
                  </a:extLst>
                </p14:cNvPr>
                <p14:cNvContentPartPr/>
                <p14:nvPr/>
              </p14:nvContentPartPr>
              <p14:xfrm>
                <a:off x="9183675" y="1835265"/>
                <a:ext cx="102600" cy="14724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A803A2D1-D97E-4891-BBCD-5DF8AD26E6D3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9165675" y="1817265"/>
                  <a:ext cx="138240" cy="18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E32A7190-E454-4D45-BFF1-D6465CE4CD02}"/>
                    </a:ext>
                  </a:extLst>
                </p14:cNvPr>
                <p14:cNvContentPartPr/>
                <p14:nvPr/>
              </p14:nvContentPartPr>
              <p14:xfrm>
                <a:off x="9451515" y="1856505"/>
                <a:ext cx="21600" cy="12744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E32A7190-E454-4D45-BFF1-D6465CE4CD02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9433875" y="1838505"/>
                  <a:ext cx="57240" cy="16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4A872DFC-6B37-4250-BD66-5BE82FED84E0}"/>
                    </a:ext>
                  </a:extLst>
                </p14:cNvPr>
                <p14:cNvContentPartPr/>
                <p14:nvPr/>
              </p14:nvContentPartPr>
              <p14:xfrm>
                <a:off x="9442875" y="1756785"/>
                <a:ext cx="19080" cy="6444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4A872DFC-6B37-4250-BD66-5BE82FED84E0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9424875" y="1738785"/>
                  <a:ext cx="54720" cy="10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DCF21905-EF66-45C2-A713-74A31E988846}"/>
                    </a:ext>
                  </a:extLst>
                </p14:cNvPr>
                <p14:cNvContentPartPr/>
                <p14:nvPr/>
              </p14:nvContentPartPr>
              <p14:xfrm>
                <a:off x="9551235" y="1776225"/>
                <a:ext cx="176400" cy="26172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DCF21905-EF66-45C2-A713-74A31E988846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9533595" y="1758225"/>
                  <a:ext cx="212040" cy="29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FF04D1B6-C321-48BD-A912-05C75728FC7F}"/>
                    </a:ext>
                  </a:extLst>
                </p14:cNvPr>
                <p14:cNvContentPartPr/>
                <p14:nvPr/>
              </p14:nvContentPartPr>
              <p14:xfrm>
                <a:off x="9879915" y="2107065"/>
                <a:ext cx="15480" cy="3060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FF04D1B6-C321-48BD-A912-05C75728FC7F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9861915" y="2089425"/>
                  <a:ext cx="51120" cy="6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6E4C10DA-FCDC-49FF-BE69-B8AFADA26196}"/>
                    </a:ext>
                  </a:extLst>
                </p14:cNvPr>
                <p14:cNvContentPartPr/>
                <p14:nvPr/>
              </p14:nvContentPartPr>
              <p14:xfrm>
                <a:off x="9864075" y="1964505"/>
                <a:ext cx="78480" cy="10980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6E4C10DA-FCDC-49FF-BE69-B8AFADA26196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9846435" y="1946865"/>
                  <a:ext cx="114120" cy="14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BDA8372F-9E7B-4F5A-81D8-C7929C6785DB}"/>
                    </a:ext>
                  </a:extLst>
                </p14:cNvPr>
                <p14:cNvContentPartPr/>
                <p14:nvPr/>
              </p14:nvContentPartPr>
              <p14:xfrm>
                <a:off x="10083675" y="1872705"/>
                <a:ext cx="31320" cy="19080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BDA8372F-9E7B-4F5A-81D8-C7929C6785DB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10065675" y="1855065"/>
                  <a:ext cx="66960" cy="22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574DDB5D-74FE-45C2-AF09-BC91519B35B7}"/>
                    </a:ext>
                  </a:extLst>
                </p14:cNvPr>
                <p14:cNvContentPartPr/>
                <p14:nvPr/>
              </p14:nvContentPartPr>
              <p14:xfrm>
                <a:off x="10057755" y="1751025"/>
                <a:ext cx="228600" cy="31320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574DDB5D-74FE-45C2-AF09-BC91519B35B7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10039755" y="1733025"/>
                  <a:ext cx="264240" cy="34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87BC5484-6CE8-46C4-B49B-A8387C5C78D9}"/>
                    </a:ext>
                  </a:extLst>
                </p14:cNvPr>
                <p14:cNvContentPartPr/>
                <p14:nvPr/>
              </p14:nvContentPartPr>
              <p14:xfrm>
                <a:off x="10235235" y="1912305"/>
                <a:ext cx="500040" cy="13536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87BC5484-6CE8-46C4-B49B-A8387C5C78D9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10217595" y="1894305"/>
                  <a:ext cx="535680" cy="171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BD248E58-D256-417B-B987-F968ECFB30C7}"/>
                    </a:ext>
                  </a:extLst>
                </p14:cNvPr>
                <p14:cNvContentPartPr/>
                <p14:nvPr/>
              </p14:nvContentPartPr>
              <p14:xfrm>
                <a:off x="10802955" y="1914825"/>
                <a:ext cx="42840" cy="14868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BD248E58-D256-417B-B987-F968ECFB30C7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10784955" y="1896825"/>
                  <a:ext cx="78480" cy="184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1D3EA8ED-FC24-4F80-8361-C54BBB456EA4}"/>
                    </a:ext>
                  </a:extLst>
                </p14:cNvPr>
                <p14:cNvContentPartPr/>
                <p14:nvPr/>
              </p14:nvContentPartPr>
              <p14:xfrm>
                <a:off x="10848315" y="1884225"/>
                <a:ext cx="146520" cy="15840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1D3EA8ED-FC24-4F80-8361-C54BBB456EA4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10830315" y="1866585"/>
                  <a:ext cx="182160" cy="194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BE15EA8A-74B8-40C5-99B5-B19161BE2180}"/>
                    </a:ext>
                  </a:extLst>
                </p14:cNvPr>
                <p14:cNvContentPartPr/>
                <p14:nvPr/>
              </p14:nvContentPartPr>
              <p14:xfrm>
                <a:off x="11077995" y="1945785"/>
                <a:ext cx="21240" cy="12024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BE15EA8A-74B8-40C5-99B5-B19161BE2180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11059995" y="1928145"/>
                  <a:ext cx="56880" cy="155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65B9DE7-C4E2-4A02-AB9C-DE5134045F96}"/>
              </a:ext>
            </a:extLst>
          </p:cNvPr>
          <p:cNvGrpSpPr/>
          <p:nvPr/>
        </p:nvGrpSpPr>
        <p:grpSpPr>
          <a:xfrm>
            <a:off x="11388675" y="1926345"/>
            <a:ext cx="677160" cy="191520"/>
            <a:chOff x="11388675" y="1926345"/>
            <a:chExt cx="677160" cy="191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B5BB717E-D6DA-4654-8F2E-49C86A3752BA}"/>
                    </a:ext>
                  </a:extLst>
                </p14:cNvPr>
                <p14:cNvContentPartPr/>
                <p14:nvPr/>
              </p14:nvContentPartPr>
              <p14:xfrm>
                <a:off x="11388675" y="1975305"/>
                <a:ext cx="378360" cy="14256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B5BB717E-D6DA-4654-8F2E-49C86A3752BA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11371035" y="1957665"/>
                  <a:ext cx="414000" cy="17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057A2A95-DC53-4627-BE73-133ED46F3129}"/>
                    </a:ext>
                  </a:extLst>
                </p14:cNvPr>
                <p14:cNvContentPartPr/>
                <p14:nvPr/>
              </p14:nvContentPartPr>
              <p14:xfrm>
                <a:off x="11879715" y="1926345"/>
                <a:ext cx="57240" cy="18972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057A2A95-DC53-4627-BE73-133ED46F3129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11862075" y="1908705"/>
                  <a:ext cx="92880" cy="225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49E2F9EC-0D4E-4BCB-9320-742EF802035B}"/>
                    </a:ext>
                  </a:extLst>
                </p14:cNvPr>
                <p14:cNvContentPartPr/>
                <p14:nvPr/>
              </p14:nvContentPartPr>
              <p14:xfrm>
                <a:off x="11884035" y="2015265"/>
                <a:ext cx="181800" cy="3924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49E2F9EC-0D4E-4BCB-9320-742EF802035B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11866395" y="1997265"/>
                  <a:ext cx="217440" cy="74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961F3980-7CF6-47BA-827B-DB193DE567D8}"/>
              </a:ext>
            </a:extLst>
          </p:cNvPr>
          <p:cNvGrpSpPr/>
          <p:nvPr/>
        </p:nvGrpSpPr>
        <p:grpSpPr>
          <a:xfrm>
            <a:off x="8048955" y="2260785"/>
            <a:ext cx="723960" cy="353160"/>
            <a:chOff x="8048955" y="2260785"/>
            <a:chExt cx="723960" cy="353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E71F7A5E-81F0-46E7-AE6D-92B8898AC9C2}"/>
                    </a:ext>
                  </a:extLst>
                </p14:cNvPr>
                <p14:cNvContentPartPr/>
                <p14:nvPr/>
              </p14:nvContentPartPr>
              <p14:xfrm>
                <a:off x="8124195" y="2260785"/>
                <a:ext cx="127440" cy="35316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E71F7A5E-81F0-46E7-AE6D-92B8898AC9C2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8106195" y="2242785"/>
                  <a:ext cx="163080" cy="388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430E5B0F-BC7F-48DA-BF6E-B336794909D1}"/>
                    </a:ext>
                  </a:extLst>
                </p14:cNvPr>
                <p14:cNvContentPartPr/>
                <p14:nvPr/>
              </p14:nvContentPartPr>
              <p14:xfrm>
                <a:off x="8048955" y="2343585"/>
                <a:ext cx="598680" cy="239400"/>
              </p14:xfrm>
            </p:contentPart>
          </mc:Choice>
          <mc:Fallback xmlns=""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430E5B0F-BC7F-48DA-BF6E-B336794909D1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8030955" y="2325945"/>
                  <a:ext cx="634320" cy="275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27D4C664-3178-4770-B9D9-E834003F9A92}"/>
                    </a:ext>
                  </a:extLst>
                </p14:cNvPr>
                <p14:cNvContentPartPr/>
                <p14:nvPr/>
              </p14:nvContentPartPr>
              <p14:xfrm>
                <a:off x="8748795" y="2376345"/>
                <a:ext cx="24120" cy="192960"/>
              </p14:xfrm>
            </p:contentPart>
          </mc:Choice>
          <mc:Fallback xmlns=""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27D4C664-3178-4770-B9D9-E834003F9A92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8730795" y="2358705"/>
                  <a:ext cx="59760" cy="228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2B99456A-A1E4-4D41-84D6-68B137FE1946}"/>
              </a:ext>
            </a:extLst>
          </p:cNvPr>
          <p:cNvGrpSpPr/>
          <p:nvPr/>
        </p:nvGrpSpPr>
        <p:grpSpPr>
          <a:xfrm>
            <a:off x="9191595" y="2328825"/>
            <a:ext cx="2685600" cy="337320"/>
            <a:chOff x="9191595" y="2328825"/>
            <a:chExt cx="2685600" cy="337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892DC225-2FA6-4E18-A14F-062D75EDEFBC}"/>
                    </a:ext>
                  </a:extLst>
                </p14:cNvPr>
                <p14:cNvContentPartPr/>
                <p14:nvPr/>
              </p14:nvContentPartPr>
              <p14:xfrm>
                <a:off x="9191595" y="2331345"/>
                <a:ext cx="182880" cy="219600"/>
              </p14:xfrm>
            </p:contentPart>
          </mc:Choice>
          <mc:Fallback xmlns=""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892DC225-2FA6-4E18-A14F-062D75EDEFBC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9173595" y="2313705"/>
                  <a:ext cx="218520" cy="25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5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B5B384D9-DE17-4EB7-8167-F8507897E7B8}"/>
                    </a:ext>
                  </a:extLst>
                </p14:cNvPr>
                <p14:cNvContentPartPr/>
                <p14:nvPr/>
              </p14:nvContentPartPr>
              <p14:xfrm>
                <a:off x="9432795" y="2333865"/>
                <a:ext cx="286200" cy="231840"/>
              </p14:xfrm>
            </p:contentPart>
          </mc:Choice>
          <mc:Fallback xmlns=""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B5B384D9-DE17-4EB7-8167-F8507897E7B8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9414795" y="2316225"/>
                  <a:ext cx="321840" cy="267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5649194B-05E6-4D5C-9917-54EE933507DF}"/>
                    </a:ext>
                  </a:extLst>
                </p14:cNvPr>
                <p14:cNvContentPartPr/>
                <p14:nvPr/>
              </p14:nvContentPartPr>
              <p14:xfrm>
                <a:off x="9738075" y="2444745"/>
                <a:ext cx="112320" cy="24480"/>
              </p14:xfrm>
            </p:contentPart>
          </mc:Choice>
          <mc:Fallback xmlns=""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5649194B-05E6-4D5C-9917-54EE933507DF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9720075" y="2427105"/>
                  <a:ext cx="147960" cy="6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65" name="Ink 64">
                  <a:extLst>
                    <a:ext uri="{FF2B5EF4-FFF2-40B4-BE49-F238E27FC236}">
                      <a16:creationId xmlns:a16="http://schemas.microsoft.com/office/drawing/2014/main" id="{F4DB973C-5715-4F28-BFAF-F487FAA5BFD9}"/>
                    </a:ext>
                  </a:extLst>
                </p14:cNvPr>
                <p14:cNvContentPartPr/>
                <p14:nvPr/>
              </p14:nvContentPartPr>
              <p14:xfrm>
                <a:off x="10004475" y="2503785"/>
                <a:ext cx="14040" cy="105840"/>
              </p14:xfrm>
            </p:contentPart>
          </mc:Choice>
          <mc:Fallback xmlns="">
            <p:pic>
              <p:nvPicPr>
                <p:cNvPr id="65" name="Ink 64">
                  <a:extLst>
                    <a:ext uri="{FF2B5EF4-FFF2-40B4-BE49-F238E27FC236}">
                      <a16:creationId xmlns:a16="http://schemas.microsoft.com/office/drawing/2014/main" id="{F4DB973C-5715-4F28-BFAF-F487FAA5BFD9}"/>
                    </a:ext>
                  </a:extLst>
                </p:cNvPr>
                <p:cNvPicPr/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9986475" y="2485785"/>
                  <a:ext cx="49680" cy="14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1">
              <p14:nvContentPartPr>
                <p14:cNvPr id="66" name="Ink 65">
                  <a:extLst>
                    <a:ext uri="{FF2B5EF4-FFF2-40B4-BE49-F238E27FC236}">
                      <a16:creationId xmlns:a16="http://schemas.microsoft.com/office/drawing/2014/main" id="{9DCE6CFE-9AE2-441A-8A68-1882D6231EE2}"/>
                    </a:ext>
                  </a:extLst>
                </p14:cNvPr>
                <p14:cNvContentPartPr/>
                <p14:nvPr/>
              </p14:nvContentPartPr>
              <p14:xfrm>
                <a:off x="10011675" y="2391465"/>
                <a:ext cx="16920" cy="60120"/>
              </p14:xfrm>
            </p:contentPart>
          </mc:Choice>
          <mc:Fallback xmlns="">
            <p:pic>
              <p:nvPicPr>
                <p:cNvPr id="66" name="Ink 65">
                  <a:extLst>
                    <a:ext uri="{FF2B5EF4-FFF2-40B4-BE49-F238E27FC236}">
                      <a16:creationId xmlns:a16="http://schemas.microsoft.com/office/drawing/2014/main" id="{9DCE6CFE-9AE2-441A-8A68-1882D6231EE2}"/>
                    </a:ext>
                  </a:extLst>
                </p:cNvPr>
                <p:cNvPicPr/>
                <p:nvPr/>
              </p:nvPicPr>
              <p:blipFill>
                <a:blip r:embed="rId92"/>
                <a:stretch>
                  <a:fillRect/>
                </a:stretch>
              </p:blipFill>
              <p:spPr>
                <a:xfrm>
                  <a:off x="9993675" y="2373825"/>
                  <a:ext cx="52560" cy="9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3">
              <p14:nvContentPartPr>
                <p14:cNvPr id="67" name="Ink 66">
                  <a:extLst>
                    <a:ext uri="{FF2B5EF4-FFF2-40B4-BE49-F238E27FC236}">
                      <a16:creationId xmlns:a16="http://schemas.microsoft.com/office/drawing/2014/main" id="{D14A74C6-F4D9-4E9B-9D78-B84A825530FA}"/>
                    </a:ext>
                  </a:extLst>
                </p14:cNvPr>
                <p14:cNvContentPartPr/>
                <p14:nvPr/>
              </p14:nvContentPartPr>
              <p14:xfrm>
                <a:off x="10137675" y="2419545"/>
                <a:ext cx="112680" cy="246600"/>
              </p14:xfrm>
            </p:contentPart>
          </mc:Choice>
          <mc:Fallback xmlns="">
            <p:pic>
              <p:nvPicPr>
                <p:cNvPr id="67" name="Ink 66">
                  <a:extLst>
                    <a:ext uri="{FF2B5EF4-FFF2-40B4-BE49-F238E27FC236}">
                      <a16:creationId xmlns:a16="http://schemas.microsoft.com/office/drawing/2014/main" id="{D14A74C6-F4D9-4E9B-9D78-B84A825530FA}"/>
                    </a:ext>
                  </a:extLst>
                </p:cNvPr>
                <p:cNvPicPr/>
                <p:nvPr/>
              </p:nvPicPr>
              <p:blipFill>
                <a:blip r:embed="rId94"/>
                <a:stretch>
                  <a:fillRect/>
                </a:stretch>
              </p:blipFill>
              <p:spPr>
                <a:xfrm>
                  <a:off x="10119675" y="2401545"/>
                  <a:ext cx="148320" cy="282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5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71FBBFEA-4C62-4A84-AAA4-5B28A67FF8A7}"/>
                    </a:ext>
                  </a:extLst>
                </p14:cNvPr>
                <p14:cNvContentPartPr/>
                <p14:nvPr/>
              </p14:nvContentPartPr>
              <p14:xfrm>
                <a:off x="10123275" y="2539425"/>
                <a:ext cx="189360" cy="24840"/>
              </p14:xfrm>
            </p:contentPart>
          </mc:Choice>
          <mc:Fallback xmlns=""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71FBBFEA-4C62-4A84-AAA4-5B28A67FF8A7}"/>
                    </a:ext>
                  </a:extLst>
                </p:cNvPr>
                <p:cNvPicPr/>
                <p:nvPr/>
              </p:nvPicPr>
              <p:blipFill>
                <a:blip r:embed="rId96"/>
                <a:stretch>
                  <a:fillRect/>
                </a:stretch>
              </p:blipFill>
              <p:spPr>
                <a:xfrm>
                  <a:off x="10105635" y="2521785"/>
                  <a:ext cx="22500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7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BDFD5650-3557-4CDD-8957-4557C03DCED7}"/>
                    </a:ext>
                  </a:extLst>
                </p14:cNvPr>
                <p14:cNvContentPartPr/>
                <p14:nvPr/>
              </p14:nvContentPartPr>
              <p14:xfrm>
                <a:off x="10450875" y="2448705"/>
                <a:ext cx="279360" cy="19764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BDFD5650-3557-4CDD-8957-4557C03DCED7}"/>
                    </a:ext>
                  </a:extLst>
                </p:cNvPr>
                <p:cNvPicPr/>
                <p:nvPr/>
              </p:nvPicPr>
              <p:blipFill>
                <a:blip r:embed="rId98"/>
                <a:stretch>
                  <a:fillRect/>
                </a:stretch>
              </p:blipFill>
              <p:spPr>
                <a:xfrm>
                  <a:off x="10432875" y="2430705"/>
                  <a:ext cx="315000" cy="23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9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0B713182-DA4E-49A0-BFC5-3C5CE529829E}"/>
                    </a:ext>
                  </a:extLst>
                </p14:cNvPr>
                <p14:cNvContentPartPr/>
                <p14:nvPr/>
              </p14:nvContentPartPr>
              <p14:xfrm>
                <a:off x="10792875" y="2540505"/>
                <a:ext cx="176760" cy="96120"/>
              </p14:xfrm>
            </p:contentPart>
          </mc:Choice>
          <mc:Fallback xmlns=""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0B713182-DA4E-49A0-BFC5-3C5CE529829E}"/>
                    </a:ext>
                  </a:extLst>
                </p:cNvPr>
                <p:cNvPicPr/>
                <p:nvPr/>
              </p:nvPicPr>
              <p:blipFill>
                <a:blip r:embed="rId100"/>
                <a:stretch>
                  <a:fillRect/>
                </a:stretch>
              </p:blipFill>
              <p:spPr>
                <a:xfrm>
                  <a:off x="10774875" y="2522865"/>
                  <a:ext cx="212400" cy="13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1">
              <p14:nvContentPartPr>
                <p14:cNvPr id="71" name="Ink 70">
                  <a:extLst>
                    <a:ext uri="{FF2B5EF4-FFF2-40B4-BE49-F238E27FC236}">
                      <a16:creationId xmlns:a16="http://schemas.microsoft.com/office/drawing/2014/main" id="{2B337B49-AB25-434D-AC6E-5E265328E768}"/>
                    </a:ext>
                  </a:extLst>
                </p14:cNvPr>
                <p14:cNvContentPartPr/>
                <p14:nvPr/>
              </p14:nvContentPartPr>
              <p14:xfrm>
                <a:off x="11203635" y="2328825"/>
                <a:ext cx="138600" cy="302400"/>
              </p14:xfrm>
            </p:contentPart>
          </mc:Choice>
          <mc:Fallback xmlns="">
            <p:pic>
              <p:nvPicPr>
                <p:cNvPr id="71" name="Ink 70">
                  <a:extLst>
                    <a:ext uri="{FF2B5EF4-FFF2-40B4-BE49-F238E27FC236}">
                      <a16:creationId xmlns:a16="http://schemas.microsoft.com/office/drawing/2014/main" id="{2B337B49-AB25-434D-AC6E-5E265328E768}"/>
                    </a:ext>
                  </a:extLst>
                </p:cNvPr>
                <p:cNvPicPr/>
                <p:nvPr/>
              </p:nvPicPr>
              <p:blipFill>
                <a:blip r:embed="rId102"/>
                <a:stretch>
                  <a:fillRect/>
                </a:stretch>
              </p:blipFill>
              <p:spPr>
                <a:xfrm>
                  <a:off x="11185635" y="2310825"/>
                  <a:ext cx="174240" cy="33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3">
              <p14:nvContentPartPr>
                <p14:cNvPr id="72" name="Ink 71">
                  <a:extLst>
                    <a:ext uri="{FF2B5EF4-FFF2-40B4-BE49-F238E27FC236}">
                      <a16:creationId xmlns:a16="http://schemas.microsoft.com/office/drawing/2014/main" id="{0E5D5D6E-0404-40D5-9104-4622AE911221}"/>
                    </a:ext>
                  </a:extLst>
                </p14:cNvPr>
                <p14:cNvContentPartPr/>
                <p14:nvPr/>
              </p14:nvContentPartPr>
              <p14:xfrm>
                <a:off x="11115075" y="2491545"/>
                <a:ext cx="220680" cy="47160"/>
              </p14:xfrm>
            </p:contentPart>
          </mc:Choice>
          <mc:Fallback xmlns="">
            <p:pic>
              <p:nvPicPr>
                <p:cNvPr id="72" name="Ink 71">
                  <a:extLst>
                    <a:ext uri="{FF2B5EF4-FFF2-40B4-BE49-F238E27FC236}">
                      <a16:creationId xmlns:a16="http://schemas.microsoft.com/office/drawing/2014/main" id="{0E5D5D6E-0404-40D5-9104-4622AE911221}"/>
                    </a:ext>
                  </a:extLst>
                </p:cNvPr>
                <p:cNvPicPr/>
                <p:nvPr/>
              </p:nvPicPr>
              <p:blipFill>
                <a:blip r:embed="rId104"/>
                <a:stretch>
                  <a:fillRect/>
                </a:stretch>
              </p:blipFill>
              <p:spPr>
                <a:xfrm>
                  <a:off x="11097435" y="2473545"/>
                  <a:ext cx="256320" cy="8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5">
              <p14:nvContentPartPr>
                <p14:cNvPr id="73" name="Ink 72">
                  <a:extLst>
                    <a:ext uri="{FF2B5EF4-FFF2-40B4-BE49-F238E27FC236}">
                      <a16:creationId xmlns:a16="http://schemas.microsoft.com/office/drawing/2014/main" id="{7668514D-5495-4148-8798-1E638D4F7E2E}"/>
                    </a:ext>
                  </a:extLst>
                </p14:cNvPr>
                <p14:cNvContentPartPr/>
                <p14:nvPr/>
              </p14:nvContentPartPr>
              <p14:xfrm>
                <a:off x="11405955" y="2507025"/>
                <a:ext cx="18720" cy="100080"/>
              </p14:xfrm>
            </p:contentPart>
          </mc:Choice>
          <mc:Fallback xmlns="">
            <p:pic>
              <p:nvPicPr>
                <p:cNvPr id="73" name="Ink 72">
                  <a:extLst>
                    <a:ext uri="{FF2B5EF4-FFF2-40B4-BE49-F238E27FC236}">
                      <a16:creationId xmlns:a16="http://schemas.microsoft.com/office/drawing/2014/main" id="{7668514D-5495-4148-8798-1E638D4F7E2E}"/>
                    </a:ext>
                  </a:extLst>
                </p:cNvPr>
                <p:cNvPicPr/>
                <p:nvPr/>
              </p:nvPicPr>
              <p:blipFill>
                <a:blip r:embed="rId106"/>
                <a:stretch>
                  <a:fillRect/>
                </a:stretch>
              </p:blipFill>
              <p:spPr>
                <a:xfrm>
                  <a:off x="11388315" y="2489025"/>
                  <a:ext cx="54360" cy="13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7">
              <p14:nvContentPartPr>
                <p14:cNvPr id="74" name="Ink 73">
                  <a:extLst>
                    <a:ext uri="{FF2B5EF4-FFF2-40B4-BE49-F238E27FC236}">
                      <a16:creationId xmlns:a16="http://schemas.microsoft.com/office/drawing/2014/main" id="{4256B4AB-C7B5-4167-B6F3-9420B1DCC3B9}"/>
                    </a:ext>
                  </a:extLst>
                </p14:cNvPr>
                <p14:cNvContentPartPr/>
                <p14:nvPr/>
              </p14:nvContentPartPr>
              <p14:xfrm>
                <a:off x="11433675" y="2410905"/>
                <a:ext cx="243000" cy="181800"/>
              </p14:xfrm>
            </p:contentPart>
          </mc:Choice>
          <mc:Fallback xmlns="">
            <p:pic>
              <p:nvPicPr>
                <p:cNvPr id="74" name="Ink 73">
                  <a:extLst>
                    <a:ext uri="{FF2B5EF4-FFF2-40B4-BE49-F238E27FC236}">
                      <a16:creationId xmlns:a16="http://schemas.microsoft.com/office/drawing/2014/main" id="{4256B4AB-C7B5-4167-B6F3-9420B1DCC3B9}"/>
                    </a:ext>
                  </a:extLst>
                </p:cNvPr>
                <p:cNvPicPr/>
                <p:nvPr/>
              </p:nvPicPr>
              <p:blipFill>
                <a:blip r:embed="rId108"/>
                <a:stretch>
                  <a:fillRect/>
                </a:stretch>
              </p:blipFill>
              <p:spPr>
                <a:xfrm>
                  <a:off x="11415675" y="2393265"/>
                  <a:ext cx="278640" cy="217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9">
              <p14:nvContentPartPr>
                <p14:cNvPr id="75" name="Ink 74">
                  <a:extLst>
                    <a:ext uri="{FF2B5EF4-FFF2-40B4-BE49-F238E27FC236}">
                      <a16:creationId xmlns:a16="http://schemas.microsoft.com/office/drawing/2014/main" id="{F8D2FDC7-1E8D-4271-B273-E4FE9102C0F9}"/>
                    </a:ext>
                  </a:extLst>
                </p14:cNvPr>
                <p14:cNvContentPartPr/>
                <p14:nvPr/>
              </p14:nvContentPartPr>
              <p14:xfrm>
                <a:off x="11748315" y="2414865"/>
                <a:ext cx="128880" cy="200160"/>
              </p14:xfrm>
            </p:contentPart>
          </mc:Choice>
          <mc:Fallback xmlns="">
            <p:pic>
              <p:nvPicPr>
                <p:cNvPr id="75" name="Ink 74">
                  <a:extLst>
                    <a:ext uri="{FF2B5EF4-FFF2-40B4-BE49-F238E27FC236}">
                      <a16:creationId xmlns:a16="http://schemas.microsoft.com/office/drawing/2014/main" id="{F8D2FDC7-1E8D-4271-B273-E4FE9102C0F9}"/>
                    </a:ext>
                  </a:extLst>
                </p:cNvPr>
                <p:cNvPicPr/>
                <p:nvPr/>
              </p:nvPicPr>
              <p:blipFill>
                <a:blip r:embed="rId110"/>
                <a:stretch>
                  <a:fillRect/>
                </a:stretch>
              </p:blipFill>
              <p:spPr>
                <a:xfrm>
                  <a:off x="11730675" y="2397225"/>
                  <a:ext cx="164520" cy="235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18CC0B23-BB56-426B-85F0-8076795ABB90}"/>
              </a:ext>
            </a:extLst>
          </p:cNvPr>
          <p:cNvGrpSpPr/>
          <p:nvPr/>
        </p:nvGrpSpPr>
        <p:grpSpPr>
          <a:xfrm>
            <a:off x="10957035" y="2793225"/>
            <a:ext cx="936360" cy="330120"/>
            <a:chOff x="10957035" y="2793225"/>
            <a:chExt cx="936360" cy="3301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1">
              <p14:nvContentPartPr>
                <p14:cNvPr id="95" name="Ink 94">
                  <a:extLst>
                    <a:ext uri="{FF2B5EF4-FFF2-40B4-BE49-F238E27FC236}">
                      <a16:creationId xmlns:a16="http://schemas.microsoft.com/office/drawing/2014/main" id="{A4D44423-4EB0-4C39-B0FF-D21610BAB661}"/>
                    </a:ext>
                  </a:extLst>
                </p14:cNvPr>
                <p14:cNvContentPartPr/>
                <p14:nvPr/>
              </p14:nvContentPartPr>
              <p14:xfrm>
                <a:off x="10957035" y="2793225"/>
                <a:ext cx="501120" cy="294120"/>
              </p14:xfrm>
            </p:contentPart>
          </mc:Choice>
          <mc:Fallback xmlns="">
            <p:pic>
              <p:nvPicPr>
                <p:cNvPr id="95" name="Ink 94">
                  <a:extLst>
                    <a:ext uri="{FF2B5EF4-FFF2-40B4-BE49-F238E27FC236}">
                      <a16:creationId xmlns:a16="http://schemas.microsoft.com/office/drawing/2014/main" id="{A4D44423-4EB0-4C39-B0FF-D21610BAB661}"/>
                    </a:ext>
                  </a:extLst>
                </p:cNvPr>
                <p:cNvPicPr/>
                <p:nvPr/>
              </p:nvPicPr>
              <p:blipFill>
                <a:blip r:embed="rId112"/>
                <a:stretch>
                  <a:fillRect/>
                </a:stretch>
              </p:blipFill>
              <p:spPr>
                <a:xfrm>
                  <a:off x="10939035" y="2775225"/>
                  <a:ext cx="536760" cy="32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3">
              <p14:nvContentPartPr>
                <p14:cNvPr id="96" name="Ink 95">
                  <a:extLst>
                    <a:ext uri="{FF2B5EF4-FFF2-40B4-BE49-F238E27FC236}">
                      <a16:creationId xmlns:a16="http://schemas.microsoft.com/office/drawing/2014/main" id="{C5B997B4-3996-40AC-978A-912B83483B6C}"/>
                    </a:ext>
                  </a:extLst>
                </p14:cNvPr>
                <p14:cNvContentPartPr/>
                <p14:nvPr/>
              </p14:nvContentPartPr>
              <p14:xfrm>
                <a:off x="11535555" y="3019665"/>
                <a:ext cx="85320" cy="103680"/>
              </p14:xfrm>
            </p:contentPart>
          </mc:Choice>
          <mc:Fallback xmlns="">
            <p:pic>
              <p:nvPicPr>
                <p:cNvPr id="96" name="Ink 95">
                  <a:extLst>
                    <a:ext uri="{FF2B5EF4-FFF2-40B4-BE49-F238E27FC236}">
                      <a16:creationId xmlns:a16="http://schemas.microsoft.com/office/drawing/2014/main" id="{C5B997B4-3996-40AC-978A-912B83483B6C}"/>
                    </a:ext>
                  </a:extLst>
                </p:cNvPr>
                <p:cNvPicPr/>
                <p:nvPr/>
              </p:nvPicPr>
              <p:blipFill>
                <a:blip r:embed="rId114"/>
                <a:stretch>
                  <a:fillRect/>
                </a:stretch>
              </p:blipFill>
              <p:spPr>
                <a:xfrm>
                  <a:off x="11517915" y="3002025"/>
                  <a:ext cx="120960" cy="13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5">
              <p14:nvContentPartPr>
                <p14:cNvPr id="97" name="Ink 96">
                  <a:extLst>
                    <a:ext uri="{FF2B5EF4-FFF2-40B4-BE49-F238E27FC236}">
                      <a16:creationId xmlns:a16="http://schemas.microsoft.com/office/drawing/2014/main" id="{CDD95942-33A4-4F86-B0A0-68AC775897B8}"/>
                    </a:ext>
                  </a:extLst>
                </p14:cNvPr>
                <p14:cNvContentPartPr/>
                <p14:nvPr/>
              </p14:nvContentPartPr>
              <p14:xfrm>
                <a:off x="11662995" y="2993025"/>
                <a:ext cx="230400" cy="110880"/>
              </p14:xfrm>
            </p:contentPart>
          </mc:Choice>
          <mc:Fallback xmlns="">
            <p:pic>
              <p:nvPicPr>
                <p:cNvPr id="97" name="Ink 96">
                  <a:extLst>
                    <a:ext uri="{FF2B5EF4-FFF2-40B4-BE49-F238E27FC236}">
                      <a16:creationId xmlns:a16="http://schemas.microsoft.com/office/drawing/2014/main" id="{CDD95942-33A4-4F86-B0A0-68AC775897B8}"/>
                    </a:ext>
                  </a:extLst>
                </p:cNvPr>
                <p:cNvPicPr/>
                <p:nvPr/>
              </p:nvPicPr>
              <p:blipFill>
                <a:blip r:embed="rId116"/>
                <a:stretch>
                  <a:fillRect/>
                </a:stretch>
              </p:blipFill>
              <p:spPr>
                <a:xfrm>
                  <a:off x="11645355" y="2975385"/>
                  <a:ext cx="266040" cy="146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858F1EB-060B-4AF3-B6E8-BC6D2E6B36DD}"/>
              </a:ext>
            </a:extLst>
          </p:cNvPr>
          <p:cNvGrpSpPr/>
          <p:nvPr/>
        </p:nvGrpSpPr>
        <p:grpSpPr>
          <a:xfrm>
            <a:off x="7506075" y="2795385"/>
            <a:ext cx="3178800" cy="1107360"/>
            <a:chOff x="7506075" y="2795385"/>
            <a:chExt cx="3178800" cy="1107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7">
              <p14:nvContentPartPr>
                <p14:cNvPr id="76" name="Ink 75">
                  <a:extLst>
                    <a:ext uri="{FF2B5EF4-FFF2-40B4-BE49-F238E27FC236}">
                      <a16:creationId xmlns:a16="http://schemas.microsoft.com/office/drawing/2014/main" id="{A5C63957-9286-45A5-8380-94F1A5C2316F}"/>
                    </a:ext>
                  </a:extLst>
                </p14:cNvPr>
                <p14:cNvContentPartPr/>
                <p14:nvPr/>
              </p14:nvContentPartPr>
              <p14:xfrm>
                <a:off x="8066955" y="2833905"/>
                <a:ext cx="148320" cy="244440"/>
              </p14:xfrm>
            </p:contentPart>
          </mc:Choice>
          <mc:Fallback xmlns="">
            <p:pic>
              <p:nvPicPr>
                <p:cNvPr id="76" name="Ink 75">
                  <a:extLst>
                    <a:ext uri="{FF2B5EF4-FFF2-40B4-BE49-F238E27FC236}">
                      <a16:creationId xmlns:a16="http://schemas.microsoft.com/office/drawing/2014/main" id="{A5C63957-9286-45A5-8380-94F1A5C2316F}"/>
                    </a:ext>
                  </a:extLst>
                </p:cNvPr>
                <p:cNvPicPr/>
                <p:nvPr/>
              </p:nvPicPr>
              <p:blipFill>
                <a:blip r:embed="rId118"/>
                <a:stretch>
                  <a:fillRect/>
                </a:stretch>
              </p:blipFill>
              <p:spPr>
                <a:xfrm>
                  <a:off x="8049315" y="2816265"/>
                  <a:ext cx="183960" cy="28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9">
              <p14:nvContentPartPr>
                <p14:cNvPr id="77" name="Ink 76">
                  <a:extLst>
                    <a:ext uri="{FF2B5EF4-FFF2-40B4-BE49-F238E27FC236}">
                      <a16:creationId xmlns:a16="http://schemas.microsoft.com/office/drawing/2014/main" id="{20A89B2E-EF76-4DF7-93CE-1AFEC70B9897}"/>
                    </a:ext>
                  </a:extLst>
                </p14:cNvPr>
                <p14:cNvContentPartPr/>
                <p14:nvPr/>
              </p14:nvContentPartPr>
              <p14:xfrm>
                <a:off x="8097915" y="2905545"/>
                <a:ext cx="220320" cy="182160"/>
              </p14:xfrm>
            </p:contentPart>
          </mc:Choice>
          <mc:Fallback xmlns="">
            <p:pic>
              <p:nvPicPr>
                <p:cNvPr id="77" name="Ink 76">
                  <a:extLst>
                    <a:ext uri="{FF2B5EF4-FFF2-40B4-BE49-F238E27FC236}">
                      <a16:creationId xmlns:a16="http://schemas.microsoft.com/office/drawing/2014/main" id="{20A89B2E-EF76-4DF7-93CE-1AFEC70B9897}"/>
                    </a:ext>
                  </a:extLst>
                </p:cNvPr>
                <p:cNvPicPr/>
                <p:nvPr/>
              </p:nvPicPr>
              <p:blipFill>
                <a:blip r:embed="rId120"/>
                <a:stretch>
                  <a:fillRect/>
                </a:stretch>
              </p:blipFill>
              <p:spPr>
                <a:xfrm>
                  <a:off x="8079915" y="2887905"/>
                  <a:ext cx="255960" cy="217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1">
              <p14:nvContentPartPr>
                <p14:cNvPr id="78" name="Ink 77">
                  <a:extLst>
                    <a:ext uri="{FF2B5EF4-FFF2-40B4-BE49-F238E27FC236}">
                      <a16:creationId xmlns:a16="http://schemas.microsoft.com/office/drawing/2014/main" id="{ED2121BF-AD88-4357-802A-B3C38737D731}"/>
                    </a:ext>
                  </a:extLst>
                </p14:cNvPr>
                <p14:cNvContentPartPr/>
                <p14:nvPr/>
              </p14:nvContentPartPr>
              <p14:xfrm>
                <a:off x="8304555" y="2845065"/>
                <a:ext cx="20520" cy="50760"/>
              </p14:xfrm>
            </p:contentPart>
          </mc:Choice>
          <mc:Fallback xmlns="">
            <p:pic>
              <p:nvPicPr>
                <p:cNvPr id="78" name="Ink 77">
                  <a:extLst>
                    <a:ext uri="{FF2B5EF4-FFF2-40B4-BE49-F238E27FC236}">
                      <a16:creationId xmlns:a16="http://schemas.microsoft.com/office/drawing/2014/main" id="{ED2121BF-AD88-4357-802A-B3C38737D731}"/>
                    </a:ext>
                  </a:extLst>
                </p:cNvPr>
                <p:cNvPicPr/>
                <p:nvPr/>
              </p:nvPicPr>
              <p:blipFill>
                <a:blip r:embed="rId122"/>
                <a:stretch>
                  <a:fillRect/>
                </a:stretch>
              </p:blipFill>
              <p:spPr>
                <a:xfrm>
                  <a:off x="8286555" y="2827425"/>
                  <a:ext cx="56160" cy="86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3">
              <p14:nvContentPartPr>
                <p14:cNvPr id="79" name="Ink 78">
                  <a:extLst>
                    <a:ext uri="{FF2B5EF4-FFF2-40B4-BE49-F238E27FC236}">
                      <a16:creationId xmlns:a16="http://schemas.microsoft.com/office/drawing/2014/main" id="{0AD23D47-DBD5-4373-91F6-DA70317E0753}"/>
                    </a:ext>
                  </a:extLst>
                </p14:cNvPr>
                <p14:cNvContentPartPr/>
                <p14:nvPr/>
              </p14:nvContentPartPr>
              <p14:xfrm>
                <a:off x="8372235" y="2871705"/>
                <a:ext cx="263520" cy="222120"/>
              </p14:xfrm>
            </p:contentPart>
          </mc:Choice>
          <mc:Fallback xmlns="">
            <p:pic>
              <p:nvPicPr>
                <p:cNvPr id="79" name="Ink 78">
                  <a:extLst>
                    <a:ext uri="{FF2B5EF4-FFF2-40B4-BE49-F238E27FC236}">
                      <a16:creationId xmlns:a16="http://schemas.microsoft.com/office/drawing/2014/main" id="{0AD23D47-DBD5-4373-91F6-DA70317E0753}"/>
                    </a:ext>
                  </a:extLst>
                </p:cNvPr>
                <p:cNvPicPr/>
                <p:nvPr/>
              </p:nvPicPr>
              <p:blipFill>
                <a:blip r:embed="rId124"/>
                <a:stretch>
                  <a:fillRect/>
                </a:stretch>
              </p:blipFill>
              <p:spPr>
                <a:xfrm>
                  <a:off x="8354235" y="2854065"/>
                  <a:ext cx="299160" cy="25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5">
              <p14:nvContentPartPr>
                <p14:cNvPr id="80" name="Ink 79">
                  <a:extLst>
                    <a:ext uri="{FF2B5EF4-FFF2-40B4-BE49-F238E27FC236}">
                      <a16:creationId xmlns:a16="http://schemas.microsoft.com/office/drawing/2014/main" id="{E2D6E1DB-9A5B-40D4-9D2E-BF9480752C5E}"/>
                    </a:ext>
                  </a:extLst>
                </p14:cNvPr>
                <p14:cNvContentPartPr/>
                <p14:nvPr/>
              </p14:nvContentPartPr>
              <p14:xfrm>
                <a:off x="8694795" y="2795385"/>
                <a:ext cx="59760" cy="273240"/>
              </p14:xfrm>
            </p:contentPart>
          </mc:Choice>
          <mc:Fallback xmlns="">
            <p:pic>
              <p:nvPicPr>
                <p:cNvPr id="80" name="Ink 79">
                  <a:extLst>
                    <a:ext uri="{FF2B5EF4-FFF2-40B4-BE49-F238E27FC236}">
                      <a16:creationId xmlns:a16="http://schemas.microsoft.com/office/drawing/2014/main" id="{E2D6E1DB-9A5B-40D4-9D2E-BF9480752C5E}"/>
                    </a:ext>
                  </a:extLst>
                </p:cNvPr>
                <p:cNvPicPr/>
                <p:nvPr/>
              </p:nvPicPr>
              <p:blipFill>
                <a:blip r:embed="rId126"/>
                <a:stretch>
                  <a:fillRect/>
                </a:stretch>
              </p:blipFill>
              <p:spPr>
                <a:xfrm>
                  <a:off x="8676795" y="2777385"/>
                  <a:ext cx="95400" cy="30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7">
              <p14:nvContentPartPr>
                <p14:cNvPr id="81" name="Ink 80">
                  <a:extLst>
                    <a:ext uri="{FF2B5EF4-FFF2-40B4-BE49-F238E27FC236}">
                      <a16:creationId xmlns:a16="http://schemas.microsoft.com/office/drawing/2014/main" id="{A6C720D5-B89B-47E5-A772-B94D23328748}"/>
                    </a:ext>
                  </a:extLst>
                </p14:cNvPr>
                <p14:cNvContentPartPr/>
                <p14:nvPr/>
              </p14:nvContentPartPr>
              <p14:xfrm>
                <a:off x="8874795" y="2825265"/>
                <a:ext cx="33480" cy="287280"/>
              </p14:xfrm>
            </p:contentPart>
          </mc:Choice>
          <mc:Fallback xmlns="">
            <p:pic>
              <p:nvPicPr>
                <p:cNvPr id="81" name="Ink 80">
                  <a:extLst>
                    <a:ext uri="{FF2B5EF4-FFF2-40B4-BE49-F238E27FC236}">
                      <a16:creationId xmlns:a16="http://schemas.microsoft.com/office/drawing/2014/main" id="{A6C720D5-B89B-47E5-A772-B94D23328748}"/>
                    </a:ext>
                  </a:extLst>
                </p:cNvPr>
                <p:cNvPicPr/>
                <p:nvPr/>
              </p:nvPicPr>
              <p:blipFill>
                <a:blip r:embed="rId128"/>
                <a:stretch>
                  <a:fillRect/>
                </a:stretch>
              </p:blipFill>
              <p:spPr>
                <a:xfrm>
                  <a:off x="8856795" y="2807265"/>
                  <a:ext cx="69120" cy="32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9">
              <p14:nvContentPartPr>
                <p14:cNvPr id="86" name="Ink 85">
                  <a:extLst>
                    <a:ext uri="{FF2B5EF4-FFF2-40B4-BE49-F238E27FC236}">
                      <a16:creationId xmlns:a16="http://schemas.microsoft.com/office/drawing/2014/main" id="{7D321FE9-F2E1-4E2A-BEDA-667B0F785431}"/>
                    </a:ext>
                  </a:extLst>
                </p14:cNvPr>
                <p14:cNvContentPartPr/>
                <p14:nvPr/>
              </p14:nvContentPartPr>
              <p14:xfrm>
                <a:off x="9005115" y="2950905"/>
                <a:ext cx="175320" cy="135000"/>
              </p14:xfrm>
            </p:contentPart>
          </mc:Choice>
          <mc:Fallback xmlns="">
            <p:pic>
              <p:nvPicPr>
                <p:cNvPr id="86" name="Ink 85">
                  <a:extLst>
                    <a:ext uri="{FF2B5EF4-FFF2-40B4-BE49-F238E27FC236}">
                      <a16:creationId xmlns:a16="http://schemas.microsoft.com/office/drawing/2014/main" id="{7D321FE9-F2E1-4E2A-BEDA-667B0F785431}"/>
                    </a:ext>
                  </a:extLst>
                </p:cNvPr>
                <p:cNvPicPr/>
                <p:nvPr/>
              </p:nvPicPr>
              <p:blipFill>
                <a:blip r:embed="rId130"/>
                <a:stretch>
                  <a:fillRect/>
                </a:stretch>
              </p:blipFill>
              <p:spPr>
                <a:xfrm>
                  <a:off x="8987115" y="2932905"/>
                  <a:ext cx="210960" cy="17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1">
              <p14:nvContentPartPr>
                <p14:cNvPr id="87" name="Ink 86">
                  <a:extLst>
                    <a:ext uri="{FF2B5EF4-FFF2-40B4-BE49-F238E27FC236}">
                      <a16:creationId xmlns:a16="http://schemas.microsoft.com/office/drawing/2014/main" id="{DBD589DC-F28F-453E-9D03-1FBA83083578}"/>
                    </a:ext>
                  </a:extLst>
                </p14:cNvPr>
                <p14:cNvContentPartPr/>
                <p14:nvPr/>
              </p14:nvContentPartPr>
              <p14:xfrm>
                <a:off x="9205275" y="2966385"/>
                <a:ext cx="209160" cy="80640"/>
              </p14:xfrm>
            </p:contentPart>
          </mc:Choice>
          <mc:Fallback xmlns="">
            <p:pic>
              <p:nvPicPr>
                <p:cNvPr id="87" name="Ink 86">
                  <a:extLst>
                    <a:ext uri="{FF2B5EF4-FFF2-40B4-BE49-F238E27FC236}">
                      <a16:creationId xmlns:a16="http://schemas.microsoft.com/office/drawing/2014/main" id="{DBD589DC-F28F-453E-9D03-1FBA83083578}"/>
                    </a:ext>
                  </a:extLst>
                </p:cNvPr>
                <p:cNvPicPr/>
                <p:nvPr/>
              </p:nvPicPr>
              <p:blipFill>
                <a:blip r:embed="rId132"/>
                <a:stretch>
                  <a:fillRect/>
                </a:stretch>
              </p:blipFill>
              <p:spPr>
                <a:xfrm>
                  <a:off x="9187275" y="2948745"/>
                  <a:ext cx="244800" cy="11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3">
              <p14:nvContentPartPr>
                <p14:cNvPr id="88" name="Ink 87">
                  <a:extLst>
                    <a:ext uri="{FF2B5EF4-FFF2-40B4-BE49-F238E27FC236}">
                      <a16:creationId xmlns:a16="http://schemas.microsoft.com/office/drawing/2014/main" id="{0B885D69-F686-4008-963F-FDB4B93096C7}"/>
                    </a:ext>
                  </a:extLst>
                </p14:cNvPr>
                <p14:cNvContentPartPr/>
                <p14:nvPr/>
              </p14:nvContentPartPr>
              <p14:xfrm>
                <a:off x="9354675" y="2862705"/>
                <a:ext cx="207720" cy="160560"/>
              </p14:xfrm>
            </p:contentPart>
          </mc:Choice>
          <mc:Fallback xmlns="">
            <p:pic>
              <p:nvPicPr>
                <p:cNvPr id="88" name="Ink 87">
                  <a:extLst>
                    <a:ext uri="{FF2B5EF4-FFF2-40B4-BE49-F238E27FC236}">
                      <a16:creationId xmlns:a16="http://schemas.microsoft.com/office/drawing/2014/main" id="{0B885D69-F686-4008-963F-FDB4B93096C7}"/>
                    </a:ext>
                  </a:extLst>
                </p:cNvPr>
                <p:cNvPicPr/>
                <p:nvPr/>
              </p:nvPicPr>
              <p:blipFill>
                <a:blip r:embed="rId134"/>
                <a:stretch>
                  <a:fillRect/>
                </a:stretch>
              </p:blipFill>
              <p:spPr>
                <a:xfrm>
                  <a:off x="9337035" y="2844705"/>
                  <a:ext cx="243360" cy="19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5">
              <p14:nvContentPartPr>
                <p14:cNvPr id="89" name="Ink 88">
                  <a:extLst>
                    <a:ext uri="{FF2B5EF4-FFF2-40B4-BE49-F238E27FC236}">
                      <a16:creationId xmlns:a16="http://schemas.microsoft.com/office/drawing/2014/main" id="{CC6FA1C9-A5C3-482F-9DDD-0812BC4D1268}"/>
                    </a:ext>
                  </a:extLst>
                </p14:cNvPr>
                <p14:cNvContentPartPr/>
                <p14:nvPr/>
              </p14:nvContentPartPr>
              <p14:xfrm>
                <a:off x="9486795" y="2953425"/>
                <a:ext cx="351360" cy="240480"/>
              </p14:xfrm>
            </p:contentPart>
          </mc:Choice>
          <mc:Fallback xmlns="">
            <p:pic>
              <p:nvPicPr>
                <p:cNvPr id="89" name="Ink 88">
                  <a:extLst>
                    <a:ext uri="{FF2B5EF4-FFF2-40B4-BE49-F238E27FC236}">
                      <a16:creationId xmlns:a16="http://schemas.microsoft.com/office/drawing/2014/main" id="{CC6FA1C9-A5C3-482F-9DDD-0812BC4D1268}"/>
                    </a:ext>
                  </a:extLst>
                </p:cNvPr>
                <p:cNvPicPr/>
                <p:nvPr/>
              </p:nvPicPr>
              <p:blipFill>
                <a:blip r:embed="rId136"/>
                <a:stretch>
                  <a:fillRect/>
                </a:stretch>
              </p:blipFill>
              <p:spPr>
                <a:xfrm>
                  <a:off x="9468795" y="2935425"/>
                  <a:ext cx="387000" cy="27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7">
              <p14:nvContentPartPr>
                <p14:cNvPr id="91" name="Ink 90">
                  <a:extLst>
                    <a:ext uri="{FF2B5EF4-FFF2-40B4-BE49-F238E27FC236}">
                      <a16:creationId xmlns:a16="http://schemas.microsoft.com/office/drawing/2014/main" id="{6AF6823F-4375-4A05-9CEE-F9ED3FB9301C}"/>
                    </a:ext>
                  </a:extLst>
                </p14:cNvPr>
                <p14:cNvContentPartPr/>
                <p14:nvPr/>
              </p14:nvContentPartPr>
              <p14:xfrm>
                <a:off x="9890355" y="2928945"/>
                <a:ext cx="264600" cy="168480"/>
              </p14:xfrm>
            </p:contentPart>
          </mc:Choice>
          <mc:Fallback xmlns="">
            <p:pic>
              <p:nvPicPr>
                <p:cNvPr id="91" name="Ink 90">
                  <a:extLst>
                    <a:ext uri="{FF2B5EF4-FFF2-40B4-BE49-F238E27FC236}">
                      <a16:creationId xmlns:a16="http://schemas.microsoft.com/office/drawing/2014/main" id="{6AF6823F-4375-4A05-9CEE-F9ED3FB9301C}"/>
                    </a:ext>
                  </a:extLst>
                </p:cNvPr>
                <p:cNvPicPr/>
                <p:nvPr/>
              </p:nvPicPr>
              <p:blipFill>
                <a:blip r:embed="rId138"/>
                <a:stretch>
                  <a:fillRect/>
                </a:stretch>
              </p:blipFill>
              <p:spPr>
                <a:xfrm>
                  <a:off x="9872715" y="2910945"/>
                  <a:ext cx="300240" cy="204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9">
              <p14:nvContentPartPr>
                <p14:cNvPr id="92" name="Ink 91">
                  <a:extLst>
                    <a:ext uri="{FF2B5EF4-FFF2-40B4-BE49-F238E27FC236}">
                      <a16:creationId xmlns:a16="http://schemas.microsoft.com/office/drawing/2014/main" id="{4DD82DAA-C523-412E-A4D9-CE7221EFF3EA}"/>
                    </a:ext>
                  </a:extLst>
                </p14:cNvPr>
                <p14:cNvContentPartPr/>
                <p14:nvPr/>
              </p14:nvContentPartPr>
              <p14:xfrm>
                <a:off x="10222635" y="2931465"/>
                <a:ext cx="48600" cy="140400"/>
              </p14:xfrm>
            </p:contentPart>
          </mc:Choice>
          <mc:Fallback xmlns="">
            <p:pic>
              <p:nvPicPr>
                <p:cNvPr id="92" name="Ink 91">
                  <a:extLst>
                    <a:ext uri="{FF2B5EF4-FFF2-40B4-BE49-F238E27FC236}">
                      <a16:creationId xmlns:a16="http://schemas.microsoft.com/office/drawing/2014/main" id="{4DD82DAA-C523-412E-A4D9-CE7221EFF3EA}"/>
                    </a:ext>
                  </a:extLst>
                </p:cNvPr>
                <p:cNvPicPr/>
                <p:nvPr/>
              </p:nvPicPr>
              <p:blipFill>
                <a:blip r:embed="rId140"/>
                <a:stretch>
                  <a:fillRect/>
                </a:stretch>
              </p:blipFill>
              <p:spPr>
                <a:xfrm>
                  <a:off x="10204635" y="2913465"/>
                  <a:ext cx="84240" cy="17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1">
              <p14:nvContentPartPr>
                <p14:cNvPr id="93" name="Ink 92">
                  <a:extLst>
                    <a:ext uri="{FF2B5EF4-FFF2-40B4-BE49-F238E27FC236}">
                      <a16:creationId xmlns:a16="http://schemas.microsoft.com/office/drawing/2014/main" id="{82C10368-625F-47F0-AE7A-FDF84D7475C3}"/>
                    </a:ext>
                  </a:extLst>
                </p14:cNvPr>
                <p14:cNvContentPartPr/>
                <p14:nvPr/>
              </p14:nvContentPartPr>
              <p14:xfrm>
                <a:off x="10247115" y="2804745"/>
                <a:ext cx="183600" cy="213120"/>
              </p14:xfrm>
            </p:contentPart>
          </mc:Choice>
          <mc:Fallback xmlns="">
            <p:pic>
              <p:nvPicPr>
                <p:cNvPr id="93" name="Ink 92">
                  <a:extLst>
                    <a:ext uri="{FF2B5EF4-FFF2-40B4-BE49-F238E27FC236}">
                      <a16:creationId xmlns:a16="http://schemas.microsoft.com/office/drawing/2014/main" id="{82C10368-625F-47F0-AE7A-FDF84D7475C3}"/>
                    </a:ext>
                  </a:extLst>
                </p:cNvPr>
                <p:cNvPicPr/>
                <p:nvPr/>
              </p:nvPicPr>
              <p:blipFill>
                <a:blip r:embed="rId142"/>
                <a:stretch>
                  <a:fillRect/>
                </a:stretch>
              </p:blipFill>
              <p:spPr>
                <a:xfrm>
                  <a:off x="10229475" y="2787105"/>
                  <a:ext cx="219240" cy="248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3">
              <p14:nvContentPartPr>
                <p14:cNvPr id="94" name="Ink 93">
                  <a:extLst>
                    <a:ext uri="{FF2B5EF4-FFF2-40B4-BE49-F238E27FC236}">
                      <a16:creationId xmlns:a16="http://schemas.microsoft.com/office/drawing/2014/main" id="{6655FE54-1369-42FC-8A52-D3FB8B63706E}"/>
                    </a:ext>
                  </a:extLst>
                </p14:cNvPr>
                <p14:cNvContentPartPr/>
                <p14:nvPr/>
              </p14:nvContentPartPr>
              <p14:xfrm>
                <a:off x="10329555" y="2935425"/>
                <a:ext cx="355320" cy="126360"/>
              </p14:xfrm>
            </p:contentPart>
          </mc:Choice>
          <mc:Fallback xmlns="">
            <p:pic>
              <p:nvPicPr>
                <p:cNvPr id="94" name="Ink 93">
                  <a:extLst>
                    <a:ext uri="{FF2B5EF4-FFF2-40B4-BE49-F238E27FC236}">
                      <a16:creationId xmlns:a16="http://schemas.microsoft.com/office/drawing/2014/main" id="{6655FE54-1369-42FC-8A52-D3FB8B63706E}"/>
                    </a:ext>
                  </a:extLst>
                </p:cNvPr>
                <p:cNvPicPr/>
                <p:nvPr/>
              </p:nvPicPr>
              <p:blipFill>
                <a:blip r:embed="rId144"/>
                <a:stretch>
                  <a:fillRect/>
                </a:stretch>
              </p:blipFill>
              <p:spPr>
                <a:xfrm>
                  <a:off x="10311915" y="2917785"/>
                  <a:ext cx="390960" cy="16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5">
              <p14:nvContentPartPr>
                <p14:cNvPr id="98" name="Ink 97">
                  <a:extLst>
                    <a:ext uri="{FF2B5EF4-FFF2-40B4-BE49-F238E27FC236}">
                      <a16:creationId xmlns:a16="http://schemas.microsoft.com/office/drawing/2014/main" id="{01AA415A-4257-4495-82C3-00906BDF6C5B}"/>
                    </a:ext>
                  </a:extLst>
                </p14:cNvPr>
                <p14:cNvContentPartPr/>
                <p14:nvPr/>
              </p14:nvContentPartPr>
              <p14:xfrm>
                <a:off x="8421915" y="3331425"/>
                <a:ext cx="162360" cy="223560"/>
              </p14:xfrm>
            </p:contentPart>
          </mc:Choice>
          <mc:Fallback xmlns="">
            <p:pic>
              <p:nvPicPr>
                <p:cNvPr id="98" name="Ink 97">
                  <a:extLst>
                    <a:ext uri="{FF2B5EF4-FFF2-40B4-BE49-F238E27FC236}">
                      <a16:creationId xmlns:a16="http://schemas.microsoft.com/office/drawing/2014/main" id="{01AA415A-4257-4495-82C3-00906BDF6C5B}"/>
                    </a:ext>
                  </a:extLst>
                </p:cNvPr>
                <p:cNvPicPr/>
                <p:nvPr/>
              </p:nvPicPr>
              <p:blipFill>
                <a:blip r:embed="rId146"/>
                <a:stretch>
                  <a:fillRect/>
                </a:stretch>
              </p:blipFill>
              <p:spPr>
                <a:xfrm>
                  <a:off x="8404275" y="3313785"/>
                  <a:ext cx="198000" cy="25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7">
              <p14:nvContentPartPr>
                <p14:cNvPr id="99" name="Ink 98">
                  <a:extLst>
                    <a:ext uri="{FF2B5EF4-FFF2-40B4-BE49-F238E27FC236}">
                      <a16:creationId xmlns:a16="http://schemas.microsoft.com/office/drawing/2014/main" id="{A8D6D7DA-FEF4-4107-9E1B-BFDEF4427896}"/>
                    </a:ext>
                  </a:extLst>
                </p14:cNvPr>
                <p14:cNvContentPartPr/>
                <p14:nvPr/>
              </p14:nvContentPartPr>
              <p14:xfrm>
                <a:off x="8326515" y="3399105"/>
                <a:ext cx="1294920" cy="301680"/>
              </p14:xfrm>
            </p:contentPart>
          </mc:Choice>
          <mc:Fallback xmlns="">
            <p:pic>
              <p:nvPicPr>
                <p:cNvPr id="99" name="Ink 98">
                  <a:extLst>
                    <a:ext uri="{FF2B5EF4-FFF2-40B4-BE49-F238E27FC236}">
                      <a16:creationId xmlns:a16="http://schemas.microsoft.com/office/drawing/2014/main" id="{A8D6D7DA-FEF4-4107-9E1B-BFDEF4427896}"/>
                    </a:ext>
                  </a:extLst>
                </p:cNvPr>
                <p:cNvPicPr/>
                <p:nvPr/>
              </p:nvPicPr>
              <p:blipFill>
                <a:blip r:embed="rId148"/>
                <a:stretch>
                  <a:fillRect/>
                </a:stretch>
              </p:blipFill>
              <p:spPr>
                <a:xfrm>
                  <a:off x="8308875" y="3381465"/>
                  <a:ext cx="1330560" cy="33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9">
              <p14:nvContentPartPr>
                <p14:cNvPr id="100" name="Ink 99">
                  <a:extLst>
                    <a:ext uri="{FF2B5EF4-FFF2-40B4-BE49-F238E27FC236}">
                      <a16:creationId xmlns:a16="http://schemas.microsoft.com/office/drawing/2014/main" id="{E1725FAD-2263-40A8-8052-762EC569FEBE}"/>
                    </a:ext>
                  </a:extLst>
                </p14:cNvPr>
                <p14:cNvContentPartPr/>
                <p14:nvPr/>
              </p14:nvContentPartPr>
              <p14:xfrm>
                <a:off x="7537035" y="3040185"/>
                <a:ext cx="360360" cy="849240"/>
              </p14:xfrm>
            </p:contentPart>
          </mc:Choice>
          <mc:Fallback xmlns="">
            <p:pic>
              <p:nvPicPr>
                <p:cNvPr id="100" name="Ink 99">
                  <a:extLst>
                    <a:ext uri="{FF2B5EF4-FFF2-40B4-BE49-F238E27FC236}">
                      <a16:creationId xmlns:a16="http://schemas.microsoft.com/office/drawing/2014/main" id="{E1725FAD-2263-40A8-8052-762EC569FEBE}"/>
                    </a:ext>
                  </a:extLst>
                </p:cNvPr>
                <p:cNvPicPr/>
                <p:nvPr/>
              </p:nvPicPr>
              <p:blipFill>
                <a:blip r:embed="rId150"/>
                <a:stretch>
                  <a:fillRect/>
                </a:stretch>
              </p:blipFill>
              <p:spPr>
                <a:xfrm>
                  <a:off x="7519395" y="3022545"/>
                  <a:ext cx="396000" cy="88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1">
              <p14:nvContentPartPr>
                <p14:cNvPr id="101" name="Ink 100">
                  <a:extLst>
                    <a:ext uri="{FF2B5EF4-FFF2-40B4-BE49-F238E27FC236}">
                      <a16:creationId xmlns:a16="http://schemas.microsoft.com/office/drawing/2014/main" id="{FCFA774F-500B-4AF9-BC4E-5B0A9E82F614}"/>
                    </a:ext>
                  </a:extLst>
                </p14:cNvPr>
                <p14:cNvContentPartPr/>
                <p14:nvPr/>
              </p14:nvContentPartPr>
              <p14:xfrm>
                <a:off x="7736475" y="3731745"/>
                <a:ext cx="221760" cy="171000"/>
              </p14:xfrm>
            </p:contentPart>
          </mc:Choice>
          <mc:Fallback xmlns="">
            <p:pic>
              <p:nvPicPr>
                <p:cNvPr id="101" name="Ink 100">
                  <a:extLst>
                    <a:ext uri="{FF2B5EF4-FFF2-40B4-BE49-F238E27FC236}">
                      <a16:creationId xmlns:a16="http://schemas.microsoft.com/office/drawing/2014/main" id="{FCFA774F-500B-4AF9-BC4E-5B0A9E82F614}"/>
                    </a:ext>
                  </a:extLst>
                </p:cNvPr>
                <p:cNvPicPr/>
                <p:nvPr/>
              </p:nvPicPr>
              <p:blipFill>
                <a:blip r:embed="rId152"/>
                <a:stretch>
                  <a:fillRect/>
                </a:stretch>
              </p:blipFill>
              <p:spPr>
                <a:xfrm>
                  <a:off x="7718475" y="3713745"/>
                  <a:ext cx="257400" cy="206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3">
              <p14:nvContentPartPr>
                <p14:cNvPr id="102" name="Ink 101">
                  <a:extLst>
                    <a:ext uri="{FF2B5EF4-FFF2-40B4-BE49-F238E27FC236}">
                      <a16:creationId xmlns:a16="http://schemas.microsoft.com/office/drawing/2014/main" id="{16F6A304-6A53-4323-ADBC-AC807DE9BBC6}"/>
                    </a:ext>
                  </a:extLst>
                </p14:cNvPr>
                <p14:cNvContentPartPr/>
                <p14:nvPr/>
              </p14:nvContentPartPr>
              <p14:xfrm>
                <a:off x="7506075" y="3053865"/>
                <a:ext cx="131040" cy="105840"/>
              </p14:xfrm>
            </p:contentPart>
          </mc:Choice>
          <mc:Fallback xmlns="">
            <p:pic>
              <p:nvPicPr>
                <p:cNvPr id="102" name="Ink 101">
                  <a:extLst>
                    <a:ext uri="{FF2B5EF4-FFF2-40B4-BE49-F238E27FC236}">
                      <a16:creationId xmlns:a16="http://schemas.microsoft.com/office/drawing/2014/main" id="{16F6A304-6A53-4323-ADBC-AC807DE9BBC6}"/>
                    </a:ext>
                  </a:extLst>
                </p:cNvPr>
                <p:cNvPicPr/>
                <p:nvPr/>
              </p:nvPicPr>
              <p:blipFill>
                <a:blip r:embed="rId154"/>
                <a:stretch>
                  <a:fillRect/>
                </a:stretch>
              </p:blipFill>
              <p:spPr>
                <a:xfrm>
                  <a:off x="7488075" y="3035865"/>
                  <a:ext cx="166680" cy="141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ACDD5B5-841C-492E-8407-08B21AFC007B}"/>
              </a:ext>
            </a:extLst>
          </p:cNvPr>
          <p:cNvGrpSpPr/>
          <p:nvPr/>
        </p:nvGrpSpPr>
        <p:grpSpPr>
          <a:xfrm>
            <a:off x="4246635" y="3223425"/>
            <a:ext cx="973800" cy="375120"/>
            <a:chOff x="4246635" y="3223425"/>
            <a:chExt cx="973800" cy="3751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55">
              <p14:nvContentPartPr>
                <p14:cNvPr id="120" name="Ink 119">
                  <a:extLst>
                    <a:ext uri="{FF2B5EF4-FFF2-40B4-BE49-F238E27FC236}">
                      <a16:creationId xmlns:a16="http://schemas.microsoft.com/office/drawing/2014/main" id="{384B9B4A-4906-43C7-B9A9-F46C3961BCDE}"/>
                    </a:ext>
                  </a:extLst>
                </p14:cNvPr>
                <p14:cNvContentPartPr/>
                <p14:nvPr/>
              </p14:nvContentPartPr>
              <p14:xfrm>
                <a:off x="4246635" y="3262665"/>
                <a:ext cx="19800" cy="298080"/>
              </p14:xfrm>
            </p:contentPart>
          </mc:Choice>
          <mc:Fallback xmlns="">
            <p:pic>
              <p:nvPicPr>
                <p:cNvPr id="120" name="Ink 119">
                  <a:extLst>
                    <a:ext uri="{FF2B5EF4-FFF2-40B4-BE49-F238E27FC236}">
                      <a16:creationId xmlns:a16="http://schemas.microsoft.com/office/drawing/2014/main" id="{384B9B4A-4906-43C7-B9A9-F46C3961BCDE}"/>
                    </a:ext>
                  </a:extLst>
                </p:cNvPr>
                <p:cNvPicPr/>
                <p:nvPr/>
              </p:nvPicPr>
              <p:blipFill>
                <a:blip r:embed="rId156"/>
                <a:stretch>
                  <a:fillRect/>
                </a:stretch>
              </p:blipFill>
              <p:spPr>
                <a:xfrm>
                  <a:off x="4228995" y="3245025"/>
                  <a:ext cx="55440" cy="33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7">
              <p14:nvContentPartPr>
                <p14:cNvPr id="121" name="Ink 120">
                  <a:extLst>
                    <a:ext uri="{FF2B5EF4-FFF2-40B4-BE49-F238E27FC236}">
                      <a16:creationId xmlns:a16="http://schemas.microsoft.com/office/drawing/2014/main" id="{006A37B0-9BA3-483F-885B-6F1AF3F5FB30}"/>
                    </a:ext>
                  </a:extLst>
                </p14:cNvPr>
                <p14:cNvContentPartPr/>
                <p14:nvPr/>
              </p14:nvContentPartPr>
              <p14:xfrm>
                <a:off x="4316835" y="3345465"/>
                <a:ext cx="356040" cy="161280"/>
              </p14:xfrm>
            </p:contentPart>
          </mc:Choice>
          <mc:Fallback xmlns="">
            <p:pic>
              <p:nvPicPr>
                <p:cNvPr id="121" name="Ink 120">
                  <a:extLst>
                    <a:ext uri="{FF2B5EF4-FFF2-40B4-BE49-F238E27FC236}">
                      <a16:creationId xmlns:a16="http://schemas.microsoft.com/office/drawing/2014/main" id="{006A37B0-9BA3-483F-885B-6F1AF3F5FB30}"/>
                    </a:ext>
                  </a:extLst>
                </p:cNvPr>
                <p:cNvPicPr/>
                <p:nvPr/>
              </p:nvPicPr>
              <p:blipFill>
                <a:blip r:embed="rId158"/>
                <a:stretch>
                  <a:fillRect/>
                </a:stretch>
              </p:blipFill>
              <p:spPr>
                <a:xfrm>
                  <a:off x="4298835" y="3327825"/>
                  <a:ext cx="391680" cy="196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9">
              <p14:nvContentPartPr>
                <p14:cNvPr id="122" name="Ink 121">
                  <a:extLst>
                    <a:ext uri="{FF2B5EF4-FFF2-40B4-BE49-F238E27FC236}">
                      <a16:creationId xmlns:a16="http://schemas.microsoft.com/office/drawing/2014/main" id="{348C3236-6A10-4C1E-B21D-4CC000902901}"/>
                    </a:ext>
                  </a:extLst>
                </p14:cNvPr>
                <p14:cNvContentPartPr/>
                <p14:nvPr/>
              </p14:nvContentPartPr>
              <p14:xfrm>
                <a:off x="4688715" y="3356265"/>
                <a:ext cx="58680" cy="135720"/>
              </p14:xfrm>
            </p:contentPart>
          </mc:Choice>
          <mc:Fallback xmlns="">
            <p:pic>
              <p:nvPicPr>
                <p:cNvPr id="122" name="Ink 121">
                  <a:extLst>
                    <a:ext uri="{FF2B5EF4-FFF2-40B4-BE49-F238E27FC236}">
                      <a16:creationId xmlns:a16="http://schemas.microsoft.com/office/drawing/2014/main" id="{348C3236-6A10-4C1E-B21D-4CC000902901}"/>
                    </a:ext>
                  </a:extLst>
                </p:cNvPr>
                <p:cNvPicPr/>
                <p:nvPr/>
              </p:nvPicPr>
              <p:blipFill>
                <a:blip r:embed="rId160"/>
                <a:stretch>
                  <a:fillRect/>
                </a:stretch>
              </p:blipFill>
              <p:spPr>
                <a:xfrm>
                  <a:off x="4671075" y="3338625"/>
                  <a:ext cx="94320" cy="17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1">
              <p14:nvContentPartPr>
                <p14:cNvPr id="123" name="Ink 122">
                  <a:extLst>
                    <a:ext uri="{FF2B5EF4-FFF2-40B4-BE49-F238E27FC236}">
                      <a16:creationId xmlns:a16="http://schemas.microsoft.com/office/drawing/2014/main" id="{99E98273-C96C-493D-B393-2E1F484874D7}"/>
                    </a:ext>
                  </a:extLst>
                </p14:cNvPr>
                <p14:cNvContentPartPr/>
                <p14:nvPr/>
              </p14:nvContentPartPr>
              <p14:xfrm>
                <a:off x="4739115" y="3374265"/>
                <a:ext cx="115920" cy="117360"/>
              </p14:xfrm>
            </p:contentPart>
          </mc:Choice>
          <mc:Fallback xmlns="">
            <p:pic>
              <p:nvPicPr>
                <p:cNvPr id="123" name="Ink 122">
                  <a:extLst>
                    <a:ext uri="{FF2B5EF4-FFF2-40B4-BE49-F238E27FC236}">
                      <a16:creationId xmlns:a16="http://schemas.microsoft.com/office/drawing/2014/main" id="{99E98273-C96C-493D-B393-2E1F484874D7}"/>
                    </a:ext>
                  </a:extLst>
                </p:cNvPr>
                <p:cNvPicPr/>
                <p:nvPr/>
              </p:nvPicPr>
              <p:blipFill>
                <a:blip r:embed="rId162"/>
                <a:stretch>
                  <a:fillRect/>
                </a:stretch>
              </p:blipFill>
              <p:spPr>
                <a:xfrm>
                  <a:off x="4721115" y="3356625"/>
                  <a:ext cx="151560" cy="15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3">
              <p14:nvContentPartPr>
                <p14:cNvPr id="124" name="Ink 123">
                  <a:extLst>
                    <a:ext uri="{FF2B5EF4-FFF2-40B4-BE49-F238E27FC236}">
                      <a16:creationId xmlns:a16="http://schemas.microsoft.com/office/drawing/2014/main" id="{277F83BC-B643-4D1F-BC63-90AE69C92CBF}"/>
                    </a:ext>
                  </a:extLst>
                </p14:cNvPr>
                <p14:cNvContentPartPr/>
                <p14:nvPr/>
              </p14:nvContentPartPr>
              <p14:xfrm>
                <a:off x="4987875" y="3223425"/>
                <a:ext cx="20160" cy="375120"/>
              </p14:xfrm>
            </p:contentPart>
          </mc:Choice>
          <mc:Fallback xmlns="">
            <p:pic>
              <p:nvPicPr>
                <p:cNvPr id="124" name="Ink 123">
                  <a:extLst>
                    <a:ext uri="{FF2B5EF4-FFF2-40B4-BE49-F238E27FC236}">
                      <a16:creationId xmlns:a16="http://schemas.microsoft.com/office/drawing/2014/main" id="{277F83BC-B643-4D1F-BC63-90AE69C92CBF}"/>
                    </a:ext>
                  </a:extLst>
                </p:cNvPr>
                <p:cNvPicPr/>
                <p:nvPr/>
              </p:nvPicPr>
              <p:blipFill>
                <a:blip r:embed="rId164"/>
                <a:stretch>
                  <a:fillRect/>
                </a:stretch>
              </p:blipFill>
              <p:spPr>
                <a:xfrm>
                  <a:off x="4970235" y="3205425"/>
                  <a:ext cx="55800" cy="41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5">
              <p14:nvContentPartPr>
                <p14:cNvPr id="126" name="Ink 125">
                  <a:extLst>
                    <a:ext uri="{FF2B5EF4-FFF2-40B4-BE49-F238E27FC236}">
                      <a16:creationId xmlns:a16="http://schemas.microsoft.com/office/drawing/2014/main" id="{75BF2A52-3DAD-40DD-BA2A-ED6C1B6A332F}"/>
                    </a:ext>
                  </a:extLst>
                </p14:cNvPr>
                <p14:cNvContentPartPr/>
                <p14:nvPr/>
              </p14:nvContentPartPr>
              <p14:xfrm>
                <a:off x="5075355" y="3389025"/>
                <a:ext cx="145080" cy="178200"/>
              </p14:xfrm>
            </p:contentPart>
          </mc:Choice>
          <mc:Fallback xmlns="">
            <p:pic>
              <p:nvPicPr>
                <p:cNvPr id="126" name="Ink 125">
                  <a:extLst>
                    <a:ext uri="{FF2B5EF4-FFF2-40B4-BE49-F238E27FC236}">
                      <a16:creationId xmlns:a16="http://schemas.microsoft.com/office/drawing/2014/main" id="{75BF2A52-3DAD-40DD-BA2A-ED6C1B6A332F}"/>
                    </a:ext>
                  </a:extLst>
                </p:cNvPr>
                <p:cNvPicPr/>
                <p:nvPr/>
              </p:nvPicPr>
              <p:blipFill>
                <a:blip r:embed="rId166"/>
                <a:stretch>
                  <a:fillRect/>
                </a:stretch>
              </p:blipFill>
              <p:spPr>
                <a:xfrm>
                  <a:off x="5057715" y="3371385"/>
                  <a:ext cx="180720" cy="213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3076AB44-C036-47A6-9D0E-973280EE763A}"/>
              </a:ext>
            </a:extLst>
          </p:cNvPr>
          <p:cNvGrpSpPr/>
          <p:nvPr/>
        </p:nvGrpSpPr>
        <p:grpSpPr>
          <a:xfrm>
            <a:off x="519195" y="3256185"/>
            <a:ext cx="3422160" cy="309240"/>
            <a:chOff x="519195" y="3256185"/>
            <a:chExt cx="3422160" cy="309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7">
              <p14:nvContentPartPr>
                <p14:cNvPr id="105" name="Ink 104">
                  <a:extLst>
                    <a:ext uri="{FF2B5EF4-FFF2-40B4-BE49-F238E27FC236}">
                      <a16:creationId xmlns:a16="http://schemas.microsoft.com/office/drawing/2014/main" id="{92E5428E-0386-41DB-AA90-9D755B07C5E4}"/>
                    </a:ext>
                  </a:extLst>
                </p14:cNvPr>
                <p14:cNvContentPartPr/>
                <p14:nvPr/>
              </p14:nvContentPartPr>
              <p14:xfrm>
                <a:off x="519195" y="3256185"/>
                <a:ext cx="183960" cy="216000"/>
              </p14:xfrm>
            </p:contentPart>
          </mc:Choice>
          <mc:Fallback xmlns="">
            <p:pic>
              <p:nvPicPr>
                <p:cNvPr id="105" name="Ink 104">
                  <a:extLst>
                    <a:ext uri="{FF2B5EF4-FFF2-40B4-BE49-F238E27FC236}">
                      <a16:creationId xmlns:a16="http://schemas.microsoft.com/office/drawing/2014/main" id="{92E5428E-0386-41DB-AA90-9D755B07C5E4}"/>
                    </a:ext>
                  </a:extLst>
                </p:cNvPr>
                <p:cNvPicPr/>
                <p:nvPr/>
              </p:nvPicPr>
              <p:blipFill>
                <a:blip r:embed="rId168"/>
                <a:stretch>
                  <a:fillRect/>
                </a:stretch>
              </p:blipFill>
              <p:spPr>
                <a:xfrm>
                  <a:off x="501555" y="3238545"/>
                  <a:ext cx="219600" cy="25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9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5040F84B-B609-49D4-8B94-B183001307AE}"/>
                    </a:ext>
                  </a:extLst>
                </p14:cNvPr>
                <p14:cNvContentPartPr/>
                <p14:nvPr/>
              </p14:nvContentPartPr>
              <p14:xfrm>
                <a:off x="691635" y="3286065"/>
                <a:ext cx="677520" cy="255240"/>
              </p14:xfrm>
            </p:contentPart>
          </mc:Choice>
          <mc:Fallback xmlns=""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5040F84B-B609-49D4-8B94-B183001307AE}"/>
                    </a:ext>
                  </a:extLst>
                </p:cNvPr>
                <p:cNvPicPr/>
                <p:nvPr/>
              </p:nvPicPr>
              <p:blipFill>
                <a:blip r:embed="rId170"/>
                <a:stretch>
                  <a:fillRect/>
                </a:stretch>
              </p:blipFill>
              <p:spPr>
                <a:xfrm>
                  <a:off x="673635" y="3268425"/>
                  <a:ext cx="713160" cy="29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1">
              <p14:nvContentPartPr>
                <p14:cNvPr id="107" name="Ink 106">
                  <a:extLst>
                    <a:ext uri="{FF2B5EF4-FFF2-40B4-BE49-F238E27FC236}">
                      <a16:creationId xmlns:a16="http://schemas.microsoft.com/office/drawing/2014/main" id="{66350FE4-F11F-49B9-B814-62E249B2B111}"/>
                    </a:ext>
                  </a:extLst>
                </p14:cNvPr>
                <p14:cNvContentPartPr/>
                <p14:nvPr/>
              </p14:nvContentPartPr>
              <p14:xfrm>
                <a:off x="1608915" y="3338985"/>
                <a:ext cx="114840" cy="156240"/>
              </p14:xfrm>
            </p:contentPart>
          </mc:Choice>
          <mc:Fallback xmlns="">
            <p:pic>
              <p:nvPicPr>
                <p:cNvPr id="107" name="Ink 106">
                  <a:extLst>
                    <a:ext uri="{FF2B5EF4-FFF2-40B4-BE49-F238E27FC236}">
                      <a16:creationId xmlns:a16="http://schemas.microsoft.com/office/drawing/2014/main" id="{66350FE4-F11F-49B9-B814-62E249B2B111}"/>
                    </a:ext>
                  </a:extLst>
                </p:cNvPr>
                <p:cNvPicPr/>
                <p:nvPr/>
              </p:nvPicPr>
              <p:blipFill>
                <a:blip r:embed="rId172"/>
                <a:stretch>
                  <a:fillRect/>
                </a:stretch>
              </p:blipFill>
              <p:spPr>
                <a:xfrm>
                  <a:off x="1590915" y="3320985"/>
                  <a:ext cx="150480" cy="19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3">
              <p14:nvContentPartPr>
                <p14:cNvPr id="108" name="Ink 107">
                  <a:extLst>
                    <a:ext uri="{FF2B5EF4-FFF2-40B4-BE49-F238E27FC236}">
                      <a16:creationId xmlns:a16="http://schemas.microsoft.com/office/drawing/2014/main" id="{2DCFEE3B-7B67-46E0-B515-592CA1FE9434}"/>
                    </a:ext>
                  </a:extLst>
                </p14:cNvPr>
                <p14:cNvContentPartPr/>
                <p14:nvPr/>
              </p14:nvContentPartPr>
              <p14:xfrm>
                <a:off x="1814835" y="3279225"/>
                <a:ext cx="230400" cy="286200"/>
              </p14:xfrm>
            </p:contentPart>
          </mc:Choice>
          <mc:Fallback xmlns="">
            <p:pic>
              <p:nvPicPr>
                <p:cNvPr id="108" name="Ink 107">
                  <a:extLst>
                    <a:ext uri="{FF2B5EF4-FFF2-40B4-BE49-F238E27FC236}">
                      <a16:creationId xmlns:a16="http://schemas.microsoft.com/office/drawing/2014/main" id="{2DCFEE3B-7B67-46E0-B515-592CA1FE9434}"/>
                    </a:ext>
                  </a:extLst>
                </p:cNvPr>
                <p:cNvPicPr/>
                <p:nvPr/>
              </p:nvPicPr>
              <p:blipFill>
                <a:blip r:embed="rId174"/>
                <a:stretch>
                  <a:fillRect/>
                </a:stretch>
              </p:blipFill>
              <p:spPr>
                <a:xfrm>
                  <a:off x="1796835" y="3261225"/>
                  <a:ext cx="266040" cy="32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5">
              <p14:nvContentPartPr>
                <p14:cNvPr id="109" name="Ink 108">
                  <a:extLst>
                    <a:ext uri="{FF2B5EF4-FFF2-40B4-BE49-F238E27FC236}">
                      <a16:creationId xmlns:a16="http://schemas.microsoft.com/office/drawing/2014/main" id="{CA87DC89-A987-47C6-96DD-78407B7E6989}"/>
                    </a:ext>
                  </a:extLst>
                </p14:cNvPr>
                <p14:cNvContentPartPr/>
                <p14:nvPr/>
              </p14:nvContentPartPr>
              <p14:xfrm>
                <a:off x="1993395" y="3381105"/>
                <a:ext cx="137160" cy="34560"/>
              </p14:xfrm>
            </p:contentPart>
          </mc:Choice>
          <mc:Fallback xmlns="">
            <p:pic>
              <p:nvPicPr>
                <p:cNvPr id="109" name="Ink 108">
                  <a:extLst>
                    <a:ext uri="{FF2B5EF4-FFF2-40B4-BE49-F238E27FC236}">
                      <a16:creationId xmlns:a16="http://schemas.microsoft.com/office/drawing/2014/main" id="{CA87DC89-A987-47C6-96DD-78407B7E6989}"/>
                    </a:ext>
                  </a:extLst>
                </p:cNvPr>
                <p:cNvPicPr/>
                <p:nvPr/>
              </p:nvPicPr>
              <p:blipFill>
                <a:blip r:embed="rId176"/>
                <a:stretch>
                  <a:fillRect/>
                </a:stretch>
              </p:blipFill>
              <p:spPr>
                <a:xfrm>
                  <a:off x="1975395" y="3363105"/>
                  <a:ext cx="172800" cy="7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7">
              <p14:nvContentPartPr>
                <p14:cNvPr id="110" name="Ink 109">
                  <a:extLst>
                    <a:ext uri="{FF2B5EF4-FFF2-40B4-BE49-F238E27FC236}">
                      <a16:creationId xmlns:a16="http://schemas.microsoft.com/office/drawing/2014/main" id="{DF306B4E-95EE-4FEC-B507-C5F69ECE198F}"/>
                    </a:ext>
                  </a:extLst>
                </p14:cNvPr>
                <p14:cNvContentPartPr/>
                <p14:nvPr/>
              </p14:nvContentPartPr>
              <p14:xfrm>
                <a:off x="2379315" y="3350865"/>
                <a:ext cx="232560" cy="164160"/>
              </p14:xfrm>
            </p:contentPart>
          </mc:Choice>
          <mc:Fallback xmlns="">
            <p:pic>
              <p:nvPicPr>
                <p:cNvPr id="110" name="Ink 109">
                  <a:extLst>
                    <a:ext uri="{FF2B5EF4-FFF2-40B4-BE49-F238E27FC236}">
                      <a16:creationId xmlns:a16="http://schemas.microsoft.com/office/drawing/2014/main" id="{DF306B4E-95EE-4FEC-B507-C5F69ECE198F}"/>
                    </a:ext>
                  </a:extLst>
                </p:cNvPr>
                <p:cNvPicPr/>
                <p:nvPr/>
              </p:nvPicPr>
              <p:blipFill>
                <a:blip r:embed="rId178"/>
                <a:stretch>
                  <a:fillRect/>
                </a:stretch>
              </p:blipFill>
              <p:spPr>
                <a:xfrm>
                  <a:off x="2361315" y="3333225"/>
                  <a:ext cx="268200" cy="199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9">
              <p14:nvContentPartPr>
                <p14:cNvPr id="111" name="Ink 110">
                  <a:extLst>
                    <a:ext uri="{FF2B5EF4-FFF2-40B4-BE49-F238E27FC236}">
                      <a16:creationId xmlns:a16="http://schemas.microsoft.com/office/drawing/2014/main" id="{B94AD21C-ADF5-445A-8C4A-9F634C02C19C}"/>
                    </a:ext>
                  </a:extLst>
                </p14:cNvPr>
                <p14:cNvContentPartPr/>
                <p14:nvPr/>
              </p14:nvContentPartPr>
              <p14:xfrm>
                <a:off x="2637435" y="3394785"/>
                <a:ext cx="160200" cy="99000"/>
              </p14:xfrm>
            </p:contentPart>
          </mc:Choice>
          <mc:Fallback xmlns="">
            <p:pic>
              <p:nvPicPr>
                <p:cNvPr id="111" name="Ink 110">
                  <a:extLst>
                    <a:ext uri="{FF2B5EF4-FFF2-40B4-BE49-F238E27FC236}">
                      <a16:creationId xmlns:a16="http://schemas.microsoft.com/office/drawing/2014/main" id="{B94AD21C-ADF5-445A-8C4A-9F634C02C19C}"/>
                    </a:ext>
                  </a:extLst>
                </p:cNvPr>
                <p:cNvPicPr/>
                <p:nvPr/>
              </p:nvPicPr>
              <p:blipFill>
                <a:blip r:embed="rId180"/>
                <a:stretch>
                  <a:fillRect/>
                </a:stretch>
              </p:blipFill>
              <p:spPr>
                <a:xfrm>
                  <a:off x="2619795" y="3376785"/>
                  <a:ext cx="195840" cy="13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1">
              <p14:nvContentPartPr>
                <p14:cNvPr id="112" name="Ink 111">
                  <a:extLst>
                    <a:ext uri="{FF2B5EF4-FFF2-40B4-BE49-F238E27FC236}">
                      <a16:creationId xmlns:a16="http://schemas.microsoft.com/office/drawing/2014/main" id="{E3EDDE79-A3E5-4AB4-A374-76664C535EB2}"/>
                    </a:ext>
                  </a:extLst>
                </p14:cNvPr>
                <p14:cNvContentPartPr/>
                <p14:nvPr/>
              </p14:nvContentPartPr>
              <p14:xfrm>
                <a:off x="2930475" y="3272745"/>
                <a:ext cx="59400" cy="249840"/>
              </p14:xfrm>
            </p:contentPart>
          </mc:Choice>
          <mc:Fallback xmlns="">
            <p:pic>
              <p:nvPicPr>
                <p:cNvPr id="112" name="Ink 111">
                  <a:extLst>
                    <a:ext uri="{FF2B5EF4-FFF2-40B4-BE49-F238E27FC236}">
                      <a16:creationId xmlns:a16="http://schemas.microsoft.com/office/drawing/2014/main" id="{E3EDDE79-A3E5-4AB4-A374-76664C535EB2}"/>
                    </a:ext>
                  </a:extLst>
                </p:cNvPr>
                <p:cNvPicPr/>
                <p:nvPr/>
              </p:nvPicPr>
              <p:blipFill>
                <a:blip r:embed="rId182"/>
                <a:stretch>
                  <a:fillRect/>
                </a:stretch>
              </p:blipFill>
              <p:spPr>
                <a:xfrm>
                  <a:off x="2912835" y="3255105"/>
                  <a:ext cx="95040" cy="28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3">
              <p14:nvContentPartPr>
                <p14:cNvPr id="115" name="Ink 114">
                  <a:extLst>
                    <a:ext uri="{FF2B5EF4-FFF2-40B4-BE49-F238E27FC236}">
                      <a16:creationId xmlns:a16="http://schemas.microsoft.com/office/drawing/2014/main" id="{67EDA115-EC2F-4B09-8015-D99178EE4CFD}"/>
                    </a:ext>
                  </a:extLst>
                </p14:cNvPr>
                <p14:cNvContentPartPr/>
                <p14:nvPr/>
              </p14:nvContentPartPr>
              <p14:xfrm>
                <a:off x="2851635" y="3377145"/>
                <a:ext cx="462600" cy="89280"/>
              </p14:xfrm>
            </p:contentPart>
          </mc:Choice>
          <mc:Fallback xmlns="">
            <p:pic>
              <p:nvPicPr>
                <p:cNvPr id="115" name="Ink 114">
                  <a:extLst>
                    <a:ext uri="{FF2B5EF4-FFF2-40B4-BE49-F238E27FC236}">
                      <a16:creationId xmlns:a16="http://schemas.microsoft.com/office/drawing/2014/main" id="{67EDA115-EC2F-4B09-8015-D99178EE4CFD}"/>
                    </a:ext>
                  </a:extLst>
                </p:cNvPr>
                <p:cNvPicPr/>
                <p:nvPr/>
              </p:nvPicPr>
              <p:blipFill>
                <a:blip r:embed="rId184"/>
                <a:stretch>
                  <a:fillRect/>
                </a:stretch>
              </p:blipFill>
              <p:spPr>
                <a:xfrm>
                  <a:off x="2833995" y="3359505"/>
                  <a:ext cx="498240" cy="12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5">
              <p14:nvContentPartPr>
                <p14:cNvPr id="116" name="Ink 115">
                  <a:extLst>
                    <a:ext uri="{FF2B5EF4-FFF2-40B4-BE49-F238E27FC236}">
                      <a16:creationId xmlns:a16="http://schemas.microsoft.com/office/drawing/2014/main" id="{237BB2A2-815E-44A5-8D03-358D91D56AE8}"/>
                    </a:ext>
                  </a:extLst>
                </p14:cNvPr>
                <p14:cNvContentPartPr/>
                <p14:nvPr/>
              </p14:nvContentPartPr>
              <p14:xfrm>
                <a:off x="3287595" y="3301545"/>
                <a:ext cx="10440" cy="56880"/>
              </p14:xfrm>
            </p:contentPart>
          </mc:Choice>
          <mc:Fallback xmlns="">
            <p:pic>
              <p:nvPicPr>
                <p:cNvPr id="116" name="Ink 115">
                  <a:extLst>
                    <a:ext uri="{FF2B5EF4-FFF2-40B4-BE49-F238E27FC236}">
                      <a16:creationId xmlns:a16="http://schemas.microsoft.com/office/drawing/2014/main" id="{237BB2A2-815E-44A5-8D03-358D91D56AE8}"/>
                    </a:ext>
                  </a:extLst>
                </p:cNvPr>
                <p:cNvPicPr/>
                <p:nvPr/>
              </p:nvPicPr>
              <p:blipFill>
                <a:blip r:embed="rId186"/>
                <a:stretch>
                  <a:fillRect/>
                </a:stretch>
              </p:blipFill>
              <p:spPr>
                <a:xfrm>
                  <a:off x="3269955" y="3283545"/>
                  <a:ext cx="46080" cy="9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7">
              <p14:nvContentPartPr>
                <p14:cNvPr id="117" name="Ink 116">
                  <a:extLst>
                    <a:ext uri="{FF2B5EF4-FFF2-40B4-BE49-F238E27FC236}">
                      <a16:creationId xmlns:a16="http://schemas.microsoft.com/office/drawing/2014/main" id="{126B6014-57AF-4F21-B2C9-98BE94C26DDB}"/>
                    </a:ext>
                  </a:extLst>
                </p14:cNvPr>
                <p14:cNvContentPartPr/>
                <p14:nvPr/>
              </p14:nvContentPartPr>
              <p14:xfrm>
                <a:off x="3363195" y="3330705"/>
                <a:ext cx="269280" cy="149760"/>
              </p14:xfrm>
            </p:contentPart>
          </mc:Choice>
          <mc:Fallback xmlns="">
            <p:pic>
              <p:nvPicPr>
                <p:cNvPr id="117" name="Ink 116">
                  <a:extLst>
                    <a:ext uri="{FF2B5EF4-FFF2-40B4-BE49-F238E27FC236}">
                      <a16:creationId xmlns:a16="http://schemas.microsoft.com/office/drawing/2014/main" id="{126B6014-57AF-4F21-B2C9-98BE94C26DDB}"/>
                    </a:ext>
                  </a:extLst>
                </p:cNvPr>
                <p:cNvPicPr/>
                <p:nvPr/>
              </p:nvPicPr>
              <p:blipFill>
                <a:blip r:embed="rId188"/>
                <a:stretch>
                  <a:fillRect/>
                </a:stretch>
              </p:blipFill>
              <p:spPr>
                <a:xfrm>
                  <a:off x="3345555" y="3312705"/>
                  <a:ext cx="304920" cy="185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9">
              <p14:nvContentPartPr>
                <p14:cNvPr id="118" name="Ink 117">
                  <a:extLst>
                    <a:ext uri="{FF2B5EF4-FFF2-40B4-BE49-F238E27FC236}">
                      <a16:creationId xmlns:a16="http://schemas.microsoft.com/office/drawing/2014/main" id="{66ADFF87-F1AF-435B-84B0-DFD883BEEE14}"/>
                    </a:ext>
                  </a:extLst>
                </p14:cNvPr>
                <p14:cNvContentPartPr/>
                <p14:nvPr/>
              </p14:nvContentPartPr>
              <p14:xfrm>
                <a:off x="3586755" y="3307665"/>
                <a:ext cx="354600" cy="220320"/>
              </p14:xfrm>
            </p:contentPart>
          </mc:Choice>
          <mc:Fallback xmlns="">
            <p:pic>
              <p:nvPicPr>
                <p:cNvPr id="118" name="Ink 117">
                  <a:extLst>
                    <a:ext uri="{FF2B5EF4-FFF2-40B4-BE49-F238E27FC236}">
                      <a16:creationId xmlns:a16="http://schemas.microsoft.com/office/drawing/2014/main" id="{66ADFF87-F1AF-435B-84B0-DFD883BEEE14}"/>
                    </a:ext>
                  </a:extLst>
                </p:cNvPr>
                <p:cNvPicPr/>
                <p:nvPr/>
              </p:nvPicPr>
              <p:blipFill>
                <a:blip r:embed="rId190"/>
                <a:stretch>
                  <a:fillRect/>
                </a:stretch>
              </p:blipFill>
              <p:spPr>
                <a:xfrm>
                  <a:off x="3568755" y="3289665"/>
                  <a:ext cx="390240" cy="255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BC455EBB-B5AB-42AB-B44B-DEFE43A52F41}"/>
              </a:ext>
            </a:extLst>
          </p:cNvPr>
          <p:cNvGrpSpPr/>
          <p:nvPr/>
        </p:nvGrpSpPr>
        <p:grpSpPr>
          <a:xfrm>
            <a:off x="370929" y="229122"/>
            <a:ext cx="3131640" cy="451800"/>
            <a:chOff x="370929" y="229122"/>
            <a:chExt cx="3131640" cy="451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91">
              <p14:nvContentPartPr>
                <p14:cNvPr id="130" name="Ink 129">
                  <a:extLst>
                    <a:ext uri="{FF2B5EF4-FFF2-40B4-BE49-F238E27FC236}">
                      <a16:creationId xmlns:a16="http://schemas.microsoft.com/office/drawing/2014/main" id="{3CBD8871-4E57-4BF0-86FC-293E248EF9B2}"/>
                    </a:ext>
                  </a:extLst>
                </p14:cNvPr>
                <p14:cNvContentPartPr/>
                <p14:nvPr/>
              </p14:nvContentPartPr>
              <p14:xfrm>
                <a:off x="370929" y="283482"/>
                <a:ext cx="266760" cy="280080"/>
              </p14:xfrm>
            </p:contentPart>
          </mc:Choice>
          <mc:Fallback xmlns="">
            <p:pic>
              <p:nvPicPr>
                <p:cNvPr id="130" name="Ink 129">
                  <a:extLst>
                    <a:ext uri="{FF2B5EF4-FFF2-40B4-BE49-F238E27FC236}">
                      <a16:creationId xmlns:a16="http://schemas.microsoft.com/office/drawing/2014/main" id="{3CBD8871-4E57-4BF0-86FC-293E248EF9B2}"/>
                    </a:ext>
                  </a:extLst>
                </p:cNvPr>
                <p:cNvPicPr/>
                <p:nvPr/>
              </p:nvPicPr>
              <p:blipFill>
                <a:blip r:embed="rId192"/>
                <a:stretch>
                  <a:fillRect/>
                </a:stretch>
              </p:blipFill>
              <p:spPr>
                <a:xfrm>
                  <a:off x="352929" y="265842"/>
                  <a:ext cx="302400" cy="31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3">
              <p14:nvContentPartPr>
                <p14:cNvPr id="131" name="Ink 130">
                  <a:extLst>
                    <a:ext uri="{FF2B5EF4-FFF2-40B4-BE49-F238E27FC236}">
                      <a16:creationId xmlns:a16="http://schemas.microsoft.com/office/drawing/2014/main" id="{6C6CD558-1A3B-4D6B-9133-A8CFD2CF2ACD}"/>
                    </a:ext>
                  </a:extLst>
                </p14:cNvPr>
                <p14:cNvContentPartPr/>
                <p14:nvPr/>
              </p14:nvContentPartPr>
              <p14:xfrm>
                <a:off x="657849" y="289962"/>
                <a:ext cx="92160" cy="210600"/>
              </p14:xfrm>
            </p:contentPart>
          </mc:Choice>
          <mc:Fallback xmlns="">
            <p:pic>
              <p:nvPicPr>
                <p:cNvPr id="131" name="Ink 130">
                  <a:extLst>
                    <a:ext uri="{FF2B5EF4-FFF2-40B4-BE49-F238E27FC236}">
                      <a16:creationId xmlns:a16="http://schemas.microsoft.com/office/drawing/2014/main" id="{6C6CD558-1A3B-4D6B-9133-A8CFD2CF2ACD}"/>
                    </a:ext>
                  </a:extLst>
                </p:cNvPr>
                <p:cNvPicPr/>
                <p:nvPr/>
              </p:nvPicPr>
              <p:blipFill>
                <a:blip r:embed="rId194"/>
                <a:stretch>
                  <a:fillRect/>
                </a:stretch>
              </p:blipFill>
              <p:spPr>
                <a:xfrm>
                  <a:off x="639849" y="272322"/>
                  <a:ext cx="127800" cy="24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5">
              <p14:nvContentPartPr>
                <p14:cNvPr id="132" name="Ink 131">
                  <a:extLst>
                    <a:ext uri="{FF2B5EF4-FFF2-40B4-BE49-F238E27FC236}">
                      <a16:creationId xmlns:a16="http://schemas.microsoft.com/office/drawing/2014/main" id="{36DA44DE-40D2-40DA-AC2B-59791C298C7B}"/>
                    </a:ext>
                  </a:extLst>
                </p14:cNvPr>
                <p14:cNvContentPartPr/>
                <p14:nvPr/>
              </p14:nvContentPartPr>
              <p14:xfrm>
                <a:off x="848649" y="229122"/>
                <a:ext cx="148680" cy="267840"/>
              </p14:xfrm>
            </p:contentPart>
          </mc:Choice>
          <mc:Fallback xmlns="">
            <p:pic>
              <p:nvPicPr>
                <p:cNvPr id="132" name="Ink 131">
                  <a:extLst>
                    <a:ext uri="{FF2B5EF4-FFF2-40B4-BE49-F238E27FC236}">
                      <a16:creationId xmlns:a16="http://schemas.microsoft.com/office/drawing/2014/main" id="{36DA44DE-40D2-40DA-AC2B-59791C298C7B}"/>
                    </a:ext>
                  </a:extLst>
                </p:cNvPr>
                <p:cNvPicPr/>
                <p:nvPr/>
              </p:nvPicPr>
              <p:blipFill>
                <a:blip r:embed="rId196"/>
                <a:stretch>
                  <a:fillRect/>
                </a:stretch>
              </p:blipFill>
              <p:spPr>
                <a:xfrm>
                  <a:off x="831009" y="211122"/>
                  <a:ext cx="184320" cy="30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7">
              <p14:nvContentPartPr>
                <p14:cNvPr id="133" name="Ink 132">
                  <a:extLst>
                    <a:ext uri="{FF2B5EF4-FFF2-40B4-BE49-F238E27FC236}">
                      <a16:creationId xmlns:a16="http://schemas.microsoft.com/office/drawing/2014/main" id="{9AABD909-2571-4C3D-98D4-C87BEE71779D}"/>
                    </a:ext>
                  </a:extLst>
                </p14:cNvPr>
                <p14:cNvContentPartPr/>
                <p14:nvPr/>
              </p14:nvContentPartPr>
              <p14:xfrm>
                <a:off x="885369" y="244962"/>
                <a:ext cx="273600" cy="260640"/>
              </p14:xfrm>
            </p:contentPart>
          </mc:Choice>
          <mc:Fallback xmlns="">
            <p:pic>
              <p:nvPicPr>
                <p:cNvPr id="133" name="Ink 132">
                  <a:extLst>
                    <a:ext uri="{FF2B5EF4-FFF2-40B4-BE49-F238E27FC236}">
                      <a16:creationId xmlns:a16="http://schemas.microsoft.com/office/drawing/2014/main" id="{9AABD909-2571-4C3D-98D4-C87BEE71779D}"/>
                    </a:ext>
                  </a:extLst>
                </p:cNvPr>
                <p:cNvPicPr/>
                <p:nvPr/>
              </p:nvPicPr>
              <p:blipFill>
                <a:blip r:embed="rId198"/>
                <a:stretch>
                  <a:fillRect/>
                </a:stretch>
              </p:blipFill>
              <p:spPr>
                <a:xfrm>
                  <a:off x="867369" y="227322"/>
                  <a:ext cx="309240" cy="29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9">
              <p14:nvContentPartPr>
                <p14:cNvPr id="134" name="Ink 133">
                  <a:extLst>
                    <a:ext uri="{FF2B5EF4-FFF2-40B4-BE49-F238E27FC236}">
                      <a16:creationId xmlns:a16="http://schemas.microsoft.com/office/drawing/2014/main" id="{9A6CB348-1C7B-4045-AC75-C46A76CBE9A6}"/>
                    </a:ext>
                  </a:extLst>
                </p14:cNvPr>
                <p14:cNvContentPartPr/>
                <p14:nvPr/>
              </p14:nvContentPartPr>
              <p14:xfrm>
                <a:off x="1046649" y="302562"/>
                <a:ext cx="869400" cy="210600"/>
              </p14:xfrm>
            </p:contentPart>
          </mc:Choice>
          <mc:Fallback xmlns="">
            <p:pic>
              <p:nvPicPr>
                <p:cNvPr id="134" name="Ink 133">
                  <a:extLst>
                    <a:ext uri="{FF2B5EF4-FFF2-40B4-BE49-F238E27FC236}">
                      <a16:creationId xmlns:a16="http://schemas.microsoft.com/office/drawing/2014/main" id="{9A6CB348-1C7B-4045-AC75-C46A76CBE9A6}"/>
                    </a:ext>
                  </a:extLst>
                </p:cNvPr>
                <p:cNvPicPr/>
                <p:nvPr/>
              </p:nvPicPr>
              <p:blipFill>
                <a:blip r:embed="rId200"/>
                <a:stretch>
                  <a:fillRect/>
                </a:stretch>
              </p:blipFill>
              <p:spPr>
                <a:xfrm>
                  <a:off x="1029009" y="284922"/>
                  <a:ext cx="905040" cy="24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1">
              <p14:nvContentPartPr>
                <p14:cNvPr id="135" name="Ink 134">
                  <a:extLst>
                    <a:ext uri="{FF2B5EF4-FFF2-40B4-BE49-F238E27FC236}">
                      <a16:creationId xmlns:a16="http://schemas.microsoft.com/office/drawing/2014/main" id="{97E3C9AB-9BAA-47D4-B40A-C5B652C7B2E2}"/>
                    </a:ext>
                  </a:extLst>
                </p14:cNvPr>
                <p14:cNvContentPartPr/>
                <p14:nvPr/>
              </p14:nvContentPartPr>
              <p14:xfrm>
                <a:off x="1930449" y="378882"/>
                <a:ext cx="35280" cy="38160"/>
              </p14:xfrm>
            </p:contentPart>
          </mc:Choice>
          <mc:Fallback xmlns="">
            <p:pic>
              <p:nvPicPr>
                <p:cNvPr id="135" name="Ink 134">
                  <a:extLst>
                    <a:ext uri="{FF2B5EF4-FFF2-40B4-BE49-F238E27FC236}">
                      <a16:creationId xmlns:a16="http://schemas.microsoft.com/office/drawing/2014/main" id="{97E3C9AB-9BAA-47D4-B40A-C5B652C7B2E2}"/>
                    </a:ext>
                  </a:extLst>
                </p:cNvPr>
                <p:cNvPicPr/>
                <p:nvPr/>
              </p:nvPicPr>
              <p:blipFill>
                <a:blip r:embed="rId202"/>
                <a:stretch>
                  <a:fillRect/>
                </a:stretch>
              </p:blipFill>
              <p:spPr>
                <a:xfrm>
                  <a:off x="1912809" y="360882"/>
                  <a:ext cx="7092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3">
              <p14:nvContentPartPr>
                <p14:cNvPr id="136" name="Ink 135">
                  <a:extLst>
                    <a:ext uri="{FF2B5EF4-FFF2-40B4-BE49-F238E27FC236}">
                      <a16:creationId xmlns:a16="http://schemas.microsoft.com/office/drawing/2014/main" id="{BB44F983-F86E-43E7-AD5A-FB3EF4C5790C}"/>
                    </a:ext>
                  </a:extLst>
                </p14:cNvPr>
                <p14:cNvContentPartPr/>
                <p14:nvPr/>
              </p14:nvContentPartPr>
              <p14:xfrm>
                <a:off x="2169849" y="372402"/>
                <a:ext cx="502560" cy="308520"/>
              </p14:xfrm>
            </p:contentPart>
          </mc:Choice>
          <mc:Fallback xmlns="">
            <p:pic>
              <p:nvPicPr>
                <p:cNvPr id="136" name="Ink 135">
                  <a:extLst>
                    <a:ext uri="{FF2B5EF4-FFF2-40B4-BE49-F238E27FC236}">
                      <a16:creationId xmlns:a16="http://schemas.microsoft.com/office/drawing/2014/main" id="{BB44F983-F86E-43E7-AD5A-FB3EF4C5790C}"/>
                    </a:ext>
                  </a:extLst>
                </p:cNvPr>
                <p:cNvPicPr/>
                <p:nvPr/>
              </p:nvPicPr>
              <p:blipFill>
                <a:blip r:embed="rId204"/>
                <a:stretch>
                  <a:fillRect/>
                </a:stretch>
              </p:blipFill>
              <p:spPr>
                <a:xfrm>
                  <a:off x="2152209" y="354402"/>
                  <a:ext cx="538200" cy="34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5">
              <p14:nvContentPartPr>
                <p14:cNvPr id="137" name="Ink 136">
                  <a:extLst>
                    <a:ext uri="{FF2B5EF4-FFF2-40B4-BE49-F238E27FC236}">
                      <a16:creationId xmlns:a16="http://schemas.microsoft.com/office/drawing/2014/main" id="{96029C56-966E-4CBE-A94E-A54B03729213}"/>
                    </a:ext>
                  </a:extLst>
                </p14:cNvPr>
                <p14:cNvContentPartPr/>
                <p14:nvPr/>
              </p14:nvContentPartPr>
              <p14:xfrm>
                <a:off x="2714169" y="323442"/>
                <a:ext cx="85680" cy="176400"/>
              </p14:xfrm>
            </p:contentPart>
          </mc:Choice>
          <mc:Fallback xmlns="">
            <p:pic>
              <p:nvPicPr>
                <p:cNvPr id="137" name="Ink 136">
                  <a:extLst>
                    <a:ext uri="{FF2B5EF4-FFF2-40B4-BE49-F238E27FC236}">
                      <a16:creationId xmlns:a16="http://schemas.microsoft.com/office/drawing/2014/main" id="{96029C56-966E-4CBE-A94E-A54B03729213}"/>
                    </a:ext>
                  </a:extLst>
                </p:cNvPr>
                <p:cNvPicPr/>
                <p:nvPr/>
              </p:nvPicPr>
              <p:blipFill>
                <a:blip r:embed="rId206"/>
                <a:stretch>
                  <a:fillRect/>
                </a:stretch>
              </p:blipFill>
              <p:spPr>
                <a:xfrm>
                  <a:off x="2696169" y="305802"/>
                  <a:ext cx="121320" cy="21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7">
              <p14:nvContentPartPr>
                <p14:cNvPr id="138" name="Ink 137">
                  <a:extLst>
                    <a:ext uri="{FF2B5EF4-FFF2-40B4-BE49-F238E27FC236}">
                      <a16:creationId xmlns:a16="http://schemas.microsoft.com/office/drawing/2014/main" id="{1D8CD61C-6C5E-4EE8-A33F-18968F385392}"/>
                    </a:ext>
                  </a:extLst>
                </p14:cNvPr>
                <p14:cNvContentPartPr/>
                <p14:nvPr/>
              </p14:nvContentPartPr>
              <p14:xfrm>
                <a:off x="2706609" y="292122"/>
                <a:ext cx="201960" cy="231840"/>
              </p14:xfrm>
            </p:contentPart>
          </mc:Choice>
          <mc:Fallback xmlns="">
            <p:pic>
              <p:nvPicPr>
                <p:cNvPr id="138" name="Ink 137">
                  <a:extLst>
                    <a:ext uri="{FF2B5EF4-FFF2-40B4-BE49-F238E27FC236}">
                      <a16:creationId xmlns:a16="http://schemas.microsoft.com/office/drawing/2014/main" id="{1D8CD61C-6C5E-4EE8-A33F-18968F385392}"/>
                    </a:ext>
                  </a:extLst>
                </p:cNvPr>
                <p:cNvPicPr/>
                <p:nvPr/>
              </p:nvPicPr>
              <p:blipFill>
                <a:blip r:embed="rId208"/>
                <a:stretch>
                  <a:fillRect/>
                </a:stretch>
              </p:blipFill>
              <p:spPr>
                <a:xfrm>
                  <a:off x="2688609" y="274122"/>
                  <a:ext cx="237600" cy="267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9">
              <p14:nvContentPartPr>
                <p14:cNvPr id="139" name="Ink 138">
                  <a:extLst>
                    <a:ext uri="{FF2B5EF4-FFF2-40B4-BE49-F238E27FC236}">
                      <a16:creationId xmlns:a16="http://schemas.microsoft.com/office/drawing/2014/main" id="{4A8D8253-B16C-493A-8B3D-C147E4E0F362}"/>
                    </a:ext>
                  </a:extLst>
                </p14:cNvPr>
                <p14:cNvContentPartPr/>
                <p14:nvPr/>
              </p14:nvContentPartPr>
              <p14:xfrm>
                <a:off x="2933049" y="394722"/>
                <a:ext cx="225720" cy="82440"/>
              </p14:xfrm>
            </p:contentPart>
          </mc:Choice>
          <mc:Fallback xmlns="">
            <p:pic>
              <p:nvPicPr>
                <p:cNvPr id="139" name="Ink 138">
                  <a:extLst>
                    <a:ext uri="{FF2B5EF4-FFF2-40B4-BE49-F238E27FC236}">
                      <a16:creationId xmlns:a16="http://schemas.microsoft.com/office/drawing/2014/main" id="{4A8D8253-B16C-493A-8B3D-C147E4E0F362}"/>
                    </a:ext>
                  </a:extLst>
                </p:cNvPr>
                <p:cNvPicPr/>
                <p:nvPr/>
              </p:nvPicPr>
              <p:blipFill>
                <a:blip r:embed="rId210"/>
                <a:stretch>
                  <a:fillRect/>
                </a:stretch>
              </p:blipFill>
              <p:spPr>
                <a:xfrm>
                  <a:off x="2915409" y="377082"/>
                  <a:ext cx="261360" cy="11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1">
              <p14:nvContentPartPr>
                <p14:cNvPr id="140" name="Ink 139">
                  <a:extLst>
                    <a:ext uri="{FF2B5EF4-FFF2-40B4-BE49-F238E27FC236}">
                      <a16:creationId xmlns:a16="http://schemas.microsoft.com/office/drawing/2014/main" id="{3E0A9AD8-E9C3-4022-A81D-941BFD634C23}"/>
                    </a:ext>
                  </a:extLst>
                </p14:cNvPr>
                <p14:cNvContentPartPr/>
                <p14:nvPr/>
              </p14:nvContentPartPr>
              <p14:xfrm>
                <a:off x="3293409" y="367722"/>
                <a:ext cx="91080" cy="84240"/>
              </p14:xfrm>
            </p:contentPart>
          </mc:Choice>
          <mc:Fallback xmlns="">
            <p:pic>
              <p:nvPicPr>
                <p:cNvPr id="140" name="Ink 139">
                  <a:extLst>
                    <a:ext uri="{FF2B5EF4-FFF2-40B4-BE49-F238E27FC236}">
                      <a16:creationId xmlns:a16="http://schemas.microsoft.com/office/drawing/2014/main" id="{3E0A9AD8-E9C3-4022-A81D-941BFD634C23}"/>
                    </a:ext>
                  </a:extLst>
                </p:cNvPr>
                <p:cNvPicPr/>
                <p:nvPr/>
              </p:nvPicPr>
              <p:blipFill>
                <a:blip r:embed="rId212"/>
                <a:stretch>
                  <a:fillRect/>
                </a:stretch>
              </p:blipFill>
              <p:spPr>
                <a:xfrm>
                  <a:off x="3275769" y="349722"/>
                  <a:ext cx="126720" cy="11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3">
              <p14:nvContentPartPr>
                <p14:cNvPr id="141" name="Ink 140">
                  <a:extLst>
                    <a:ext uri="{FF2B5EF4-FFF2-40B4-BE49-F238E27FC236}">
                      <a16:creationId xmlns:a16="http://schemas.microsoft.com/office/drawing/2014/main" id="{9A6C4E8C-8606-4AC5-98E9-57D3C839B1DC}"/>
                    </a:ext>
                  </a:extLst>
                </p14:cNvPr>
                <p14:cNvContentPartPr/>
                <p14:nvPr/>
              </p14:nvContentPartPr>
              <p14:xfrm>
                <a:off x="3460449" y="348642"/>
                <a:ext cx="42120" cy="91440"/>
              </p14:xfrm>
            </p:contentPart>
          </mc:Choice>
          <mc:Fallback xmlns="">
            <p:pic>
              <p:nvPicPr>
                <p:cNvPr id="141" name="Ink 140">
                  <a:extLst>
                    <a:ext uri="{FF2B5EF4-FFF2-40B4-BE49-F238E27FC236}">
                      <a16:creationId xmlns:a16="http://schemas.microsoft.com/office/drawing/2014/main" id="{9A6C4E8C-8606-4AC5-98E9-57D3C839B1DC}"/>
                    </a:ext>
                  </a:extLst>
                </p:cNvPr>
                <p:cNvPicPr/>
                <p:nvPr/>
              </p:nvPicPr>
              <p:blipFill>
                <a:blip r:embed="rId214"/>
                <a:stretch>
                  <a:fillRect/>
                </a:stretch>
              </p:blipFill>
              <p:spPr>
                <a:xfrm>
                  <a:off x="3442809" y="331002"/>
                  <a:ext cx="77760" cy="1270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215">
            <p14:nvContentPartPr>
              <p14:cNvPr id="154" name="Ink 153">
                <a:extLst>
                  <a:ext uri="{FF2B5EF4-FFF2-40B4-BE49-F238E27FC236}">
                    <a16:creationId xmlns:a16="http://schemas.microsoft.com/office/drawing/2014/main" id="{E84044B8-DF24-42BB-85B8-EAA3E348D4F9}"/>
                  </a:ext>
                </a:extLst>
              </p14:cNvPr>
              <p14:cNvContentPartPr/>
              <p14:nvPr/>
            </p14:nvContentPartPr>
            <p14:xfrm>
              <a:off x="3442809" y="3958722"/>
              <a:ext cx="258840" cy="39600"/>
            </p14:xfrm>
          </p:contentPart>
        </mc:Choice>
        <mc:Fallback xmlns="">
          <p:pic>
            <p:nvPicPr>
              <p:cNvPr id="154" name="Ink 153">
                <a:extLst>
                  <a:ext uri="{FF2B5EF4-FFF2-40B4-BE49-F238E27FC236}">
                    <a16:creationId xmlns:a16="http://schemas.microsoft.com/office/drawing/2014/main" id="{E84044B8-DF24-42BB-85B8-EAA3E348D4F9}"/>
                  </a:ext>
                </a:extLst>
              </p:cNvPr>
              <p:cNvPicPr/>
              <p:nvPr/>
            </p:nvPicPr>
            <p:blipFill>
              <a:blip r:embed="rId216"/>
              <a:stretch>
                <a:fillRect/>
              </a:stretch>
            </p:blipFill>
            <p:spPr>
              <a:xfrm>
                <a:off x="3425169" y="3940722"/>
                <a:ext cx="294480" cy="75240"/>
              </a:xfrm>
              <a:prstGeom prst="rect">
                <a:avLst/>
              </a:prstGeom>
            </p:spPr>
          </p:pic>
        </mc:Fallback>
      </mc:AlternateContent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7D7B216-F44C-4F17-9AD1-F1E7D6B68A70}"/>
              </a:ext>
            </a:extLst>
          </p:cNvPr>
          <p:cNvGrpSpPr/>
          <p:nvPr/>
        </p:nvGrpSpPr>
        <p:grpSpPr>
          <a:xfrm>
            <a:off x="3958689" y="3717522"/>
            <a:ext cx="3448800" cy="306360"/>
            <a:chOff x="3958689" y="3717522"/>
            <a:chExt cx="3448800" cy="306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17">
              <p14:nvContentPartPr>
                <p14:cNvPr id="155" name="Ink 154">
                  <a:extLst>
                    <a:ext uri="{FF2B5EF4-FFF2-40B4-BE49-F238E27FC236}">
                      <a16:creationId xmlns:a16="http://schemas.microsoft.com/office/drawing/2014/main" id="{9D04385C-FFE0-46E3-8EFC-3C78C3C7375C}"/>
                    </a:ext>
                  </a:extLst>
                </p14:cNvPr>
                <p14:cNvContentPartPr/>
                <p14:nvPr/>
              </p14:nvContentPartPr>
              <p14:xfrm>
                <a:off x="3982089" y="3847482"/>
                <a:ext cx="12600" cy="140040"/>
              </p14:xfrm>
            </p:contentPart>
          </mc:Choice>
          <mc:Fallback xmlns="">
            <p:pic>
              <p:nvPicPr>
                <p:cNvPr id="155" name="Ink 154">
                  <a:extLst>
                    <a:ext uri="{FF2B5EF4-FFF2-40B4-BE49-F238E27FC236}">
                      <a16:creationId xmlns:a16="http://schemas.microsoft.com/office/drawing/2014/main" id="{9D04385C-FFE0-46E3-8EFC-3C78C3C7375C}"/>
                    </a:ext>
                  </a:extLst>
                </p:cNvPr>
                <p:cNvPicPr/>
                <p:nvPr/>
              </p:nvPicPr>
              <p:blipFill>
                <a:blip r:embed="rId218"/>
                <a:stretch>
                  <a:fillRect/>
                </a:stretch>
              </p:blipFill>
              <p:spPr>
                <a:xfrm>
                  <a:off x="3964089" y="3829842"/>
                  <a:ext cx="48240" cy="17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9">
              <p14:nvContentPartPr>
                <p14:cNvPr id="156" name="Ink 155">
                  <a:extLst>
                    <a:ext uri="{FF2B5EF4-FFF2-40B4-BE49-F238E27FC236}">
                      <a16:creationId xmlns:a16="http://schemas.microsoft.com/office/drawing/2014/main" id="{D6DBA4DF-7724-4C99-942E-67AD5E13C6E0}"/>
                    </a:ext>
                  </a:extLst>
                </p14:cNvPr>
                <p14:cNvContentPartPr/>
                <p14:nvPr/>
              </p14:nvContentPartPr>
              <p14:xfrm>
                <a:off x="3958689" y="3749562"/>
                <a:ext cx="155160" cy="161640"/>
              </p14:xfrm>
            </p:contentPart>
          </mc:Choice>
          <mc:Fallback xmlns="">
            <p:pic>
              <p:nvPicPr>
                <p:cNvPr id="156" name="Ink 155">
                  <a:extLst>
                    <a:ext uri="{FF2B5EF4-FFF2-40B4-BE49-F238E27FC236}">
                      <a16:creationId xmlns:a16="http://schemas.microsoft.com/office/drawing/2014/main" id="{D6DBA4DF-7724-4C99-942E-67AD5E13C6E0}"/>
                    </a:ext>
                  </a:extLst>
                </p:cNvPr>
                <p:cNvPicPr/>
                <p:nvPr/>
              </p:nvPicPr>
              <p:blipFill>
                <a:blip r:embed="rId220"/>
                <a:stretch>
                  <a:fillRect/>
                </a:stretch>
              </p:blipFill>
              <p:spPr>
                <a:xfrm>
                  <a:off x="3940689" y="3731562"/>
                  <a:ext cx="190800" cy="19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1">
              <p14:nvContentPartPr>
                <p14:cNvPr id="157" name="Ink 156">
                  <a:extLst>
                    <a:ext uri="{FF2B5EF4-FFF2-40B4-BE49-F238E27FC236}">
                      <a16:creationId xmlns:a16="http://schemas.microsoft.com/office/drawing/2014/main" id="{E3F2C877-B7FF-47DD-AD0A-83CF2E002DC0}"/>
                    </a:ext>
                  </a:extLst>
                </p14:cNvPr>
                <p14:cNvContentPartPr/>
                <p14:nvPr/>
              </p14:nvContentPartPr>
              <p14:xfrm>
                <a:off x="4112769" y="3884202"/>
                <a:ext cx="259560" cy="102240"/>
              </p14:xfrm>
            </p:contentPart>
          </mc:Choice>
          <mc:Fallback xmlns="">
            <p:pic>
              <p:nvPicPr>
                <p:cNvPr id="157" name="Ink 156">
                  <a:extLst>
                    <a:ext uri="{FF2B5EF4-FFF2-40B4-BE49-F238E27FC236}">
                      <a16:creationId xmlns:a16="http://schemas.microsoft.com/office/drawing/2014/main" id="{E3F2C877-B7FF-47DD-AD0A-83CF2E002DC0}"/>
                    </a:ext>
                  </a:extLst>
                </p:cNvPr>
                <p:cNvPicPr/>
                <p:nvPr/>
              </p:nvPicPr>
              <p:blipFill>
                <a:blip r:embed="rId222"/>
                <a:stretch>
                  <a:fillRect/>
                </a:stretch>
              </p:blipFill>
              <p:spPr>
                <a:xfrm>
                  <a:off x="4095129" y="3866202"/>
                  <a:ext cx="295200" cy="13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3">
              <p14:nvContentPartPr>
                <p14:cNvPr id="158" name="Ink 157">
                  <a:extLst>
                    <a:ext uri="{FF2B5EF4-FFF2-40B4-BE49-F238E27FC236}">
                      <a16:creationId xmlns:a16="http://schemas.microsoft.com/office/drawing/2014/main" id="{D09CF20A-3931-49F4-8BEA-F80F7912FF85}"/>
                    </a:ext>
                  </a:extLst>
                </p14:cNvPr>
                <p14:cNvContentPartPr/>
                <p14:nvPr/>
              </p14:nvContentPartPr>
              <p14:xfrm>
                <a:off x="4368369" y="3866562"/>
                <a:ext cx="280080" cy="127440"/>
              </p14:xfrm>
            </p:contentPart>
          </mc:Choice>
          <mc:Fallback xmlns="">
            <p:pic>
              <p:nvPicPr>
                <p:cNvPr id="158" name="Ink 157">
                  <a:extLst>
                    <a:ext uri="{FF2B5EF4-FFF2-40B4-BE49-F238E27FC236}">
                      <a16:creationId xmlns:a16="http://schemas.microsoft.com/office/drawing/2014/main" id="{D09CF20A-3931-49F4-8BEA-F80F7912FF85}"/>
                    </a:ext>
                  </a:extLst>
                </p:cNvPr>
                <p:cNvPicPr/>
                <p:nvPr/>
              </p:nvPicPr>
              <p:blipFill>
                <a:blip r:embed="rId224"/>
                <a:stretch>
                  <a:fillRect/>
                </a:stretch>
              </p:blipFill>
              <p:spPr>
                <a:xfrm>
                  <a:off x="4350369" y="3848562"/>
                  <a:ext cx="315720" cy="16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5">
              <p14:nvContentPartPr>
                <p14:cNvPr id="159" name="Ink 158">
                  <a:extLst>
                    <a:ext uri="{FF2B5EF4-FFF2-40B4-BE49-F238E27FC236}">
                      <a16:creationId xmlns:a16="http://schemas.microsoft.com/office/drawing/2014/main" id="{ECB37660-E542-488B-908F-6AD37FCCE69D}"/>
                    </a:ext>
                  </a:extLst>
                </p14:cNvPr>
                <p14:cNvContentPartPr/>
                <p14:nvPr/>
              </p14:nvContentPartPr>
              <p14:xfrm>
                <a:off x="4586529" y="3784482"/>
                <a:ext cx="29160" cy="36000"/>
              </p14:xfrm>
            </p:contentPart>
          </mc:Choice>
          <mc:Fallback xmlns="">
            <p:pic>
              <p:nvPicPr>
                <p:cNvPr id="159" name="Ink 158">
                  <a:extLst>
                    <a:ext uri="{FF2B5EF4-FFF2-40B4-BE49-F238E27FC236}">
                      <a16:creationId xmlns:a16="http://schemas.microsoft.com/office/drawing/2014/main" id="{ECB37660-E542-488B-908F-6AD37FCCE69D}"/>
                    </a:ext>
                  </a:extLst>
                </p:cNvPr>
                <p:cNvPicPr/>
                <p:nvPr/>
              </p:nvPicPr>
              <p:blipFill>
                <a:blip r:embed="rId226"/>
                <a:stretch>
                  <a:fillRect/>
                </a:stretch>
              </p:blipFill>
              <p:spPr>
                <a:xfrm>
                  <a:off x="4568889" y="3766842"/>
                  <a:ext cx="64800" cy="7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7">
              <p14:nvContentPartPr>
                <p14:cNvPr id="160" name="Ink 159">
                  <a:extLst>
                    <a:ext uri="{FF2B5EF4-FFF2-40B4-BE49-F238E27FC236}">
                      <a16:creationId xmlns:a16="http://schemas.microsoft.com/office/drawing/2014/main" id="{045A2564-FE59-427C-BCD6-66947FA35AB6}"/>
                    </a:ext>
                  </a:extLst>
                </p14:cNvPr>
                <p14:cNvContentPartPr/>
                <p14:nvPr/>
              </p14:nvContentPartPr>
              <p14:xfrm>
                <a:off x="4703169" y="3802842"/>
                <a:ext cx="433080" cy="218880"/>
              </p14:xfrm>
            </p:contentPart>
          </mc:Choice>
          <mc:Fallback xmlns="">
            <p:pic>
              <p:nvPicPr>
                <p:cNvPr id="160" name="Ink 159">
                  <a:extLst>
                    <a:ext uri="{FF2B5EF4-FFF2-40B4-BE49-F238E27FC236}">
                      <a16:creationId xmlns:a16="http://schemas.microsoft.com/office/drawing/2014/main" id="{045A2564-FE59-427C-BCD6-66947FA35AB6}"/>
                    </a:ext>
                  </a:extLst>
                </p:cNvPr>
                <p:cNvPicPr/>
                <p:nvPr/>
              </p:nvPicPr>
              <p:blipFill>
                <a:blip r:embed="rId228"/>
                <a:stretch>
                  <a:fillRect/>
                </a:stretch>
              </p:blipFill>
              <p:spPr>
                <a:xfrm>
                  <a:off x="4685169" y="3784842"/>
                  <a:ext cx="468720" cy="25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9">
              <p14:nvContentPartPr>
                <p14:cNvPr id="161" name="Ink 160">
                  <a:extLst>
                    <a:ext uri="{FF2B5EF4-FFF2-40B4-BE49-F238E27FC236}">
                      <a16:creationId xmlns:a16="http://schemas.microsoft.com/office/drawing/2014/main" id="{2150E8B3-235D-47A5-B0F3-5F1D6A901301}"/>
                    </a:ext>
                  </a:extLst>
                </p14:cNvPr>
                <p14:cNvContentPartPr/>
                <p14:nvPr/>
              </p14:nvContentPartPr>
              <p14:xfrm>
                <a:off x="5377089" y="3818322"/>
                <a:ext cx="65520" cy="205560"/>
              </p14:xfrm>
            </p:contentPart>
          </mc:Choice>
          <mc:Fallback xmlns="">
            <p:pic>
              <p:nvPicPr>
                <p:cNvPr id="161" name="Ink 160">
                  <a:extLst>
                    <a:ext uri="{FF2B5EF4-FFF2-40B4-BE49-F238E27FC236}">
                      <a16:creationId xmlns:a16="http://schemas.microsoft.com/office/drawing/2014/main" id="{2150E8B3-235D-47A5-B0F3-5F1D6A901301}"/>
                    </a:ext>
                  </a:extLst>
                </p:cNvPr>
                <p:cNvPicPr/>
                <p:nvPr/>
              </p:nvPicPr>
              <p:blipFill>
                <a:blip r:embed="rId230"/>
                <a:stretch>
                  <a:fillRect/>
                </a:stretch>
              </p:blipFill>
              <p:spPr>
                <a:xfrm>
                  <a:off x="5359449" y="3800682"/>
                  <a:ext cx="101160" cy="24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1">
              <p14:nvContentPartPr>
                <p14:cNvPr id="162" name="Ink 161">
                  <a:extLst>
                    <a:ext uri="{FF2B5EF4-FFF2-40B4-BE49-F238E27FC236}">
                      <a16:creationId xmlns:a16="http://schemas.microsoft.com/office/drawing/2014/main" id="{EDFABC0C-EF5F-4504-B6FA-956547A7B6E2}"/>
                    </a:ext>
                  </a:extLst>
                </p14:cNvPr>
                <p14:cNvContentPartPr/>
                <p14:nvPr/>
              </p14:nvContentPartPr>
              <p14:xfrm>
                <a:off x="5315529" y="3865122"/>
                <a:ext cx="272520" cy="105480"/>
              </p14:xfrm>
            </p:contentPart>
          </mc:Choice>
          <mc:Fallback xmlns="">
            <p:pic>
              <p:nvPicPr>
                <p:cNvPr id="162" name="Ink 161">
                  <a:extLst>
                    <a:ext uri="{FF2B5EF4-FFF2-40B4-BE49-F238E27FC236}">
                      <a16:creationId xmlns:a16="http://schemas.microsoft.com/office/drawing/2014/main" id="{EDFABC0C-EF5F-4504-B6FA-956547A7B6E2}"/>
                    </a:ext>
                  </a:extLst>
                </p:cNvPr>
                <p:cNvPicPr/>
                <p:nvPr/>
              </p:nvPicPr>
              <p:blipFill>
                <a:blip r:embed="rId232"/>
                <a:stretch>
                  <a:fillRect/>
                </a:stretch>
              </p:blipFill>
              <p:spPr>
                <a:xfrm>
                  <a:off x="5297889" y="3847122"/>
                  <a:ext cx="308160" cy="14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3">
              <p14:nvContentPartPr>
                <p14:cNvPr id="163" name="Ink 162">
                  <a:extLst>
                    <a:ext uri="{FF2B5EF4-FFF2-40B4-BE49-F238E27FC236}">
                      <a16:creationId xmlns:a16="http://schemas.microsoft.com/office/drawing/2014/main" id="{BC55409F-B918-49F8-9CB9-B926DF315530}"/>
                    </a:ext>
                  </a:extLst>
                </p14:cNvPr>
                <p14:cNvContentPartPr/>
                <p14:nvPr/>
              </p14:nvContentPartPr>
              <p14:xfrm>
                <a:off x="5759049" y="3785922"/>
                <a:ext cx="35280" cy="198000"/>
              </p14:xfrm>
            </p:contentPart>
          </mc:Choice>
          <mc:Fallback xmlns="">
            <p:pic>
              <p:nvPicPr>
                <p:cNvPr id="163" name="Ink 162">
                  <a:extLst>
                    <a:ext uri="{FF2B5EF4-FFF2-40B4-BE49-F238E27FC236}">
                      <a16:creationId xmlns:a16="http://schemas.microsoft.com/office/drawing/2014/main" id="{BC55409F-B918-49F8-9CB9-B926DF315530}"/>
                    </a:ext>
                  </a:extLst>
                </p:cNvPr>
                <p:cNvPicPr/>
                <p:nvPr/>
              </p:nvPicPr>
              <p:blipFill>
                <a:blip r:embed="rId234"/>
                <a:stretch>
                  <a:fillRect/>
                </a:stretch>
              </p:blipFill>
              <p:spPr>
                <a:xfrm>
                  <a:off x="5741409" y="3768282"/>
                  <a:ext cx="70920" cy="233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5">
              <p14:nvContentPartPr>
                <p14:cNvPr id="164" name="Ink 163">
                  <a:extLst>
                    <a:ext uri="{FF2B5EF4-FFF2-40B4-BE49-F238E27FC236}">
                      <a16:creationId xmlns:a16="http://schemas.microsoft.com/office/drawing/2014/main" id="{92D3B055-5F5C-4793-8665-374531006C1A}"/>
                    </a:ext>
                  </a:extLst>
                </p14:cNvPr>
                <p14:cNvContentPartPr/>
                <p14:nvPr/>
              </p14:nvContentPartPr>
              <p14:xfrm>
                <a:off x="5697849" y="3871242"/>
                <a:ext cx="567360" cy="121320"/>
              </p14:xfrm>
            </p:contentPart>
          </mc:Choice>
          <mc:Fallback xmlns="">
            <p:pic>
              <p:nvPicPr>
                <p:cNvPr id="164" name="Ink 163">
                  <a:extLst>
                    <a:ext uri="{FF2B5EF4-FFF2-40B4-BE49-F238E27FC236}">
                      <a16:creationId xmlns:a16="http://schemas.microsoft.com/office/drawing/2014/main" id="{92D3B055-5F5C-4793-8665-374531006C1A}"/>
                    </a:ext>
                  </a:extLst>
                </p:cNvPr>
                <p:cNvPicPr/>
                <p:nvPr/>
              </p:nvPicPr>
              <p:blipFill>
                <a:blip r:embed="rId236"/>
                <a:stretch>
                  <a:fillRect/>
                </a:stretch>
              </p:blipFill>
              <p:spPr>
                <a:xfrm>
                  <a:off x="5679849" y="3853242"/>
                  <a:ext cx="603000" cy="156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7">
              <p14:nvContentPartPr>
                <p14:cNvPr id="165" name="Ink 164">
                  <a:extLst>
                    <a:ext uri="{FF2B5EF4-FFF2-40B4-BE49-F238E27FC236}">
                      <a16:creationId xmlns:a16="http://schemas.microsoft.com/office/drawing/2014/main" id="{ADAC2DB3-7EFE-4C1F-BBDD-A0371ECF72E4}"/>
                    </a:ext>
                  </a:extLst>
                </p14:cNvPr>
                <p14:cNvContentPartPr/>
                <p14:nvPr/>
              </p14:nvContentPartPr>
              <p14:xfrm>
                <a:off x="6429009" y="3862242"/>
                <a:ext cx="306720" cy="124560"/>
              </p14:xfrm>
            </p:contentPart>
          </mc:Choice>
          <mc:Fallback xmlns="">
            <p:pic>
              <p:nvPicPr>
                <p:cNvPr id="165" name="Ink 164">
                  <a:extLst>
                    <a:ext uri="{FF2B5EF4-FFF2-40B4-BE49-F238E27FC236}">
                      <a16:creationId xmlns:a16="http://schemas.microsoft.com/office/drawing/2014/main" id="{ADAC2DB3-7EFE-4C1F-BBDD-A0371ECF72E4}"/>
                    </a:ext>
                  </a:extLst>
                </p:cNvPr>
                <p:cNvPicPr/>
                <p:nvPr/>
              </p:nvPicPr>
              <p:blipFill>
                <a:blip r:embed="rId238"/>
                <a:stretch>
                  <a:fillRect/>
                </a:stretch>
              </p:blipFill>
              <p:spPr>
                <a:xfrm>
                  <a:off x="6411369" y="3844602"/>
                  <a:ext cx="342360" cy="16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9">
              <p14:nvContentPartPr>
                <p14:cNvPr id="166" name="Ink 165">
                  <a:extLst>
                    <a:ext uri="{FF2B5EF4-FFF2-40B4-BE49-F238E27FC236}">
                      <a16:creationId xmlns:a16="http://schemas.microsoft.com/office/drawing/2014/main" id="{5E373F60-8603-428C-84BB-41BA942E41CC}"/>
                    </a:ext>
                  </a:extLst>
                </p14:cNvPr>
                <p14:cNvContentPartPr/>
                <p14:nvPr/>
              </p14:nvContentPartPr>
              <p14:xfrm>
                <a:off x="6830769" y="3883482"/>
                <a:ext cx="96480" cy="58320"/>
              </p14:xfrm>
            </p:contentPart>
          </mc:Choice>
          <mc:Fallback xmlns="">
            <p:pic>
              <p:nvPicPr>
                <p:cNvPr id="166" name="Ink 165">
                  <a:extLst>
                    <a:ext uri="{FF2B5EF4-FFF2-40B4-BE49-F238E27FC236}">
                      <a16:creationId xmlns:a16="http://schemas.microsoft.com/office/drawing/2014/main" id="{5E373F60-8603-428C-84BB-41BA942E41CC}"/>
                    </a:ext>
                  </a:extLst>
                </p:cNvPr>
                <p:cNvPicPr/>
                <p:nvPr/>
              </p:nvPicPr>
              <p:blipFill>
                <a:blip r:embed="rId240"/>
                <a:stretch>
                  <a:fillRect/>
                </a:stretch>
              </p:blipFill>
              <p:spPr>
                <a:xfrm>
                  <a:off x="6813129" y="3865482"/>
                  <a:ext cx="132120" cy="93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1">
              <p14:nvContentPartPr>
                <p14:cNvPr id="167" name="Ink 166">
                  <a:extLst>
                    <a:ext uri="{FF2B5EF4-FFF2-40B4-BE49-F238E27FC236}">
                      <a16:creationId xmlns:a16="http://schemas.microsoft.com/office/drawing/2014/main" id="{B861E718-2F04-452F-B0D3-1E8D7D4489C0}"/>
                    </a:ext>
                  </a:extLst>
                </p14:cNvPr>
                <p14:cNvContentPartPr/>
                <p14:nvPr/>
              </p14:nvContentPartPr>
              <p14:xfrm>
                <a:off x="6984489" y="3717522"/>
                <a:ext cx="423000" cy="245520"/>
              </p14:xfrm>
            </p:contentPart>
          </mc:Choice>
          <mc:Fallback xmlns="">
            <p:pic>
              <p:nvPicPr>
                <p:cNvPr id="167" name="Ink 166">
                  <a:extLst>
                    <a:ext uri="{FF2B5EF4-FFF2-40B4-BE49-F238E27FC236}">
                      <a16:creationId xmlns:a16="http://schemas.microsoft.com/office/drawing/2014/main" id="{B861E718-2F04-452F-B0D3-1E8D7D4489C0}"/>
                    </a:ext>
                  </a:extLst>
                </p:cNvPr>
                <p:cNvPicPr/>
                <p:nvPr/>
              </p:nvPicPr>
              <p:blipFill>
                <a:blip r:embed="rId242"/>
                <a:stretch>
                  <a:fillRect/>
                </a:stretch>
              </p:blipFill>
              <p:spPr>
                <a:xfrm>
                  <a:off x="6966849" y="3699882"/>
                  <a:ext cx="458640" cy="28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3">
              <p14:nvContentPartPr>
                <p14:cNvPr id="169" name="Ink 168">
                  <a:extLst>
                    <a:ext uri="{FF2B5EF4-FFF2-40B4-BE49-F238E27FC236}">
                      <a16:creationId xmlns:a16="http://schemas.microsoft.com/office/drawing/2014/main" id="{848D79E2-38D0-4496-A7A3-A22AF5062503}"/>
                    </a:ext>
                  </a:extLst>
                </p14:cNvPr>
                <p14:cNvContentPartPr/>
                <p14:nvPr/>
              </p14:nvContentPartPr>
              <p14:xfrm>
                <a:off x="7192569" y="3786642"/>
                <a:ext cx="45000" cy="95760"/>
              </p14:xfrm>
            </p:contentPart>
          </mc:Choice>
          <mc:Fallback xmlns="">
            <p:pic>
              <p:nvPicPr>
                <p:cNvPr id="169" name="Ink 168">
                  <a:extLst>
                    <a:ext uri="{FF2B5EF4-FFF2-40B4-BE49-F238E27FC236}">
                      <a16:creationId xmlns:a16="http://schemas.microsoft.com/office/drawing/2014/main" id="{848D79E2-38D0-4496-A7A3-A22AF5062503}"/>
                    </a:ext>
                  </a:extLst>
                </p:cNvPr>
                <p:cNvPicPr/>
                <p:nvPr/>
              </p:nvPicPr>
              <p:blipFill>
                <a:blip r:embed="rId244"/>
                <a:stretch>
                  <a:fillRect/>
                </a:stretch>
              </p:blipFill>
              <p:spPr>
                <a:xfrm>
                  <a:off x="7174569" y="3768642"/>
                  <a:ext cx="80640" cy="1314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8831747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F89674A-F3BC-4A24-834E-7C4812AD56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895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F89674A-F3BC-4A24-834E-7C4812AD5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0200655-0C02-4873-A2D3-A42A1DE627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33" y="0"/>
            <a:ext cx="12192000" cy="685800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9164D179-7F50-4EFD-8C37-DFBEB1F0D9B8}"/>
              </a:ext>
            </a:extLst>
          </p:cNvPr>
          <p:cNvGrpSpPr/>
          <p:nvPr/>
        </p:nvGrpSpPr>
        <p:grpSpPr>
          <a:xfrm>
            <a:off x="577569" y="448722"/>
            <a:ext cx="964800" cy="520200"/>
            <a:chOff x="577569" y="448722"/>
            <a:chExt cx="964800" cy="5202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142503D5-07CF-4D5D-A3AE-BA2B535314EB}"/>
                    </a:ext>
                  </a:extLst>
                </p14:cNvPr>
                <p14:cNvContentPartPr/>
                <p14:nvPr/>
              </p14:nvContentPartPr>
              <p14:xfrm>
                <a:off x="577569" y="645642"/>
                <a:ext cx="226440" cy="32328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142503D5-07CF-4D5D-A3AE-BA2B535314EB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59929" y="628002"/>
                  <a:ext cx="262080" cy="35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56F60B2A-F449-44EE-80A0-2C3C56534869}"/>
                    </a:ext>
                  </a:extLst>
                </p14:cNvPr>
                <p14:cNvContentPartPr/>
                <p14:nvPr/>
              </p14:nvContentPartPr>
              <p14:xfrm>
                <a:off x="767289" y="603882"/>
                <a:ext cx="396360" cy="19512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56F60B2A-F449-44EE-80A0-2C3C56534869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49649" y="585882"/>
                  <a:ext cx="432000" cy="23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82D90018-4847-40F0-850C-61FC27C5FC31}"/>
                    </a:ext>
                  </a:extLst>
                </p14:cNvPr>
                <p14:cNvContentPartPr/>
                <p14:nvPr/>
              </p14:nvContentPartPr>
              <p14:xfrm>
                <a:off x="1164729" y="448722"/>
                <a:ext cx="377640" cy="20808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82D90018-4847-40F0-850C-61FC27C5FC31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147089" y="430722"/>
                  <a:ext cx="413280" cy="2437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9ABF825-F0FB-4B7D-8370-484AA0E422B9}"/>
              </a:ext>
            </a:extLst>
          </p:cNvPr>
          <p:cNvGrpSpPr/>
          <p:nvPr/>
        </p:nvGrpSpPr>
        <p:grpSpPr>
          <a:xfrm>
            <a:off x="1256529" y="973962"/>
            <a:ext cx="315720" cy="244800"/>
            <a:chOff x="1256529" y="973962"/>
            <a:chExt cx="315720" cy="244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2E318A07-8066-407D-A642-99CEBE5885E8}"/>
                    </a:ext>
                  </a:extLst>
                </p14:cNvPr>
                <p14:cNvContentPartPr/>
                <p14:nvPr/>
              </p14:nvContentPartPr>
              <p14:xfrm>
                <a:off x="1256529" y="973962"/>
                <a:ext cx="228600" cy="20916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2E318A07-8066-407D-A642-99CEBE5885E8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238529" y="956322"/>
                  <a:ext cx="264240" cy="24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151E14F0-2AD6-4713-ADB3-492569ED47F2}"/>
                    </a:ext>
                  </a:extLst>
                </p14:cNvPr>
                <p14:cNvContentPartPr/>
                <p14:nvPr/>
              </p14:nvContentPartPr>
              <p14:xfrm>
                <a:off x="1259409" y="995562"/>
                <a:ext cx="312840" cy="22320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151E14F0-2AD6-4713-ADB3-492569ED47F2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241409" y="977922"/>
                  <a:ext cx="348480" cy="258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998743C-39D6-437C-9C51-50B24D79EAA8}"/>
              </a:ext>
            </a:extLst>
          </p:cNvPr>
          <p:cNvGrpSpPr/>
          <p:nvPr/>
        </p:nvGrpSpPr>
        <p:grpSpPr>
          <a:xfrm>
            <a:off x="1119729" y="1388322"/>
            <a:ext cx="785520" cy="595080"/>
            <a:chOff x="1119729" y="1388322"/>
            <a:chExt cx="785520" cy="5950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3FAEDE52-8CD0-49A6-BA1A-F36F592F9544}"/>
                    </a:ext>
                  </a:extLst>
                </p14:cNvPr>
                <p14:cNvContentPartPr/>
                <p14:nvPr/>
              </p14:nvContentPartPr>
              <p14:xfrm>
                <a:off x="1119729" y="1596042"/>
                <a:ext cx="169560" cy="32256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3FAEDE52-8CD0-49A6-BA1A-F36F592F9544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102089" y="1578402"/>
                  <a:ext cx="205200" cy="35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61060038-7AC3-4F55-90E1-71BFAF4DE56A}"/>
                    </a:ext>
                  </a:extLst>
                </p14:cNvPr>
                <p14:cNvContentPartPr/>
                <p14:nvPr/>
              </p14:nvContentPartPr>
              <p14:xfrm>
                <a:off x="1324209" y="1552482"/>
                <a:ext cx="316800" cy="18432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61060038-7AC3-4F55-90E1-71BFAF4DE56A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306209" y="1534842"/>
                  <a:ext cx="352440" cy="21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A8F667F1-BEBC-4DE1-AAE7-6B1182910436}"/>
                    </a:ext>
                  </a:extLst>
                </p14:cNvPr>
                <p14:cNvContentPartPr/>
                <p14:nvPr/>
              </p14:nvContentPartPr>
              <p14:xfrm>
                <a:off x="1651089" y="1388322"/>
                <a:ext cx="250560" cy="17424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A8F667F1-BEBC-4DE1-AAE7-6B1182910436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633089" y="1370682"/>
                  <a:ext cx="28620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DB4B51DC-4699-4F80-84A4-1F0F0406C408}"/>
                    </a:ext>
                  </a:extLst>
                </p14:cNvPr>
                <p14:cNvContentPartPr/>
                <p14:nvPr/>
              </p14:nvContentPartPr>
              <p14:xfrm>
                <a:off x="1691409" y="1776042"/>
                <a:ext cx="213840" cy="20736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DB4B51DC-4699-4F80-84A4-1F0F0406C408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673409" y="1758042"/>
                  <a:ext cx="249480" cy="243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904C74B-0361-4E22-AD0E-D93E7CA383FD}"/>
              </a:ext>
            </a:extLst>
          </p:cNvPr>
          <p:cNvGrpSpPr/>
          <p:nvPr/>
        </p:nvGrpSpPr>
        <p:grpSpPr>
          <a:xfrm>
            <a:off x="9121809" y="2430162"/>
            <a:ext cx="2652480" cy="1489320"/>
            <a:chOff x="9121809" y="2430162"/>
            <a:chExt cx="2652480" cy="1489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3A32ACD9-2B76-4663-BA15-2E0A5F06C99F}"/>
                    </a:ext>
                  </a:extLst>
                </p14:cNvPr>
                <p14:cNvContentPartPr/>
                <p14:nvPr/>
              </p14:nvContentPartPr>
              <p14:xfrm>
                <a:off x="9121809" y="2595762"/>
                <a:ext cx="285480" cy="4032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3A32ACD9-2B76-4663-BA15-2E0A5F06C99F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9103809" y="2577762"/>
                  <a:ext cx="321120" cy="7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9A6B25BF-AE13-4564-A4A9-BE2837B9D733}"/>
                    </a:ext>
                  </a:extLst>
                </p14:cNvPr>
                <p14:cNvContentPartPr/>
                <p14:nvPr/>
              </p14:nvContentPartPr>
              <p14:xfrm>
                <a:off x="9423849" y="2540322"/>
                <a:ext cx="151920" cy="9612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9A6B25BF-AE13-4564-A4A9-BE2837B9D733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9406209" y="2522682"/>
                  <a:ext cx="187560" cy="13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56FB4135-D7EA-440F-8DA9-079F36BBEEB5}"/>
                    </a:ext>
                  </a:extLst>
                </p14:cNvPr>
                <p14:cNvContentPartPr/>
                <p14:nvPr/>
              </p14:nvContentPartPr>
              <p14:xfrm>
                <a:off x="9608169" y="2533482"/>
                <a:ext cx="211320" cy="11196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56FB4135-D7EA-440F-8DA9-079F36BBEEB5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9590169" y="2515842"/>
                  <a:ext cx="246960" cy="14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928CCB9E-C1C6-4F75-BB0F-E3529DB7D6F7}"/>
                    </a:ext>
                  </a:extLst>
                </p14:cNvPr>
                <p14:cNvContentPartPr/>
                <p14:nvPr/>
              </p14:nvContentPartPr>
              <p14:xfrm>
                <a:off x="9885729" y="2486322"/>
                <a:ext cx="253080" cy="15120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928CCB9E-C1C6-4F75-BB0F-E3529DB7D6F7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9867729" y="2468322"/>
                  <a:ext cx="288720" cy="18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9200FBCC-E7EF-4EA2-B0D9-6117BF093EFA}"/>
                    </a:ext>
                  </a:extLst>
                </p14:cNvPr>
                <p14:cNvContentPartPr/>
                <p14:nvPr/>
              </p14:nvContentPartPr>
              <p14:xfrm>
                <a:off x="10475049" y="2430162"/>
                <a:ext cx="132120" cy="18540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9200FBCC-E7EF-4EA2-B0D9-6117BF093EFA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457409" y="2412162"/>
                  <a:ext cx="167760" cy="22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84AF0158-F779-4CE3-AA45-4F2B506A63C5}"/>
                    </a:ext>
                  </a:extLst>
                </p14:cNvPr>
                <p14:cNvContentPartPr/>
                <p14:nvPr/>
              </p14:nvContentPartPr>
              <p14:xfrm>
                <a:off x="10643169" y="2453202"/>
                <a:ext cx="473400" cy="9540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84AF0158-F779-4CE3-AA45-4F2B506A63C5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0625529" y="2435562"/>
                  <a:ext cx="509040" cy="13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AC54B102-3D39-42BC-ADD9-531CB254F4E2}"/>
                    </a:ext>
                  </a:extLst>
                </p14:cNvPr>
                <p14:cNvContentPartPr/>
                <p14:nvPr/>
              </p14:nvContentPartPr>
              <p14:xfrm>
                <a:off x="9262929" y="3006162"/>
                <a:ext cx="406080" cy="22968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AC54B102-3D39-42BC-ADD9-531CB254F4E2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9245289" y="2988162"/>
                  <a:ext cx="441720" cy="265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3809F404-92A1-4FBB-813A-116C4B19406B}"/>
                    </a:ext>
                  </a:extLst>
                </p14:cNvPr>
                <p14:cNvContentPartPr/>
                <p14:nvPr/>
              </p14:nvContentPartPr>
              <p14:xfrm>
                <a:off x="9690969" y="3119922"/>
                <a:ext cx="203760" cy="8784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3809F404-92A1-4FBB-813A-116C4B19406B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9673329" y="3101922"/>
                  <a:ext cx="239400" cy="12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C02F8BCE-B319-4210-8701-CC36D1B26424}"/>
                    </a:ext>
                  </a:extLst>
                </p14:cNvPr>
                <p14:cNvContentPartPr/>
                <p14:nvPr/>
              </p14:nvContentPartPr>
              <p14:xfrm>
                <a:off x="10257969" y="2879442"/>
                <a:ext cx="21960" cy="22104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C02F8BCE-B319-4210-8701-CC36D1B26424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0240329" y="2861802"/>
                  <a:ext cx="57600" cy="256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D6C883B3-26FB-43F2-B9D8-A4418D842394}"/>
                    </a:ext>
                  </a:extLst>
                </p14:cNvPr>
                <p14:cNvContentPartPr/>
                <p14:nvPr/>
              </p14:nvContentPartPr>
              <p14:xfrm>
                <a:off x="10201449" y="2890602"/>
                <a:ext cx="84960" cy="6948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D6C883B3-26FB-43F2-B9D8-A4418D842394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0183449" y="2872962"/>
                  <a:ext cx="120600" cy="10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0E5C991E-C785-4B4D-BD9B-42FDD4792516}"/>
                    </a:ext>
                  </a:extLst>
                </p14:cNvPr>
                <p14:cNvContentPartPr/>
                <p14:nvPr/>
              </p14:nvContentPartPr>
              <p14:xfrm>
                <a:off x="10180209" y="2979522"/>
                <a:ext cx="329400" cy="23328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0E5C991E-C785-4B4D-BD9B-42FDD4792516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0162569" y="2961882"/>
                  <a:ext cx="365040" cy="26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A4FDF0B5-7D2C-4F98-B240-A35E0FBD8F1B}"/>
                    </a:ext>
                  </a:extLst>
                </p14:cNvPr>
                <p14:cNvContentPartPr/>
                <p14:nvPr/>
              </p14:nvContentPartPr>
              <p14:xfrm>
                <a:off x="10419609" y="2817882"/>
                <a:ext cx="637200" cy="30672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A4FDF0B5-7D2C-4F98-B240-A35E0FBD8F1B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0401609" y="2799882"/>
                  <a:ext cx="672840" cy="34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A598139E-1383-4EE2-A2BD-E43A75AC7E52}"/>
                    </a:ext>
                  </a:extLst>
                </p14:cNvPr>
                <p14:cNvContentPartPr/>
                <p14:nvPr/>
              </p14:nvContentPartPr>
              <p14:xfrm>
                <a:off x="10924689" y="2836602"/>
                <a:ext cx="281880" cy="16992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A598139E-1383-4EE2-A2BD-E43A75AC7E52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0907049" y="2818602"/>
                  <a:ext cx="317520" cy="20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C1CA2145-1FA3-4CA6-983A-176087CBB553}"/>
                    </a:ext>
                  </a:extLst>
                </p14:cNvPr>
                <p14:cNvContentPartPr/>
                <p14:nvPr/>
              </p14:nvContentPartPr>
              <p14:xfrm>
                <a:off x="11120889" y="2718882"/>
                <a:ext cx="255240" cy="23472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C1CA2145-1FA3-4CA6-983A-176087CBB553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1102889" y="2701242"/>
                  <a:ext cx="290880" cy="27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D2757915-61B7-43B2-A257-6644DFEA4526}"/>
                    </a:ext>
                  </a:extLst>
                </p14:cNvPr>
                <p14:cNvContentPartPr/>
                <p14:nvPr/>
              </p14:nvContentPartPr>
              <p14:xfrm>
                <a:off x="11287929" y="2843442"/>
                <a:ext cx="312840" cy="18504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D2757915-61B7-43B2-A257-6644DFEA4526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11269929" y="2825802"/>
                  <a:ext cx="348480" cy="220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EC4B555E-C634-48CD-9134-4D0466FE7689}"/>
                    </a:ext>
                  </a:extLst>
                </p14:cNvPr>
                <p14:cNvContentPartPr/>
                <p14:nvPr/>
              </p14:nvContentPartPr>
              <p14:xfrm>
                <a:off x="9344649" y="3573162"/>
                <a:ext cx="126000" cy="34632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EC4B555E-C634-48CD-9134-4D0466FE7689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9326649" y="3555162"/>
                  <a:ext cx="161640" cy="38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0D4B9E3A-FF54-4CAC-A078-B08B5F55153B}"/>
                    </a:ext>
                  </a:extLst>
                </p14:cNvPr>
                <p14:cNvContentPartPr/>
                <p14:nvPr/>
              </p14:nvContentPartPr>
              <p14:xfrm>
                <a:off x="9351849" y="3743442"/>
                <a:ext cx="403560" cy="12672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0D4B9E3A-FF54-4CAC-A078-B08B5F55153B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9334209" y="3725442"/>
                  <a:ext cx="439200" cy="16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95D61892-B923-4C7E-A9CE-5947F83FC357}"/>
                    </a:ext>
                  </a:extLst>
                </p14:cNvPr>
                <p14:cNvContentPartPr/>
                <p14:nvPr/>
              </p14:nvContentPartPr>
              <p14:xfrm>
                <a:off x="9783489" y="3694482"/>
                <a:ext cx="287640" cy="9900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95D61892-B923-4C7E-A9CE-5947F83FC357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9765849" y="3676842"/>
                  <a:ext cx="323280" cy="13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D37B7572-A101-4C0A-B9ED-2EECB0E26370}"/>
                    </a:ext>
                  </a:extLst>
                </p14:cNvPr>
                <p14:cNvContentPartPr/>
                <p14:nvPr/>
              </p14:nvContentPartPr>
              <p14:xfrm>
                <a:off x="10164009" y="3570282"/>
                <a:ext cx="116640" cy="21528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D37B7572-A101-4C0A-B9ED-2EECB0E26370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10146369" y="3552642"/>
                  <a:ext cx="152280" cy="25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18D0C475-BF2E-4647-81D0-6A740A4DD748}"/>
                    </a:ext>
                  </a:extLst>
                </p14:cNvPr>
                <p14:cNvContentPartPr/>
                <p14:nvPr/>
              </p14:nvContentPartPr>
              <p14:xfrm>
                <a:off x="10306209" y="3595842"/>
                <a:ext cx="283680" cy="26172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18D0C475-BF2E-4647-81D0-6A740A4DD748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10288209" y="3578202"/>
                  <a:ext cx="319320" cy="29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BEAAC99A-00B8-4CF7-9BD1-7B65EBAABCCF}"/>
                    </a:ext>
                  </a:extLst>
                </p14:cNvPr>
                <p14:cNvContentPartPr/>
                <p14:nvPr/>
              </p14:nvContentPartPr>
              <p14:xfrm>
                <a:off x="10593489" y="3491442"/>
                <a:ext cx="122760" cy="22176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BEAAC99A-00B8-4CF7-9BD1-7B65EBAABCCF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10575849" y="3473802"/>
                  <a:ext cx="158400" cy="25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A4649E08-1814-46E3-9505-BCDCF9B99071}"/>
                    </a:ext>
                  </a:extLst>
                </p14:cNvPr>
                <p14:cNvContentPartPr/>
                <p14:nvPr/>
              </p14:nvContentPartPr>
              <p14:xfrm>
                <a:off x="10740729" y="3479202"/>
                <a:ext cx="90720" cy="10008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A4649E08-1814-46E3-9505-BCDCF9B99071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10722729" y="3461202"/>
                  <a:ext cx="126360" cy="13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F23827C6-D76F-428C-9644-C4C42C9AE2BD}"/>
                    </a:ext>
                  </a:extLst>
                </p14:cNvPr>
                <p14:cNvContentPartPr/>
                <p14:nvPr/>
              </p14:nvContentPartPr>
              <p14:xfrm>
                <a:off x="10874649" y="3377322"/>
                <a:ext cx="209880" cy="18828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F23827C6-D76F-428C-9644-C4C42C9AE2BD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10857009" y="3359682"/>
                  <a:ext cx="245520" cy="223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7D3FB768-708D-4627-8683-528E7E6EB91B}"/>
                    </a:ext>
                  </a:extLst>
                </p14:cNvPr>
                <p14:cNvContentPartPr/>
                <p14:nvPr/>
              </p14:nvContentPartPr>
              <p14:xfrm>
                <a:off x="11043849" y="3471642"/>
                <a:ext cx="57240" cy="8424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7D3FB768-708D-4627-8683-528E7E6EB91B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11025849" y="3453642"/>
                  <a:ext cx="92880" cy="11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0CF759D2-4C06-477A-B2A0-2DF313316B59}"/>
                    </a:ext>
                  </a:extLst>
                </p14:cNvPr>
                <p14:cNvContentPartPr/>
                <p14:nvPr/>
              </p14:nvContentPartPr>
              <p14:xfrm>
                <a:off x="11220969" y="3310722"/>
                <a:ext cx="133920" cy="24984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0CF759D2-4C06-477A-B2A0-2DF313316B59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11202969" y="3292722"/>
                  <a:ext cx="169560" cy="28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8EFA6F08-1831-4A8B-86A7-C574E81C1859}"/>
                    </a:ext>
                  </a:extLst>
                </p14:cNvPr>
                <p14:cNvContentPartPr/>
                <p14:nvPr/>
              </p14:nvContentPartPr>
              <p14:xfrm>
                <a:off x="11372529" y="3279402"/>
                <a:ext cx="243360" cy="20304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8EFA6F08-1831-4A8B-86A7-C574E81C1859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11354529" y="3261402"/>
                  <a:ext cx="279000" cy="238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E722C004-B581-4528-B133-923C14D2F548}"/>
                    </a:ext>
                  </a:extLst>
                </p14:cNvPr>
                <p14:cNvContentPartPr/>
                <p14:nvPr/>
              </p14:nvContentPartPr>
              <p14:xfrm>
                <a:off x="11626329" y="3335922"/>
                <a:ext cx="147960" cy="12132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E722C004-B581-4528-B133-923C14D2F548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11608689" y="3317922"/>
                  <a:ext cx="183600" cy="156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AC851C9F-28B0-4406-933D-9F31A77A04BC}"/>
                    </a:ext>
                  </a:extLst>
                </p14:cNvPr>
                <p14:cNvContentPartPr/>
                <p14:nvPr/>
              </p14:nvContentPartPr>
              <p14:xfrm>
                <a:off x="10519689" y="3546162"/>
                <a:ext cx="55440" cy="16416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AC851C9F-28B0-4406-933D-9F31A77A04BC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0502049" y="3528162"/>
                  <a:ext cx="91080" cy="1998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8833204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DD1EC-1DBD-4AE0-8407-FE822EB57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9813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DD1EC-1DBD-4AE0-8407-FE822EB57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9AAAB53C-8B57-4D81-BB10-F4F9A84004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775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1</TotalTime>
  <Words>94</Words>
  <Application>Microsoft Macintosh PowerPoint</Application>
  <PresentationFormat>Widescreen</PresentationFormat>
  <Paragraphs>12</Paragraphs>
  <Slides>5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59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iket Chhabra</dc:creator>
  <cp:lastModifiedBy>Aniket Chhabra</cp:lastModifiedBy>
  <cp:revision>1</cp:revision>
  <dcterms:created xsi:type="dcterms:W3CDTF">2022-03-12T03:37:46Z</dcterms:created>
  <dcterms:modified xsi:type="dcterms:W3CDTF">2022-11-13T05:35:44Z</dcterms:modified>
</cp:coreProperties>
</file>